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1.xml" ContentType="application/vnd.openxmlformats-officedocument.presentationml.notesSlide+xml"/>
  <Override PartName="/ppt/tags/tag23.xml" ContentType="application/vnd.openxmlformats-officedocument.presentationml.tags+xml"/>
  <Override PartName="/ppt/notesSlides/notesSlide12.xml" ContentType="application/vnd.openxmlformats-officedocument.presentationml.notesSlide+xml"/>
  <Override PartName="/ppt/tags/tag2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765" r:id="rId4"/>
  </p:sldMasterIdLst>
  <p:notesMasterIdLst>
    <p:notesMasterId r:id="rId20"/>
  </p:notesMasterIdLst>
  <p:handoutMasterIdLst>
    <p:handoutMasterId r:id="rId21"/>
  </p:handoutMasterIdLst>
  <p:sldIdLst>
    <p:sldId id="260" r:id="rId5"/>
    <p:sldId id="306" r:id="rId6"/>
    <p:sldId id="257" r:id="rId7"/>
    <p:sldId id="288" r:id="rId8"/>
    <p:sldId id="2147478994" r:id="rId9"/>
    <p:sldId id="268" r:id="rId10"/>
    <p:sldId id="280" r:id="rId11"/>
    <p:sldId id="295" r:id="rId12"/>
    <p:sldId id="6395" r:id="rId13"/>
    <p:sldId id="284" r:id="rId14"/>
    <p:sldId id="262" r:id="rId15"/>
    <p:sldId id="275" r:id="rId16"/>
    <p:sldId id="258" r:id="rId17"/>
    <p:sldId id="2147483647" r:id="rId18"/>
    <p:sldId id="2147483630" r:id="rId19"/>
  </p:sldIdLst>
  <p:sldSz cx="12192000" cy="6858000"/>
  <p:notesSz cx="7010400" cy="92964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 to HPA" id="{B0218F65-6EC7-4A49-8681-991E0DB02B53}">
          <p14:sldIdLst>
            <p14:sldId id="260"/>
            <p14:sldId id="306"/>
            <p14:sldId id="257"/>
            <p14:sldId id="288"/>
            <p14:sldId id="2147478994"/>
            <p14:sldId id="268"/>
            <p14:sldId id="280"/>
            <p14:sldId id="295"/>
          </p14:sldIdLst>
        </p14:section>
        <p14:section name="IMO - Sign to close" id="{EA24ECA6-7D4E-460B-8FCA-34BBBD9EAF9D}">
          <p14:sldIdLst>
            <p14:sldId id="6395"/>
            <p14:sldId id="284"/>
            <p14:sldId id="262"/>
          </p14:sldIdLst>
        </p14:section>
        <p14:section name="PMI - Post Close Execution" id="{FBE54C7C-E78F-4AAC-A37A-BC64B435E9B9}">
          <p14:sldIdLst>
            <p14:sldId id="275"/>
            <p14:sldId id="258"/>
            <p14:sldId id="2147483647"/>
            <p14:sldId id="214748363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352" userDrawn="1">
          <p15:clr>
            <a:srgbClr val="A4A3A4"/>
          </p15:clr>
        </p15:guide>
        <p15:guide id="3" pos="5736" userDrawn="1">
          <p15:clr>
            <a:srgbClr val="A4A3A4"/>
          </p15:clr>
        </p15:guide>
        <p15:guide id="4" pos="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3614F04-4E16-5352-B954-D522EC82A185}" name="HighPoint Associates" initials="HPA" userId="HighPoint Associates" providerId="None"/>
  <p188:author id="{2505BD25-5B84-60B5-6D05-C0F913B80CA2}" name="Verrels Eugeneo" initials="VE" userId="S::veugeneo@highpoint-associates.com::59c626f7-f347-4e19-99a5-2220d0385c3f" providerId="AD"/>
  <p188:author id="{D438A495-A632-3B18-BAF6-65DAEC2D2BCD}" name="Mackenzie Gruver" initials="MG" userId="S::mgruver@highpoint-associates.com::21123b0c-b37a-4ddd-929d-1eaf749eac9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Jackson" initials="C" lastIdx="1" clrIdx="0"/>
  <p:cmAuthor id="2" name="Griffin Gill" initials="GG" lastIdx="1" clrIdx="1">
    <p:extLst>
      <p:ext uri="{19B8F6BF-5375-455C-9EA6-DF929625EA0E}">
        <p15:presenceInfo xmlns:p15="http://schemas.microsoft.com/office/powerpoint/2012/main" userId="S::ggill@highpoint-associates.com::332d75aa-b09a-4320-83cf-7e021e525c0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96DD"/>
    <a:srgbClr val="7F7F7F"/>
    <a:srgbClr val="C5CAEE"/>
    <a:srgbClr val="5061CC"/>
    <a:srgbClr val="FFFFFF"/>
    <a:srgbClr val="ECCE9B"/>
    <a:srgbClr val="26DCFC"/>
    <a:srgbClr val="FFDD18"/>
    <a:srgbClr val="A3B2BD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0FB7774-2F1C-470C-A31E-8E69362B4D26}" v="394" dt="2025-11-18T06:09:27.8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04" autoAdjust="0"/>
    <p:restoredTop sz="94660"/>
  </p:normalViewPr>
  <p:slideViewPr>
    <p:cSldViewPr snapToGrid="0">
      <p:cViewPr>
        <p:scale>
          <a:sx n="90" d="100"/>
          <a:sy n="90" d="100"/>
        </p:scale>
        <p:origin x="370" y="19"/>
      </p:cViewPr>
      <p:guideLst>
        <p:guide orient="horz" pos="2352"/>
        <p:guide pos="5736"/>
        <p:guide pos="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kesh Poudel" userId="c167580e-23b9-4956-8102-eff4a3f4af47" providerId="ADAL" clId="{7FE862D4-2526-4AC8-88F1-F31E804F97DF}"/>
    <pc:docChg chg="undo custSel addSld delSld modSld sldOrd modMainMaster delSection modSection">
      <pc:chgData name="Nikesh Poudel" userId="c167580e-23b9-4956-8102-eff4a3f4af47" providerId="ADAL" clId="{7FE862D4-2526-4AC8-88F1-F31E804F97DF}" dt="2025-11-07T00:53:08.377" v="1536" actId="1036"/>
      <pc:docMkLst>
        <pc:docMk/>
      </pc:docMkLst>
      <pc:sldChg chg="ord">
        <pc:chgData name="Nikesh Poudel" userId="c167580e-23b9-4956-8102-eff4a3f4af47" providerId="ADAL" clId="{7FE862D4-2526-4AC8-88F1-F31E804F97DF}" dt="2025-11-04T19:13:54.823" v="404"/>
        <pc:sldMkLst>
          <pc:docMk/>
          <pc:sldMk cId="3418640983" sldId="257"/>
        </pc:sldMkLst>
      </pc:sldChg>
      <pc:sldChg chg="delSp modSp mod">
        <pc:chgData name="Nikesh Poudel" userId="c167580e-23b9-4956-8102-eff4a3f4af47" providerId="ADAL" clId="{7FE862D4-2526-4AC8-88F1-F31E804F97DF}" dt="2025-11-04T17:30:13.953" v="29" actId="478"/>
        <pc:sldMkLst>
          <pc:docMk/>
          <pc:sldMk cId="4158325455" sldId="258"/>
        </pc:sldMkLst>
        <pc:graphicFrameChg chg="modGraphic">
          <ac:chgData name="Nikesh Poudel" userId="c167580e-23b9-4956-8102-eff4a3f4af47" providerId="ADAL" clId="{7FE862D4-2526-4AC8-88F1-F31E804F97DF}" dt="2025-11-04T17:30:08.261" v="28" actId="13926"/>
          <ac:graphicFrameMkLst>
            <pc:docMk/>
            <pc:sldMk cId="4158325455" sldId="258"/>
            <ac:graphicFrameMk id="7" creationId="{5BC368D4-0BF1-6F05-C8B6-C9D69E0ACEE9}"/>
          </ac:graphicFrameMkLst>
        </pc:graphicFrameChg>
      </pc:sldChg>
      <pc:sldChg chg="addSp delSp modSp mod">
        <pc:chgData name="Nikesh Poudel" userId="c167580e-23b9-4956-8102-eff4a3f4af47" providerId="ADAL" clId="{7FE862D4-2526-4AC8-88F1-F31E804F97DF}" dt="2025-11-04T19:36:20.077" v="558" actId="478"/>
        <pc:sldMkLst>
          <pc:docMk/>
          <pc:sldMk cId="2658180832" sldId="260"/>
        </pc:sldMkLst>
        <pc:spChg chg="mod">
          <ac:chgData name="Nikesh Poudel" userId="c167580e-23b9-4956-8102-eff4a3f4af47" providerId="ADAL" clId="{7FE862D4-2526-4AC8-88F1-F31E804F97DF}" dt="2025-11-04T17:27:37.553" v="17" actId="20577"/>
          <ac:spMkLst>
            <pc:docMk/>
            <pc:sldMk cId="2658180832" sldId="260"/>
            <ac:spMk id="5" creationId="{F540CD0B-9A1D-CA67-F619-4041F6521217}"/>
          </ac:spMkLst>
        </pc:spChg>
        <pc:picChg chg="add mod">
          <ac:chgData name="Nikesh Poudel" userId="c167580e-23b9-4956-8102-eff4a3f4af47" providerId="ADAL" clId="{7FE862D4-2526-4AC8-88F1-F31E804F97DF}" dt="2025-11-04T17:37:49.597" v="34" actId="1076"/>
          <ac:picMkLst>
            <pc:docMk/>
            <pc:sldMk cId="2658180832" sldId="260"/>
            <ac:picMk id="2" creationId="{AD70D392-0BE7-DD66-AB68-2F6CD3B32F39}"/>
          </ac:picMkLst>
        </pc:picChg>
      </pc:sldChg>
      <pc:sldChg chg="delSp modSp mod">
        <pc:chgData name="Nikesh Poudel" userId="c167580e-23b9-4956-8102-eff4a3f4af47" providerId="ADAL" clId="{7FE862D4-2526-4AC8-88F1-F31E804F97DF}" dt="2025-11-07T00:42:39.206" v="1393" actId="478"/>
        <pc:sldMkLst>
          <pc:docMk/>
          <pc:sldMk cId="4048407524" sldId="262"/>
        </pc:sldMkLst>
      </pc:sldChg>
      <pc:sldChg chg="addSp delSp modSp mod modCm">
        <pc:chgData name="Nikesh Poudel" userId="c167580e-23b9-4956-8102-eff4a3f4af47" providerId="ADAL" clId="{7FE862D4-2526-4AC8-88F1-F31E804F97DF}" dt="2025-11-04T19:56:40.822" v="656" actId="478"/>
        <pc:sldMkLst>
          <pc:docMk/>
          <pc:sldMk cId="81818275" sldId="268"/>
        </pc:sldMkLst>
        <pc:spChg chg="mod">
          <ac:chgData name="Nikesh Poudel" userId="c167580e-23b9-4956-8102-eff4a3f4af47" providerId="ADAL" clId="{7FE862D4-2526-4AC8-88F1-F31E804F97DF}" dt="2025-11-04T18:11:25.164" v="329" actId="13926"/>
          <ac:spMkLst>
            <pc:docMk/>
            <pc:sldMk cId="81818275" sldId="268"/>
            <ac:spMk id="79" creationId="{E8139094-C33E-F1DA-96A5-6D2D7528910A}"/>
          </ac:spMkLst>
        </pc:spChg>
        <pc:grpChg chg="mod">
          <ac:chgData name="Nikesh Poudel" userId="c167580e-23b9-4956-8102-eff4a3f4af47" providerId="ADAL" clId="{7FE862D4-2526-4AC8-88F1-F31E804F97DF}" dt="2025-11-04T19:51:42.376" v="574" actId="14100"/>
          <ac:grpSpMkLst>
            <pc:docMk/>
            <pc:sldMk cId="81818275" sldId="268"/>
            <ac:grpSpMk id="75" creationId="{6A6C2718-C632-CA9F-18DB-4244DE879FCC}"/>
          </ac:grpSpMkLst>
        </pc:grpChg>
        <pc:picChg chg="add mod modCrop">
          <ac:chgData name="Nikesh Poudel" userId="c167580e-23b9-4956-8102-eff4a3f4af47" providerId="ADAL" clId="{7FE862D4-2526-4AC8-88F1-F31E804F97DF}" dt="2025-11-04T19:52:24.994" v="593" actId="1037"/>
          <ac:picMkLst>
            <pc:docMk/>
            <pc:sldMk cId="81818275" sldId="268"/>
            <ac:picMk id="12" creationId="{40C083C3-A726-7DDD-DF15-3E75AA701A10}"/>
          </ac:picMkLst>
        </pc:picChg>
        <pc:picChg chg="add mod modCrop">
          <ac:chgData name="Nikesh Poudel" userId="c167580e-23b9-4956-8102-eff4a3f4af47" providerId="ADAL" clId="{7FE862D4-2526-4AC8-88F1-F31E804F97DF}" dt="2025-11-04T19:55:26.451" v="655" actId="1036"/>
          <ac:picMkLst>
            <pc:docMk/>
            <pc:sldMk cId="81818275" sldId="268"/>
            <ac:picMk id="14" creationId="{45D0611C-6FEF-E956-884E-4A430CD0BA12}"/>
          </ac:picMkLst>
        </pc:picChg>
        <pc:picChg chg="add mod">
          <ac:chgData name="Nikesh Poudel" userId="c167580e-23b9-4956-8102-eff4a3f4af47" providerId="ADAL" clId="{7FE862D4-2526-4AC8-88F1-F31E804F97DF}" dt="2025-11-04T19:55:11.259" v="645" actId="1037"/>
          <ac:picMkLst>
            <pc:docMk/>
            <pc:sldMk cId="81818275" sldId="268"/>
            <ac:picMk id="16" creationId="{22543CD8-75D0-802C-0352-E085D9CD7170}"/>
          </ac:picMkLst>
        </pc:picChg>
        <pc:cxnChg chg="mod">
          <ac:chgData name="Nikesh Poudel" userId="c167580e-23b9-4956-8102-eff4a3f4af47" providerId="ADAL" clId="{7FE862D4-2526-4AC8-88F1-F31E804F97DF}" dt="2025-11-04T18:01:39.701" v="206" actId="554"/>
          <ac:cxnSpMkLst>
            <pc:docMk/>
            <pc:sldMk cId="81818275" sldId="268"/>
            <ac:cxnSpMk id="114" creationId="{21BE9047-D813-AF43-9CD9-61419303F84E}"/>
          </ac:cxnSpMkLst>
        </pc:cxnChg>
        <pc:cxnChg chg="mod">
          <ac:chgData name="Nikesh Poudel" userId="c167580e-23b9-4956-8102-eff4a3f4af47" providerId="ADAL" clId="{7FE862D4-2526-4AC8-88F1-F31E804F97DF}" dt="2025-11-04T18:01:39.701" v="206" actId="554"/>
          <ac:cxnSpMkLst>
            <pc:docMk/>
            <pc:sldMk cId="81818275" sldId="268"/>
            <ac:cxnSpMk id="117" creationId="{584D9C33-6C5C-C0E3-00F0-E6A72952CFB4}"/>
          </ac:cxnSpMkLst>
        </pc:cxnChg>
        <pc:cxnChg chg="mod">
          <ac:chgData name="Nikesh Poudel" userId="c167580e-23b9-4956-8102-eff4a3f4af47" providerId="ADAL" clId="{7FE862D4-2526-4AC8-88F1-F31E804F97DF}" dt="2025-11-04T18:01:39.701" v="206" actId="554"/>
          <ac:cxnSpMkLst>
            <pc:docMk/>
            <pc:sldMk cId="81818275" sldId="268"/>
            <ac:cxnSpMk id="120" creationId="{42F5DC40-E574-2940-CEF4-23F9DF02B258}"/>
          </ac:cxnSpMkLst>
        </pc:cxnChg>
        <pc:cxnChg chg="mod">
          <ac:chgData name="Nikesh Poudel" userId="c167580e-23b9-4956-8102-eff4a3f4af47" providerId="ADAL" clId="{7FE862D4-2526-4AC8-88F1-F31E804F97DF}" dt="2025-11-04T18:01:39.701" v="206" actId="554"/>
          <ac:cxnSpMkLst>
            <pc:docMk/>
            <pc:sldMk cId="81818275" sldId="268"/>
            <ac:cxnSpMk id="123" creationId="{EDE52E5D-134F-7EC1-75CF-53D193F3E29F}"/>
          </ac:cxnSpMkLst>
        </pc:cxnChg>
        <pc:cxnChg chg="mod">
          <ac:chgData name="Nikesh Poudel" userId="c167580e-23b9-4956-8102-eff4a3f4af47" providerId="ADAL" clId="{7FE862D4-2526-4AC8-88F1-F31E804F97DF}" dt="2025-11-04T18:01:39.701" v="206" actId="554"/>
          <ac:cxnSpMkLst>
            <pc:docMk/>
            <pc:sldMk cId="81818275" sldId="268"/>
            <ac:cxnSpMk id="126" creationId="{241B83B6-DDB4-11D4-ADFC-FDC7299F2776}"/>
          </ac:cxnSpMkLst>
        </pc:cxnChg>
        <pc:cxnChg chg="mod">
          <ac:chgData name="Nikesh Poudel" userId="c167580e-23b9-4956-8102-eff4a3f4af47" providerId="ADAL" clId="{7FE862D4-2526-4AC8-88F1-F31E804F97DF}" dt="2025-11-04T18:01:39.701" v="206" actId="554"/>
          <ac:cxnSpMkLst>
            <pc:docMk/>
            <pc:sldMk cId="81818275" sldId="268"/>
            <ac:cxnSpMk id="129" creationId="{FE04C103-304C-11AB-B4A5-3BEF9FB25A6F}"/>
          </ac:cxnSpMkLst>
        </pc:cxnChg>
        <pc:cxnChg chg="mod">
          <ac:chgData name="Nikesh Poudel" userId="c167580e-23b9-4956-8102-eff4a3f4af47" providerId="ADAL" clId="{7FE862D4-2526-4AC8-88F1-F31E804F97DF}" dt="2025-11-04T18:01:39.701" v="206" actId="554"/>
          <ac:cxnSpMkLst>
            <pc:docMk/>
            <pc:sldMk cId="81818275" sldId="268"/>
            <ac:cxnSpMk id="132" creationId="{D8348D1B-093D-302F-55DC-0C0809F1A07A}"/>
          </ac:cxnSpMkLst>
        </pc:cxnChg>
        <pc:cxnChg chg="mod">
          <ac:chgData name="Nikesh Poudel" userId="c167580e-23b9-4956-8102-eff4a3f4af47" providerId="ADAL" clId="{7FE862D4-2526-4AC8-88F1-F31E804F97DF}" dt="2025-11-04T18:01:39.701" v="206" actId="554"/>
          <ac:cxnSpMkLst>
            <pc:docMk/>
            <pc:sldMk cId="81818275" sldId="268"/>
            <ac:cxnSpMk id="135" creationId="{37E5196E-4DFB-E0E7-967A-1C8746AD0036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Nikesh Poudel" userId="c167580e-23b9-4956-8102-eff4a3f4af47" providerId="ADAL" clId="{7FE862D4-2526-4AC8-88F1-F31E804F97DF}" dt="2025-11-04T17:27:52.973" v="19" actId="478"/>
              <pc2:cmMkLst xmlns:pc2="http://schemas.microsoft.com/office/powerpoint/2019/9/main/command">
                <pc:docMk/>
                <pc:sldMk cId="81818275" sldId="268"/>
                <pc2:cmMk id="{C4537E1E-6511-452D-ABCC-B624398A5E92}"/>
              </pc2:cmMkLst>
            </pc226:cmChg>
          </p:ext>
        </pc:extLst>
      </pc:sldChg>
      <pc:sldChg chg="modSp mod">
        <pc:chgData name="Nikesh Poudel" userId="c167580e-23b9-4956-8102-eff4a3f4af47" providerId="ADAL" clId="{7FE862D4-2526-4AC8-88F1-F31E804F97DF}" dt="2025-11-04T18:10:10.768" v="304" actId="20577"/>
        <pc:sldMkLst>
          <pc:docMk/>
          <pc:sldMk cId="4202295933" sldId="275"/>
        </pc:sldMkLst>
        <pc:graphicFrameChg chg="modGraphic">
          <ac:chgData name="Nikesh Poudel" userId="c167580e-23b9-4956-8102-eff4a3f4af47" providerId="ADAL" clId="{7FE862D4-2526-4AC8-88F1-F31E804F97DF}" dt="2025-11-04T18:10:10.768" v="304" actId="20577"/>
          <ac:graphicFrameMkLst>
            <pc:docMk/>
            <pc:sldMk cId="4202295933" sldId="275"/>
            <ac:graphicFrameMk id="2" creationId="{63C2599B-DF00-2288-FB84-4E10B6E204EE}"/>
          </ac:graphicFrameMkLst>
        </pc:graphicFrameChg>
      </pc:sldChg>
      <pc:sldChg chg="addSp delSp modSp mod">
        <pc:chgData name="Nikesh Poudel" userId="c167580e-23b9-4956-8102-eff4a3f4af47" providerId="ADAL" clId="{7FE862D4-2526-4AC8-88F1-F31E804F97DF}" dt="2025-11-04T18:08:53.485" v="291"/>
        <pc:sldMkLst>
          <pc:docMk/>
          <pc:sldMk cId="496101714" sldId="280"/>
        </pc:sldMkLst>
        <pc:spChg chg="mod">
          <ac:chgData name="Nikesh Poudel" userId="c167580e-23b9-4956-8102-eff4a3f4af47" providerId="ADAL" clId="{7FE862D4-2526-4AC8-88F1-F31E804F97DF}" dt="2025-11-04T18:08:53.438" v="253" actId="948"/>
          <ac:spMkLst>
            <pc:docMk/>
            <pc:sldMk cId="496101714" sldId="280"/>
            <ac:spMk id="2" creationId="{1BE27EFF-BE24-9588-6102-0AC095BBF5F7}"/>
          </ac:spMkLst>
        </pc:spChg>
        <pc:graphicFrameChg chg="mod">
          <ac:chgData name="Nikesh Poudel" userId="c167580e-23b9-4956-8102-eff4a3f4af47" providerId="ADAL" clId="{7FE862D4-2526-4AC8-88F1-F31E804F97DF}" dt="2025-11-04T18:08:53.485" v="291"/>
          <ac:graphicFrameMkLst>
            <pc:docMk/>
            <pc:sldMk cId="496101714" sldId="280"/>
            <ac:graphicFrameMk id="4" creationId="{8010CD95-90E1-3567-1579-D68ED13796E8}"/>
          </ac:graphicFrameMkLst>
        </pc:graphicFrameChg>
      </pc:sldChg>
      <pc:sldChg chg="delSp modSp mod">
        <pc:chgData name="Nikesh Poudel" userId="c167580e-23b9-4956-8102-eff4a3f4af47" providerId="ADAL" clId="{7FE862D4-2526-4AC8-88F1-F31E804F97DF}" dt="2025-11-04T19:57:23.984" v="679" actId="20577"/>
        <pc:sldMkLst>
          <pc:docMk/>
          <pc:sldMk cId="2790901847" sldId="284"/>
        </pc:sldMkLst>
        <pc:graphicFrameChg chg="modGraphic">
          <ac:chgData name="Nikesh Poudel" userId="c167580e-23b9-4956-8102-eff4a3f4af47" providerId="ADAL" clId="{7FE862D4-2526-4AC8-88F1-F31E804F97DF}" dt="2025-11-04T19:57:23.984" v="679" actId="20577"/>
          <ac:graphicFrameMkLst>
            <pc:docMk/>
            <pc:sldMk cId="2790901847" sldId="284"/>
            <ac:graphicFrameMk id="7" creationId="{76F958B8-A454-C6B0-7F3E-6D150183424E}"/>
          </ac:graphicFrameMkLst>
        </pc:graphicFrameChg>
      </pc:sldChg>
      <pc:sldChg chg="ord">
        <pc:chgData name="Nikesh Poudel" userId="c167580e-23b9-4956-8102-eff4a3f4af47" providerId="ADAL" clId="{7FE862D4-2526-4AC8-88F1-F31E804F97DF}" dt="2025-11-04T19:13:57.230" v="406"/>
        <pc:sldMkLst>
          <pc:docMk/>
          <pc:sldMk cId="3337461125" sldId="288"/>
        </pc:sldMkLst>
      </pc:sldChg>
      <pc:sldChg chg="delSp modSp mod">
        <pc:chgData name="Nikesh Poudel" userId="c167580e-23b9-4956-8102-eff4a3f4af47" providerId="ADAL" clId="{7FE862D4-2526-4AC8-88F1-F31E804F97DF}" dt="2025-11-07T00:24:43.949" v="1354" actId="1038"/>
        <pc:sldMkLst>
          <pc:docMk/>
          <pc:sldMk cId="3188533845" sldId="295"/>
        </pc:sldMkLst>
        <pc:spChg chg="mod">
          <ac:chgData name="Nikesh Poudel" userId="c167580e-23b9-4956-8102-eff4a3f4af47" providerId="ADAL" clId="{7FE862D4-2526-4AC8-88F1-F31E804F97DF}" dt="2025-11-07T00:24:38.947" v="1352" actId="552"/>
          <ac:spMkLst>
            <pc:docMk/>
            <pc:sldMk cId="3188533845" sldId="295"/>
            <ac:spMk id="2" creationId="{0C86930B-7C3E-455B-87B4-77FA5096AC3C}"/>
          </ac:spMkLst>
        </pc:spChg>
        <pc:spChg chg="mod">
          <ac:chgData name="Nikesh Poudel" userId="c167580e-23b9-4956-8102-eff4a3f4af47" providerId="ADAL" clId="{7FE862D4-2526-4AC8-88F1-F31E804F97DF}" dt="2025-11-07T00:24:38.947" v="1352" actId="552"/>
          <ac:spMkLst>
            <pc:docMk/>
            <pc:sldMk cId="3188533845" sldId="295"/>
            <ac:spMk id="5" creationId="{1BF45389-4630-0358-487C-C10896DA41EC}"/>
          </ac:spMkLst>
        </pc:spChg>
        <pc:spChg chg="mod">
          <ac:chgData name="Nikesh Poudel" userId="c167580e-23b9-4956-8102-eff4a3f4af47" providerId="ADAL" clId="{7FE862D4-2526-4AC8-88F1-F31E804F97DF}" dt="2025-11-07T00:24:38.947" v="1352" actId="552"/>
          <ac:spMkLst>
            <pc:docMk/>
            <pc:sldMk cId="3188533845" sldId="295"/>
            <ac:spMk id="7" creationId="{DEAF664A-CE04-977E-613A-4299BD3B80DC}"/>
          </ac:spMkLst>
        </pc:spChg>
        <pc:spChg chg="mod">
          <ac:chgData name="Nikesh Poudel" userId="c167580e-23b9-4956-8102-eff4a3f4af47" providerId="ADAL" clId="{7FE862D4-2526-4AC8-88F1-F31E804F97DF}" dt="2025-11-07T00:24:38.947" v="1352" actId="552"/>
          <ac:spMkLst>
            <pc:docMk/>
            <pc:sldMk cId="3188533845" sldId="295"/>
            <ac:spMk id="8" creationId="{28437B8E-BF23-187F-C31D-EBC9D8807A40}"/>
          </ac:spMkLst>
        </pc:spChg>
        <pc:graphicFrameChg chg="mod modGraphic">
          <ac:chgData name="Nikesh Poudel" userId="c167580e-23b9-4956-8102-eff4a3f4af47" providerId="ADAL" clId="{7FE862D4-2526-4AC8-88F1-F31E804F97DF}" dt="2025-11-07T00:24:43.949" v="1354" actId="1038"/>
          <ac:graphicFrameMkLst>
            <pc:docMk/>
            <pc:sldMk cId="3188533845" sldId="295"/>
            <ac:graphicFrameMk id="9" creationId="{FFE5406E-FCE2-FD23-BEC7-AF48E84A19D5}"/>
          </ac:graphicFrameMkLst>
        </pc:graphicFrameChg>
      </pc:sldChg>
      <pc:sldChg chg="modSp mod">
        <pc:chgData name="Nikesh Poudel" userId="c167580e-23b9-4956-8102-eff4a3f4af47" providerId="ADAL" clId="{7FE862D4-2526-4AC8-88F1-F31E804F97DF}" dt="2025-11-07T00:53:08.377" v="1536" actId="1036"/>
        <pc:sldMkLst>
          <pc:docMk/>
          <pc:sldMk cId="2715981637" sldId="306"/>
        </pc:sldMkLst>
        <pc:spChg chg="mod">
          <ac:chgData name="Nikesh Poudel" userId="c167580e-23b9-4956-8102-eff4a3f4af47" providerId="ADAL" clId="{7FE862D4-2526-4AC8-88F1-F31E804F97DF}" dt="2025-11-07T00:53:08.377" v="1536" actId="1036"/>
          <ac:spMkLst>
            <pc:docMk/>
            <pc:sldMk cId="2715981637" sldId="306"/>
            <ac:spMk id="13" creationId="{038816FD-3BFC-8FF8-8213-7797EB74EDC7}"/>
          </ac:spMkLst>
        </pc:spChg>
        <pc:grpChg chg="mod">
          <ac:chgData name="Nikesh Poudel" userId="c167580e-23b9-4956-8102-eff4a3f4af47" providerId="ADAL" clId="{7FE862D4-2526-4AC8-88F1-F31E804F97DF}" dt="2025-11-07T00:53:08.377" v="1536" actId="1036"/>
          <ac:grpSpMkLst>
            <pc:docMk/>
            <pc:sldMk cId="2715981637" sldId="306"/>
            <ac:grpSpMk id="2" creationId="{77DA9047-73D0-2CF7-F655-DBF5793193EC}"/>
          </ac:grpSpMkLst>
        </pc:grpChg>
        <pc:grpChg chg="mod">
          <ac:chgData name="Nikesh Poudel" userId="c167580e-23b9-4956-8102-eff4a3f4af47" providerId="ADAL" clId="{7FE862D4-2526-4AC8-88F1-F31E804F97DF}" dt="2025-11-07T00:53:08.377" v="1536" actId="1036"/>
          <ac:grpSpMkLst>
            <pc:docMk/>
            <pc:sldMk cId="2715981637" sldId="306"/>
            <ac:grpSpMk id="6" creationId="{9483D8E0-CFA0-8C3F-B736-5006B20B7FB4}"/>
          </ac:grpSpMkLst>
        </pc:grpChg>
        <pc:grpChg chg="mod">
          <ac:chgData name="Nikesh Poudel" userId="c167580e-23b9-4956-8102-eff4a3f4af47" providerId="ADAL" clId="{7FE862D4-2526-4AC8-88F1-F31E804F97DF}" dt="2025-11-07T00:53:08.377" v="1536" actId="1036"/>
          <ac:grpSpMkLst>
            <pc:docMk/>
            <pc:sldMk cId="2715981637" sldId="306"/>
            <ac:grpSpMk id="14" creationId="{EB823DC8-7A91-3DB2-9A63-6812DCFA14F0}"/>
          </ac:grpSpMkLst>
        </pc:grpChg>
        <pc:graphicFrameChg chg="mod">
          <ac:chgData name="Nikesh Poudel" userId="c167580e-23b9-4956-8102-eff4a3f4af47" providerId="ADAL" clId="{7FE862D4-2526-4AC8-88F1-F31E804F97DF}" dt="2025-11-07T00:53:08.377" v="1536" actId="1036"/>
          <ac:graphicFrameMkLst>
            <pc:docMk/>
            <pc:sldMk cId="2715981637" sldId="306"/>
            <ac:graphicFrameMk id="96" creationId="{1F4ECCC1-4B7D-5FED-5F1D-0B548B303153}"/>
          </ac:graphicFrameMkLst>
        </pc:graphicFrameChg>
        <pc:picChg chg="mod">
          <ac:chgData name="Nikesh Poudel" userId="c167580e-23b9-4956-8102-eff4a3f4af47" providerId="ADAL" clId="{7FE862D4-2526-4AC8-88F1-F31E804F97DF}" dt="2025-11-07T00:53:08.377" v="1536" actId="1036"/>
          <ac:picMkLst>
            <pc:docMk/>
            <pc:sldMk cId="2715981637" sldId="306"/>
            <ac:picMk id="22" creationId="{34CF6D9A-134C-E01D-DFCA-041FC8931F89}"/>
          </ac:picMkLst>
        </pc:picChg>
        <pc:picChg chg="mod">
          <ac:chgData name="Nikesh Poudel" userId="c167580e-23b9-4956-8102-eff4a3f4af47" providerId="ADAL" clId="{7FE862D4-2526-4AC8-88F1-F31E804F97DF}" dt="2025-11-07T00:53:08.377" v="1536" actId="1036"/>
          <ac:picMkLst>
            <pc:docMk/>
            <pc:sldMk cId="2715981637" sldId="306"/>
            <ac:picMk id="24" creationId="{5EB0CDF2-D020-AB7C-C890-DC308F4B627C}"/>
          </ac:picMkLst>
        </pc:picChg>
        <pc:picChg chg="mod">
          <ac:chgData name="Nikesh Poudel" userId="c167580e-23b9-4956-8102-eff4a3f4af47" providerId="ADAL" clId="{7FE862D4-2526-4AC8-88F1-F31E804F97DF}" dt="2025-11-07T00:53:08.377" v="1536" actId="1036"/>
          <ac:picMkLst>
            <pc:docMk/>
            <pc:sldMk cId="2715981637" sldId="306"/>
            <ac:picMk id="26" creationId="{303F71A5-4BDE-A12E-99A4-8D4B91040A72}"/>
          </ac:picMkLst>
        </pc:picChg>
        <pc:picChg chg="mod">
          <ac:chgData name="Nikesh Poudel" userId="c167580e-23b9-4956-8102-eff4a3f4af47" providerId="ADAL" clId="{7FE862D4-2526-4AC8-88F1-F31E804F97DF}" dt="2025-11-07T00:53:08.377" v="1536" actId="1036"/>
          <ac:picMkLst>
            <pc:docMk/>
            <pc:sldMk cId="2715981637" sldId="306"/>
            <ac:picMk id="28" creationId="{ED99A3B2-E4C8-DADA-98C0-105E65DFE560}"/>
          </ac:picMkLst>
        </pc:picChg>
        <pc:cxnChg chg="mod">
          <ac:chgData name="Nikesh Poudel" userId="c167580e-23b9-4956-8102-eff4a3f4af47" providerId="ADAL" clId="{7FE862D4-2526-4AC8-88F1-F31E804F97DF}" dt="2025-11-07T00:53:08.377" v="1536" actId="1036"/>
          <ac:cxnSpMkLst>
            <pc:docMk/>
            <pc:sldMk cId="2715981637" sldId="306"/>
            <ac:cxnSpMk id="18" creationId="{7FBF319F-678B-96ED-7717-013E4A8B4B7B}"/>
          </ac:cxnSpMkLst>
        </pc:cxnChg>
      </pc:sldChg>
      <pc:sldChg chg="addSp delSp modSp mod ord">
        <pc:chgData name="Nikesh Poudel" userId="c167580e-23b9-4956-8102-eff4a3f4af47" providerId="ADAL" clId="{7FE862D4-2526-4AC8-88F1-F31E804F97DF}" dt="2025-11-07T00:52:56.839" v="1503"/>
        <pc:sldMkLst>
          <pc:docMk/>
          <pc:sldMk cId="204826261" sldId="2147478994"/>
        </pc:sldMkLst>
        <pc:spChg chg="mod">
          <ac:chgData name="Nikesh Poudel" userId="c167580e-23b9-4956-8102-eff4a3f4af47" providerId="ADAL" clId="{7FE862D4-2526-4AC8-88F1-F31E804F97DF}" dt="2025-11-04T17:57:53.480" v="41" actId="13926"/>
          <ac:spMkLst>
            <pc:docMk/>
            <pc:sldMk cId="204826261" sldId="2147478994"/>
            <ac:spMk id="6" creationId="{29607D19-6B7F-738F-1982-982C58A76935}"/>
          </ac:spMkLst>
        </pc:spChg>
        <pc:spChg chg="mod">
          <ac:chgData name="Nikesh Poudel" userId="c167580e-23b9-4956-8102-eff4a3f4af47" providerId="ADAL" clId="{7FE862D4-2526-4AC8-88F1-F31E804F97DF}" dt="2025-11-04T17:57:53.480" v="41" actId="13926"/>
          <ac:spMkLst>
            <pc:docMk/>
            <pc:sldMk cId="204826261" sldId="2147478994"/>
            <ac:spMk id="9" creationId="{161A28D6-DF17-4390-77FA-00CA02C0E8E1}"/>
          </ac:spMkLst>
        </pc:spChg>
        <pc:spChg chg="mod">
          <ac:chgData name="Nikesh Poudel" userId="c167580e-23b9-4956-8102-eff4a3f4af47" providerId="ADAL" clId="{7FE862D4-2526-4AC8-88F1-F31E804F97DF}" dt="2025-11-04T17:54:49.282" v="36" actId="13926"/>
          <ac:spMkLst>
            <pc:docMk/>
            <pc:sldMk cId="204826261" sldId="2147478994"/>
            <ac:spMk id="38" creationId="{78DE099F-392D-B376-9AEE-BB4DC5526A55}"/>
          </ac:spMkLst>
        </pc:spChg>
        <pc:spChg chg="mod">
          <ac:chgData name="Nikesh Poudel" userId="c167580e-23b9-4956-8102-eff4a3f4af47" providerId="ADAL" clId="{7FE862D4-2526-4AC8-88F1-F31E804F97DF}" dt="2025-11-04T17:54:49.282" v="36" actId="13926"/>
          <ac:spMkLst>
            <pc:docMk/>
            <pc:sldMk cId="204826261" sldId="2147478994"/>
            <ac:spMk id="39" creationId="{F5CAEAA8-C51B-7F1B-84BD-75B20A5F11D2}"/>
          </ac:spMkLst>
        </pc:spChg>
        <pc:spChg chg="mod">
          <ac:chgData name="Nikesh Poudel" userId="c167580e-23b9-4956-8102-eff4a3f4af47" providerId="ADAL" clId="{7FE862D4-2526-4AC8-88F1-F31E804F97DF}" dt="2025-11-04T17:55:04.534" v="38" actId="13926"/>
          <ac:spMkLst>
            <pc:docMk/>
            <pc:sldMk cId="204826261" sldId="2147478994"/>
            <ac:spMk id="41" creationId="{DB3EED24-B53B-B562-D7B9-CB7956257ABF}"/>
          </ac:spMkLst>
        </pc:spChg>
        <pc:spChg chg="mod">
          <ac:chgData name="Nikesh Poudel" userId="c167580e-23b9-4956-8102-eff4a3f4af47" providerId="ADAL" clId="{7FE862D4-2526-4AC8-88F1-F31E804F97DF}" dt="2025-11-04T17:54:49.282" v="36" actId="13926"/>
          <ac:spMkLst>
            <pc:docMk/>
            <pc:sldMk cId="204826261" sldId="2147478994"/>
            <ac:spMk id="45" creationId="{B22FC561-F3F3-8123-4A0D-5197A6BE3938}"/>
          </ac:spMkLst>
        </pc:spChg>
        <pc:spChg chg="mod">
          <ac:chgData name="Nikesh Poudel" userId="c167580e-23b9-4956-8102-eff4a3f4af47" providerId="ADAL" clId="{7FE862D4-2526-4AC8-88F1-F31E804F97DF}" dt="2025-11-04T17:55:04.534" v="38" actId="13926"/>
          <ac:spMkLst>
            <pc:docMk/>
            <pc:sldMk cId="204826261" sldId="2147478994"/>
            <ac:spMk id="46" creationId="{8E2DAF6D-AF9E-C11C-5BFF-643EEA9FA341}"/>
          </ac:spMkLst>
        </pc:spChg>
        <pc:spChg chg="mod">
          <ac:chgData name="Nikesh Poudel" userId="c167580e-23b9-4956-8102-eff4a3f4af47" providerId="ADAL" clId="{7FE862D4-2526-4AC8-88F1-F31E804F97DF}" dt="2025-11-04T18:00:28.118" v="180" actId="14100"/>
          <ac:spMkLst>
            <pc:docMk/>
            <pc:sldMk cId="204826261" sldId="2147478994"/>
            <ac:spMk id="50" creationId="{432E2302-8392-101C-2439-FC57BB549A35}"/>
          </ac:spMkLst>
        </pc:spChg>
        <pc:spChg chg="mod">
          <ac:chgData name="Nikesh Poudel" userId="c167580e-23b9-4956-8102-eff4a3f4af47" providerId="ADAL" clId="{7FE862D4-2526-4AC8-88F1-F31E804F97DF}" dt="2025-11-04T17:55:04.534" v="38" actId="13926"/>
          <ac:spMkLst>
            <pc:docMk/>
            <pc:sldMk cId="204826261" sldId="2147478994"/>
            <ac:spMk id="51" creationId="{B7CAF189-1E59-F1C9-038C-0BDE4AE7CF7D}"/>
          </ac:spMkLst>
        </pc:spChg>
        <pc:spChg chg="mod">
          <ac:chgData name="Nikesh Poudel" userId="c167580e-23b9-4956-8102-eff4a3f4af47" providerId="ADAL" clId="{7FE862D4-2526-4AC8-88F1-F31E804F97DF}" dt="2025-11-04T17:57:53.480" v="41" actId="13926"/>
          <ac:spMkLst>
            <pc:docMk/>
            <pc:sldMk cId="204826261" sldId="2147478994"/>
            <ac:spMk id="57" creationId="{613A46CF-17B2-C5BA-9ABB-48AE3DA3ED2A}"/>
          </ac:spMkLst>
        </pc:spChg>
        <pc:spChg chg="mod">
          <ac:chgData name="Nikesh Poudel" userId="c167580e-23b9-4956-8102-eff4a3f4af47" providerId="ADAL" clId="{7FE862D4-2526-4AC8-88F1-F31E804F97DF}" dt="2025-11-04T17:57:53.480" v="41" actId="13926"/>
          <ac:spMkLst>
            <pc:docMk/>
            <pc:sldMk cId="204826261" sldId="2147478994"/>
            <ac:spMk id="59" creationId="{D3EF8C28-5A70-F4E6-464A-C9713C2FFCF5}"/>
          </ac:spMkLst>
        </pc:spChg>
        <pc:spChg chg="mod">
          <ac:chgData name="Nikesh Poudel" userId="c167580e-23b9-4956-8102-eff4a3f4af47" providerId="ADAL" clId="{7FE862D4-2526-4AC8-88F1-F31E804F97DF}" dt="2025-11-04T17:57:53.480" v="41" actId="13926"/>
          <ac:spMkLst>
            <pc:docMk/>
            <pc:sldMk cId="204826261" sldId="2147478994"/>
            <ac:spMk id="63" creationId="{DACF2D16-AAB2-4B04-F792-F9A10C11CE90}"/>
          </ac:spMkLst>
        </pc:spChg>
        <pc:spChg chg="mod">
          <ac:chgData name="Nikesh Poudel" userId="c167580e-23b9-4956-8102-eff4a3f4af47" providerId="ADAL" clId="{7FE862D4-2526-4AC8-88F1-F31E804F97DF}" dt="2025-11-04T17:57:53.480" v="41" actId="13926"/>
          <ac:spMkLst>
            <pc:docMk/>
            <pc:sldMk cId="204826261" sldId="2147478994"/>
            <ac:spMk id="73" creationId="{8CA31DC6-0D49-588C-FD34-7D2D7E0FD5B9}"/>
          </ac:spMkLst>
        </pc:spChg>
        <pc:spChg chg="mod">
          <ac:chgData name="Nikesh Poudel" userId="c167580e-23b9-4956-8102-eff4a3f4af47" providerId="ADAL" clId="{7FE862D4-2526-4AC8-88F1-F31E804F97DF}" dt="2025-11-04T17:57:53.480" v="41" actId="13926"/>
          <ac:spMkLst>
            <pc:docMk/>
            <pc:sldMk cId="204826261" sldId="2147478994"/>
            <ac:spMk id="81" creationId="{A9EE9ED3-96BE-1013-8405-D2493DF8F9D9}"/>
          </ac:spMkLst>
        </pc:spChg>
        <pc:spChg chg="mod">
          <ac:chgData name="Nikesh Poudel" userId="c167580e-23b9-4956-8102-eff4a3f4af47" providerId="ADAL" clId="{7FE862D4-2526-4AC8-88F1-F31E804F97DF}" dt="2025-11-04T17:57:53.480" v="41" actId="13926"/>
          <ac:spMkLst>
            <pc:docMk/>
            <pc:sldMk cId="204826261" sldId="2147478994"/>
            <ac:spMk id="135" creationId="{FE095897-EB6C-045C-881E-173434199ECD}"/>
          </ac:spMkLst>
        </pc:spChg>
        <pc:spChg chg="mod">
          <ac:chgData name="Nikesh Poudel" userId="c167580e-23b9-4956-8102-eff4a3f4af47" providerId="ADAL" clId="{7FE862D4-2526-4AC8-88F1-F31E804F97DF}" dt="2025-11-04T18:00:54.294" v="204" actId="14100"/>
          <ac:spMkLst>
            <pc:docMk/>
            <pc:sldMk cId="204826261" sldId="2147478994"/>
            <ac:spMk id="139" creationId="{BC77DCBD-7AF2-B114-0229-9BAB9DC0FBD2}"/>
          </ac:spMkLst>
        </pc:spChg>
        <pc:spChg chg="mod">
          <ac:chgData name="Nikesh Poudel" userId="c167580e-23b9-4956-8102-eff4a3f4af47" providerId="ADAL" clId="{7FE862D4-2526-4AC8-88F1-F31E804F97DF}" dt="2025-11-04T18:00:08.232" v="157" actId="14100"/>
          <ac:spMkLst>
            <pc:docMk/>
            <pc:sldMk cId="204826261" sldId="2147478994"/>
            <ac:spMk id="155" creationId="{F49789A2-3EB4-357D-B5D8-B4B988514612}"/>
          </ac:spMkLst>
        </pc:spChg>
        <pc:spChg chg="mod">
          <ac:chgData name="Nikesh Poudel" userId="c167580e-23b9-4956-8102-eff4a3f4af47" providerId="ADAL" clId="{7FE862D4-2526-4AC8-88F1-F31E804F97DF}" dt="2025-11-04T17:57:53.480" v="41" actId="13926"/>
          <ac:spMkLst>
            <pc:docMk/>
            <pc:sldMk cId="204826261" sldId="2147478994"/>
            <ac:spMk id="212" creationId="{30D09D86-F46D-D018-CE6A-0C1EF0971A4C}"/>
          </ac:spMkLst>
        </pc:spChg>
        <pc:spChg chg="mod">
          <ac:chgData name="Nikesh Poudel" userId="c167580e-23b9-4956-8102-eff4a3f4af47" providerId="ADAL" clId="{7FE862D4-2526-4AC8-88F1-F31E804F97DF}" dt="2025-11-04T17:57:53.480" v="41" actId="13926"/>
          <ac:spMkLst>
            <pc:docMk/>
            <pc:sldMk cId="204826261" sldId="2147478994"/>
            <ac:spMk id="219" creationId="{D8240EE2-153B-112A-2DE3-F3DDBC82CDE2}"/>
          </ac:spMkLst>
        </pc:spChg>
      </pc:sldChg>
      <pc:sldChg chg="addSp delSp modSp mod">
        <pc:chgData name="Nikesh Poudel" userId="c167580e-23b9-4956-8102-eff4a3f4af47" providerId="ADAL" clId="{7FE862D4-2526-4AC8-88F1-F31E804F97DF}" dt="2025-11-07T00:43:50.129" v="1431"/>
        <pc:sldMkLst>
          <pc:docMk/>
          <pc:sldMk cId="1329582903" sldId="2147483647"/>
        </pc:sldMkLst>
        <pc:spChg chg="mod">
          <ac:chgData name="Nikesh Poudel" userId="c167580e-23b9-4956-8102-eff4a3f4af47" providerId="ADAL" clId="{7FE862D4-2526-4AC8-88F1-F31E804F97DF}" dt="2025-11-07T00:43:50.129" v="1431"/>
          <ac:spMkLst>
            <pc:docMk/>
            <pc:sldMk cId="1329582903" sldId="2147483647"/>
            <ac:spMk id="51" creationId="{FE42C580-BEED-5484-7AD7-FAEFB2E2643E}"/>
          </ac:spMkLst>
        </pc:spChg>
        <pc:grpChg chg="add mod">
          <ac:chgData name="Nikesh Poudel" userId="c167580e-23b9-4956-8102-eff4a3f4af47" providerId="ADAL" clId="{7FE862D4-2526-4AC8-88F1-F31E804F97DF}" dt="2025-11-07T00:43:50.129" v="1431"/>
          <ac:grpSpMkLst>
            <pc:docMk/>
            <pc:sldMk cId="1329582903" sldId="2147483647"/>
            <ac:grpSpMk id="50" creationId="{C0DADC9B-F043-9732-9652-DAD575D63BE3}"/>
          </ac:grpSpMkLst>
        </pc:grpChg>
        <pc:graphicFrameChg chg="add mod">
          <ac:chgData name="Nikesh Poudel" userId="c167580e-23b9-4956-8102-eff4a3f4af47" providerId="ADAL" clId="{7FE862D4-2526-4AC8-88F1-F31E804F97DF}" dt="2025-11-07T00:43:50.129" v="1431"/>
          <ac:graphicFrameMkLst>
            <pc:docMk/>
            <pc:sldMk cId="1329582903" sldId="2147483647"/>
            <ac:graphicFrameMk id="49" creationId="{96752C0E-B841-7240-A2AC-24C6982977B6}"/>
          </ac:graphicFrameMkLst>
        </pc:graphicFrameChg>
        <pc:picChg chg="mod">
          <ac:chgData name="Nikesh Poudel" userId="c167580e-23b9-4956-8102-eff4a3f4af47" providerId="ADAL" clId="{7FE862D4-2526-4AC8-88F1-F31E804F97DF}" dt="2025-11-07T00:43:50.129" v="1431"/>
          <ac:picMkLst>
            <pc:docMk/>
            <pc:sldMk cId="1329582903" sldId="2147483647"/>
            <ac:picMk id="52" creationId="{A359D948-643A-623B-73F6-CB14D54CF3C7}"/>
          </ac:picMkLst>
        </pc:picChg>
      </pc:sldChg>
      <pc:sldMasterChg chg="modSldLayout">
        <pc:chgData name="Nikesh Poudel" userId="c167580e-23b9-4956-8102-eff4a3f4af47" providerId="ADAL" clId="{7FE862D4-2526-4AC8-88F1-F31E804F97DF}" dt="2025-11-04T19:36:11.589" v="556"/>
        <pc:sldMasterMkLst>
          <pc:docMk/>
          <pc:sldMasterMk cId="3538342992" sldId="2147483765"/>
        </pc:sldMasterMkLst>
        <pc:sldLayoutChg chg="addSp delSp modSp mod">
          <pc:chgData name="Nikesh Poudel" userId="c167580e-23b9-4956-8102-eff4a3f4af47" providerId="ADAL" clId="{7FE862D4-2526-4AC8-88F1-F31E804F97DF}" dt="2025-11-04T19:36:11.589" v="556"/>
          <pc:sldLayoutMkLst>
            <pc:docMk/>
            <pc:sldMasterMk cId="3538342992" sldId="2147483765"/>
            <pc:sldLayoutMk cId="793866717" sldId="2147483766"/>
          </pc:sldLayoutMkLst>
          <pc:spChg chg="mod ord">
            <ac:chgData name="Nikesh Poudel" userId="c167580e-23b9-4956-8102-eff4a3f4af47" providerId="ADAL" clId="{7FE862D4-2526-4AC8-88F1-F31E804F97DF}" dt="2025-11-04T19:36:11.589" v="546"/>
            <ac:spMkLst>
              <pc:docMk/>
              <pc:sldMasterMk cId="3538342992" sldId="2147483765"/>
              <pc:sldLayoutMk cId="793866717" sldId="2147483766"/>
              <ac:spMk id="14" creationId="{1C981F80-EA91-1D3E-3A89-6F0FF56F1861}"/>
            </ac:spMkLst>
          </pc:spChg>
          <pc:spChg chg="mod ord">
            <ac:chgData name="Nikesh Poudel" userId="c167580e-23b9-4956-8102-eff4a3f4af47" providerId="ADAL" clId="{7FE862D4-2526-4AC8-88F1-F31E804F97DF}" dt="2025-11-04T19:36:11.589" v="550"/>
            <ac:spMkLst>
              <pc:docMk/>
              <pc:sldMasterMk cId="3538342992" sldId="2147483765"/>
              <pc:sldLayoutMk cId="793866717" sldId="2147483766"/>
              <ac:spMk id="16" creationId="{EB652221-C8A8-F168-4A4E-639966B11A07}"/>
            </ac:spMkLst>
          </pc:spChg>
          <pc:spChg chg="mod ord">
            <ac:chgData name="Nikesh Poudel" userId="c167580e-23b9-4956-8102-eff4a3f4af47" providerId="ADAL" clId="{7FE862D4-2526-4AC8-88F1-F31E804F97DF}" dt="2025-11-04T19:36:11.589" v="552"/>
            <ac:spMkLst>
              <pc:docMk/>
              <pc:sldMasterMk cId="3538342992" sldId="2147483765"/>
              <pc:sldLayoutMk cId="793866717" sldId="2147483766"/>
              <ac:spMk id="17" creationId="{A7EB173F-81BC-F2CF-5F46-71742D484AB1}"/>
            </ac:spMkLst>
          </pc:spChg>
          <pc:graphicFrameChg chg="mod">
            <ac:chgData name="Nikesh Poudel" userId="c167580e-23b9-4956-8102-eff4a3f4af47" providerId="ADAL" clId="{7FE862D4-2526-4AC8-88F1-F31E804F97DF}" dt="2025-11-04T19:36:11.589" v="556"/>
            <ac:graphicFrameMkLst>
              <pc:docMk/>
              <pc:sldMasterMk cId="3538342992" sldId="2147483765"/>
              <pc:sldLayoutMk cId="793866717" sldId="2147483766"/>
              <ac:graphicFrameMk id="6" creationId="{134FB80D-9A52-0CFA-239C-F92FEA622EBB}"/>
            </ac:graphicFrameMkLst>
          </pc:graphicFrameChg>
          <pc:picChg chg="add mod ord">
            <ac:chgData name="Nikesh Poudel" userId="c167580e-23b9-4956-8102-eff4a3f4af47" providerId="ADAL" clId="{7FE862D4-2526-4AC8-88F1-F31E804F97DF}" dt="2025-11-04T19:36:11.589" v="544"/>
            <ac:picMkLst>
              <pc:docMk/>
              <pc:sldMasterMk cId="3538342992" sldId="2147483765"/>
              <pc:sldLayoutMk cId="793866717" sldId="2147483766"/>
              <ac:picMk id="2" creationId="{3F730689-BF30-76EB-2E87-243AD2CD6045}"/>
            </ac:picMkLst>
          </pc:picChg>
          <pc:cxnChg chg="mod ord">
            <ac:chgData name="Nikesh Poudel" userId="c167580e-23b9-4956-8102-eff4a3f4af47" providerId="ADAL" clId="{7FE862D4-2526-4AC8-88F1-F31E804F97DF}" dt="2025-11-04T19:36:11.589" v="548"/>
            <ac:cxnSpMkLst>
              <pc:docMk/>
              <pc:sldMasterMk cId="3538342992" sldId="2147483765"/>
              <pc:sldLayoutMk cId="793866717" sldId="2147483766"/>
              <ac:cxnSpMk id="15" creationId="{D88F69C7-3017-A27A-5BE8-2E7E43AA947B}"/>
            </ac:cxnSpMkLst>
          </pc:cxnChg>
        </pc:sldLayoutChg>
      </pc:sldMasterChg>
    </pc:docChg>
  </pc:docChgLst>
  <pc:docChgLst>
    <pc:chgData name="Erica Jackey" userId="S::ejackey@highpoint-associates.com::e2881573-dfd6-412f-8520-9ae0fd13c7bc" providerId="AD" clId="Web-{10A67E14-9124-81E7-5F4B-3B253F504C5B}"/>
    <pc:docChg chg="addSld modSection">
      <pc:chgData name="Erica Jackey" userId="S::ejackey@highpoint-associates.com::e2881573-dfd6-412f-8520-9ae0fd13c7bc" providerId="AD" clId="Web-{10A67E14-9124-81E7-5F4B-3B253F504C5B}" dt="2025-11-04T01:44:06.349" v="1"/>
      <pc:docMkLst>
        <pc:docMk/>
      </pc:docMkLst>
      <pc:sldChg chg="add">
        <pc:chgData name="Erica Jackey" userId="S::ejackey@highpoint-associates.com::e2881573-dfd6-412f-8520-9ae0fd13c7bc" providerId="AD" clId="Web-{10A67E14-9124-81E7-5F4B-3B253F504C5B}" dt="2025-11-04T01:44:06.349" v="1"/>
        <pc:sldMkLst>
          <pc:docMk/>
          <pc:sldMk cId="3418640983" sldId="257"/>
        </pc:sldMkLst>
      </pc:sldChg>
    </pc:docChg>
  </pc:docChgLst>
  <pc:docChgLst>
    <pc:chgData name="Seanna Mueller-King" userId="S::smuellerking@highpoint-associates.com::b463ef1a-644b-4331-9020-3055d851b284" providerId="AD" clId="Web-{43184731-C18B-AC4D-80A1-A41730750906}"/>
    <pc:docChg chg="modSld">
      <pc:chgData name="Seanna Mueller-King" userId="S::smuellerking@highpoint-associates.com::b463ef1a-644b-4331-9020-3055d851b284" providerId="AD" clId="Web-{43184731-C18B-AC4D-80A1-A41730750906}" dt="2025-11-12T18:03:50.205" v="3" actId="1076"/>
      <pc:docMkLst>
        <pc:docMk/>
      </pc:docMkLst>
      <pc:sldChg chg="modSp">
        <pc:chgData name="Seanna Mueller-King" userId="S::smuellerking@highpoint-associates.com::b463ef1a-644b-4331-9020-3055d851b284" providerId="AD" clId="Web-{43184731-C18B-AC4D-80A1-A41730750906}" dt="2025-11-12T18:03:50.205" v="3" actId="1076"/>
        <pc:sldMkLst>
          <pc:docMk/>
          <pc:sldMk cId="2658180832" sldId="260"/>
        </pc:sldMkLst>
        <pc:picChg chg="mod">
          <ac:chgData name="Seanna Mueller-King" userId="S::smuellerking@highpoint-associates.com::b463ef1a-644b-4331-9020-3055d851b284" providerId="AD" clId="Web-{43184731-C18B-AC4D-80A1-A41730750906}" dt="2025-11-12T18:03:50.205" v="3" actId="1076"/>
          <ac:picMkLst>
            <pc:docMk/>
            <pc:sldMk cId="2658180832" sldId="260"/>
            <ac:picMk id="2" creationId="{AD70D392-0BE7-DD66-AB68-2F6CD3B32F39}"/>
          </ac:picMkLst>
        </pc:picChg>
      </pc:sldChg>
    </pc:docChg>
  </pc:docChgLst>
  <pc:docChgLst>
    <pc:chgData name="Erica Jackey" userId="e2881573-dfd6-412f-8520-9ae0fd13c7bc" providerId="ADAL" clId="{2D1E8199-EDFB-46A8-8688-13F02204B400}"/>
    <pc:docChg chg="undo custSel addSld delSld modSld sldOrd modSection">
      <pc:chgData name="Erica Jackey" userId="e2881573-dfd6-412f-8520-9ae0fd13c7bc" providerId="ADAL" clId="{2D1E8199-EDFB-46A8-8688-13F02204B400}" dt="2025-11-18T06:12:00.763" v="5197" actId="555"/>
      <pc:docMkLst>
        <pc:docMk/>
      </pc:docMkLst>
      <pc:sldChg chg="addSp delSp modSp mod ord">
        <pc:chgData name="Erica Jackey" userId="e2881573-dfd6-412f-8520-9ae0fd13c7bc" providerId="ADAL" clId="{2D1E8199-EDFB-46A8-8688-13F02204B400}" dt="2025-11-18T05:29:15.394" v="4452" actId="20577"/>
        <pc:sldMkLst>
          <pc:docMk/>
          <pc:sldMk cId="3418640983" sldId="257"/>
        </pc:sldMkLst>
        <pc:spChg chg="add mod ord">
          <ac:chgData name="Erica Jackey" userId="e2881573-dfd6-412f-8520-9ae0fd13c7bc" providerId="ADAL" clId="{2D1E8199-EDFB-46A8-8688-13F02204B400}" dt="2025-11-18T04:47:43.788" v="3923"/>
          <ac:spMkLst>
            <pc:docMk/>
            <pc:sldMk cId="3418640983" sldId="257"/>
            <ac:spMk id="2" creationId="{E6484F52-76BF-7E8A-523E-6864750C9926}"/>
          </ac:spMkLst>
        </pc:spChg>
        <pc:spChg chg="add del mod modVis">
          <ac:chgData name="Erica Jackey" userId="e2881573-dfd6-412f-8520-9ae0fd13c7bc" providerId="ADAL" clId="{2D1E8199-EDFB-46A8-8688-13F02204B400}" dt="2025-11-18T04:42:02.857" v="3409"/>
          <ac:spMkLst>
            <pc:docMk/>
            <pc:sldMk cId="3418640983" sldId="257"/>
            <ac:spMk id="3" creationId="{762DF255-DCE0-16F8-B159-89A2B592A873}"/>
          </ac:spMkLst>
        </pc:spChg>
        <pc:spChg chg="mod ord">
          <ac:chgData name="Erica Jackey" userId="e2881573-dfd6-412f-8520-9ae0fd13c7bc" providerId="ADAL" clId="{2D1E8199-EDFB-46A8-8688-13F02204B400}" dt="2025-11-18T04:49:08.842" v="3975" actId="122"/>
          <ac:spMkLst>
            <pc:docMk/>
            <pc:sldMk cId="3418640983" sldId="257"/>
            <ac:spMk id="4" creationId="{E4505B60-24C5-0B4C-6A99-2911BF90933C}"/>
          </ac:spMkLst>
        </pc:spChg>
        <pc:spChg chg="mod ord">
          <ac:chgData name="Erica Jackey" userId="e2881573-dfd6-412f-8520-9ae0fd13c7bc" providerId="ADAL" clId="{2D1E8199-EDFB-46A8-8688-13F02204B400}" dt="2025-11-18T04:49:08.842" v="3975" actId="122"/>
          <ac:spMkLst>
            <pc:docMk/>
            <pc:sldMk cId="3418640983" sldId="257"/>
            <ac:spMk id="6" creationId="{4B63EFB7-E3CD-67F8-798A-B2DD8F409954}"/>
          </ac:spMkLst>
        </pc:spChg>
        <pc:spChg chg="mod ord">
          <ac:chgData name="Erica Jackey" userId="e2881573-dfd6-412f-8520-9ae0fd13c7bc" providerId="ADAL" clId="{2D1E8199-EDFB-46A8-8688-13F02204B400}" dt="2025-11-18T04:50:31.377" v="3997" actId="20577"/>
          <ac:spMkLst>
            <pc:docMk/>
            <pc:sldMk cId="3418640983" sldId="257"/>
            <ac:spMk id="7" creationId="{1F873335-A264-7A4F-3A4E-4587002F676A}"/>
          </ac:spMkLst>
        </pc:spChg>
        <pc:spChg chg="mod ord">
          <ac:chgData name="Erica Jackey" userId="e2881573-dfd6-412f-8520-9ae0fd13c7bc" providerId="ADAL" clId="{2D1E8199-EDFB-46A8-8688-13F02204B400}" dt="2025-11-18T04:49:40.681" v="3987" actId="20577"/>
          <ac:spMkLst>
            <pc:docMk/>
            <pc:sldMk cId="3418640983" sldId="257"/>
            <ac:spMk id="8" creationId="{71A3C005-A927-BF02-011C-C524E0022829}"/>
          </ac:spMkLst>
        </pc:spChg>
        <pc:spChg chg="mod ord">
          <ac:chgData name="Erica Jackey" userId="e2881573-dfd6-412f-8520-9ae0fd13c7bc" providerId="ADAL" clId="{2D1E8199-EDFB-46A8-8688-13F02204B400}" dt="2025-11-18T04:49:54.604" v="3991" actId="122"/>
          <ac:spMkLst>
            <pc:docMk/>
            <pc:sldMk cId="3418640983" sldId="257"/>
            <ac:spMk id="9" creationId="{A5613F7A-A999-404A-30B0-990954C42245}"/>
          </ac:spMkLst>
        </pc:spChg>
        <pc:spChg chg="add mod ord">
          <ac:chgData name="Erica Jackey" userId="e2881573-dfd6-412f-8520-9ae0fd13c7bc" providerId="ADAL" clId="{2D1E8199-EDFB-46A8-8688-13F02204B400}" dt="2025-11-18T04:47:43.761" v="3889"/>
          <ac:spMkLst>
            <pc:docMk/>
            <pc:sldMk cId="3418640983" sldId="257"/>
            <ac:spMk id="10" creationId="{2D40F308-A00A-F20F-5717-35591826ACE5}"/>
          </ac:spMkLst>
        </pc:spChg>
        <pc:spChg chg="mod ord">
          <ac:chgData name="Erica Jackey" userId="e2881573-dfd6-412f-8520-9ae0fd13c7bc" providerId="ADAL" clId="{2D1E8199-EDFB-46A8-8688-13F02204B400}" dt="2025-11-18T04:47:43.774" v="3895"/>
          <ac:spMkLst>
            <pc:docMk/>
            <pc:sldMk cId="3418640983" sldId="257"/>
            <ac:spMk id="11" creationId="{DB6A9D21-753A-F58B-22AF-B80BE83C9CB2}"/>
          </ac:spMkLst>
        </pc:spChg>
        <pc:spChg chg="mod ord">
          <ac:chgData name="Erica Jackey" userId="e2881573-dfd6-412f-8520-9ae0fd13c7bc" providerId="ADAL" clId="{2D1E8199-EDFB-46A8-8688-13F02204B400}" dt="2025-11-18T04:47:43.774" v="3897"/>
          <ac:spMkLst>
            <pc:docMk/>
            <pc:sldMk cId="3418640983" sldId="257"/>
            <ac:spMk id="12" creationId="{D2A5695B-9802-B824-27E0-312C25CF029A}"/>
          </ac:spMkLst>
        </pc:spChg>
        <pc:spChg chg="mod ord">
          <ac:chgData name="Erica Jackey" userId="e2881573-dfd6-412f-8520-9ae0fd13c7bc" providerId="ADAL" clId="{2D1E8199-EDFB-46A8-8688-13F02204B400}" dt="2025-11-18T04:47:43.774" v="3899"/>
          <ac:spMkLst>
            <pc:docMk/>
            <pc:sldMk cId="3418640983" sldId="257"/>
            <ac:spMk id="13" creationId="{C2F7EE7B-79B3-FD96-EE3A-D9A277E49F80}"/>
          </ac:spMkLst>
        </pc:spChg>
        <pc:spChg chg="mod ord">
          <ac:chgData name="Erica Jackey" userId="e2881573-dfd6-412f-8520-9ae0fd13c7bc" providerId="ADAL" clId="{2D1E8199-EDFB-46A8-8688-13F02204B400}" dt="2025-11-18T04:47:43.774" v="3901"/>
          <ac:spMkLst>
            <pc:docMk/>
            <pc:sldMk cId="3418640983" sldId="257"/>
            <ac:spMk id="14" creationId="{BD25A76D-B503-8F1F-5A47-CA9B114E1C50}"/>
          </ac:spMkLst>
        </pc:spChg>
        <pc:spChg chg="mod ord">
          <ac:chgData name="Erica Jackey" userId="e2881573-dfd6-412f-8520-9ae0fd13c7bc" providerId="ADAL" clId="{2D1E8199-EDFB-46A8-8688-13F02204B400}" dt="2025-11-18T04:47:43.778" v="3903"/>
          <ac:spMkLst>
            <pc:docMk/>
            <pc:sldMk cId="3418640983" sldId="257"/>
            <ac:spMk id="15" creationId="{6C1D631A-CEAA-81FD-1065-807238123609}"/>
          </ac:spMkLst>
        </pc:spChg>
        <pc:spChg chg="add mod ord">
          <ac:chgData name="Erica Jackey" userId="e2881573-dfd6-412f-8520-9ae0fd13c7bc" providerId="ADAL" clId="{2D1E8199-EDFB-46A8-8688-13F02204B400}" dt="2025-11-18T04:48:05.242" v="3947" actId="554"/>
          <ac:spMkLst>
            <pc:docMk/>
            <pc:sldMk cId="3418640983" sldId="257"/>
            <ac:spMk id="16" creationId="{7E8C3463-98A3-4B84-2671-EB710C3D209B}"/>
          </ac:spMkLst>
        </pc:spChg>
        <pc:spChg chg="add mod ord">
          <ac:chgData name="Erica Jackey" userId="e2881573-dfd6-412f-8520-9ae0fd13c7bc" providerId="ADAL" clId="{2D1E8199-EDFB-46A8-8688-13F02204B400}" dt="2025-11-18T04:47:43.792" v="3933"/>
          <ac:spMkLst>
            <pc:docMk/>
            <pc:sldMk cId="3418640983" sldId="257"/>
            <ac:spMk id="17" creationId="{9E26C1CF-CA14-F63C-A29D-22A6C05C6BC2}"/>
          </ac:spMkLst>
        </pc:spChg>
        <pc:spChg chg="mod ord">
          <ac:chgData name="Erica Jackey" userId="e2881573-dfd6-412f-8520-9ae0fd13c7bc" providerId="ADAL" clId="{2D1E8199-EDFB-46A8-8688-13F02204B400}" dt="2025-11-18T04:47:43.778" v="3905"/>
          <ac:spMkLst>
            <pc:docMk/>
            <pc:sldMk cId="3418640983" sldId="257"/>
            <ac:spMk id="18" creationId="{231F9350-C4A1-6872-1123-F9063F73CE4A}"/>
          </ac:spMkLst>
        </pc:spChg>
        <pc:spChg chg="mod ord">
          <ac:chgData name="Erica Jackey" userId="e2881573-dfd6-412f-8520-9ae0fd13c7bc" providerId="ADAL" clId="{2D1E8199-EDFB-46A8-8688-13F02204B400}" dt="2025-11-18T04:47:43.778" v="3907"/>
          <ac:spMkLst>
            <pc:docMk/>
            <pc:sldMk cId="3418640983" sldId="257"/>
            <ac:spMk id="19" creationId="{56EFD859-6958-2B93-63FA-53D064B9BE77}"/>
          </ac:spMkLst>
        </pc:spChg>
        <pc:spChg chg="add mod ord">
          <ac:chgData name="Erica Jackey" userId="e2881573-dfd6-412f-8520-9ae0fd13c7bc" providerId="ADAL" clId="{2D1E8199-EDFB-46A8-8688-13F02204B400}" dt="2025-11-18T04:48:05.242" v="3947" actId="554"/>
          <ac:spMkLst>
            <pc:docMk/>
            <pc:sldMk cId="3418640983" sldId="257"/>
            <ac:spMk id="20" creationId="{384440F7-49F9-7D8F-889A-ECBC6FFD0CDD}"/>
          </ac:spMkLst>
        </pc:spChg>
        <pc:spChg chg="mod ord">
          <ac:chgData name="Erica Jackey" userId="e2881573-dfd6-412f-8520-9ae0fd13c7bc" providerId="ADAL" clId="{2D1E8199-EDFB-46A8-8688-13F02204B400}" dt="2025-11-18T04:47:43.778" v="3909"/>
          <ac:spMkLst>
            <pc:docMk/>
            <pc:sldMk cId="3418640983" sldId="257"/>
            <ac:spMk id="21" creationId="{CF547FEE-CF9F-1AF9-FE90-5067404D9C8D}"/>
          </ac:spMkLst>
        </pc:spChg>
        <pc:spChg chg="mod ord">
          <ac:chgData name="Erica Jackey" userId="e2881573-dfd6-412f-8520-9ae0fd13c7bc" providerId="ADAL" clId="{2D1E8199-EDFB-46A8-8688-13F02204B400}" dt="2025-11-18T05:29:15.394" v="4452" actId="20577"/>
          <ac:spMkLst>
            <pc:docMk/>
            <pc:sldMk cId="3418640983" sldId="257"/>
            <ac:spMk id="22" creationId="{7B496B6C-97A5-42CB-95B2-D3441C2F327F}"/>
          </ac:spMkLst>
        </pc:spChg>
        <pc:spChg chg="mod ord">
          <ac:chgData name="Erica Jackey" userId="e2881573-dfd6-412f-8520-9ae0fd13c7bc" providerId="ADAL" clId="{2D1E8199-EDFB-46A8-8688-13F02204B400}" dt="2025-11-18T04:47:43.778" v="3913"/>
          <ac:spMkLst>
            <pc:docMk/>
            <pc:sldMk cId="3418640983" sldId="257"/>
            <ac:spMk id="23" creationId="{2E6BD61A-DDF6-CA21-367C-1EE1DD2A6792}"/>
          </ac:spMkLst>
        </pc:spChg>
        <pc:spChg chg="mod ord">
          <ac:chgData name="Erica Jackey" userId="e2881573-dfd6-412f-8520-9ae0fd13c7bc" providerId="ADAL" clId="{2D1E8199-EDFB-46A8-8688-13F02204B400}" dt="2025-11-18T04:47:43.778" v="3915"/>
          <ac:spMkLst>
            <pc:docMk/>
            <pc:sldMk cId="3418640983" sldId="257"/>
            <ac:spMk id="26" creationId="{EB0945B3-742D-0FBA-8CA9-8E93FBEA6CAA}"/>
          </ac:spMkLst>
        </pc:spChg>
        <pc:spChg chg="mod ord">
          <ac:chgData name="Erica Jackey" userId="e2881573-dfd6-412f-8520-9ae0fd13c7bc" providerId="ADAL" clId="{2D1E8199-EDFB-46A8-8688-13F02204B400}" dt="2025-11-18T04:47:43.786" v="3917"/>
          <ac:spMkLst>
            <pc:docMk/>
            <pc:sldMk cId="3418640983" sldId="257"/>
            <ac:spMk id="27" creationId="{F9E648F8-9019-6E66-8587-D1552D9B413F}"/>
          </ac:spMkLst>
        </pc:spChg>
        <pc:spChg chg="mod ord">
          <ac:chgData name="Erica Jackey" userId="e2881573-dfd6-412f-8520-9ae0fd13c7bc" providerId="ADAL" clId="{2D1E8199-EDFB-46A8-8688-13F02204B400}" dt="2025-11-18T04:47:43.786" v="3921"/>
          <ac:spMkLst>
            <pc:docMk/>
            <pc:sldMk cId="3418640983" sldId="257"/>
            <ac:spMk id="33" creationId="{4836BE31-70B7-3D17-0359-A3BB8982EF7B}"/>
          </ac:spMkLst>
        </pc:spChg>
        <pc:spChg chg="mod">
          <ac:chgData name="Erica Jackey" userId="e2881573-dfd6-412f-8520-9ae0fd13c7bc" providerId="ADAL" clId="{2D1E8199-EDFB-46A8-8688-13F02204B400}" dt="2025-11-18T04:42:33.416" v="3420" actId="207"/>
          <ac:spMkLst>
            <pc:docMk/>
            <pc:sldMk cId="3418640983" sldId="257"/>
            <ac:spMk id="34" creationId="{D3092BA8-2261-AB86-BB91-790A0CBD5912}"/>
          </ac:spMkLst>
        </pc:spChg>
        <pc:spChg chg="mod">
          <ac:chgData name="Erica Jackey" userId="e2881573-dfd6-412f-8520-9ae0fd13c7bc" providerId="ADAL" clId="{2D1E8199-EDFB-46A8-8688-13F02204B400}" dt="2025-11-18T04:42:33.416" v="3420" actId="207"/>
          <ac:spMkLst>
            <pc:docMk/>
            <pc:sldMk cId="3418640983" sldId="257"/>
            <ac:spMk id="35" creationId="{920BB3F8-386A-88A8-0BAA-0B18445E0259}"/>
          </ac:spMkLst>
        </pc:spChg>
        <pc:spChg chg="mod">
          <ac:chgData name="Erica Jackey" userId="e2881573-dfd6-412f-8520-9ae0fd13c7bc" providerId="ADAL" clId="{2D1E8199-EDFB-46A8-8688-13F02204B400}" dt="2025-11-18T04:42:33.416" v="3420" actId="207"/>
          <ac:spMkLst>
            <pc:docMk/>
            <pc:sldMk cId="3418640983" sldId="257"/>
            <ac:spMk id="36" creationId="{1A4E44BF-FD8B-3A80-CD9D-FE77CA7F1AA6}"/>
          </ac:spMkLst>
        </pc:spChg>
        <pc:spChg chg="mod">
          <ac:chgData name="Erica Jackey" userId="e2881573-dfd6-412f-8520-9ae0fd13c7bc" providerId="ADAL" clId="{2D1E8199-EDFB-46A8-8688-13F02204B400}" dt="2025-11-18T04:42:33.416" v="3420" actId="207"/>
          <ac:spMkLst>
            <pc:docMk/>
            <pc:sldMk cId="3418640983" sldId="257"/>
            <ac:spMk id="37" creationId="{7B31E7E0-643B-B64B-6365-C425E4EBDBBD}"/>
          </ac:spMkLst>
        </pc:spChg>
        <pc:spChg chg="mod">
          <ac:chgData name="Erica Jackey" userId="e2881573-dfd6-412f-8520-9ae0fd13c7bc" providerId="ADAL" clId="{2D1E8199-EDFB-46A8-8688-13F02204B400}" dt="2025-11-18T04:42:33.416" v="3420" actId="207"/>
          <ac:spMkLst>
            <pc:docMk/>
            <pc:sldMk cId="3418640983" sldId="257"/>
            <ac:spMk id="38" creationId="{A59C5409-DFC8-9BB8-E652-E6260B2F790C}"/>
          </ac:spMkLst>
        </pc:spChg>
        <pc:spChg chg="mod">
          <ac:chgData name="Erica Jackey" userId="e2881573-dfd6-412f-8520-9ae0fd13c7bc" providerId="ADAL" clId="{2D1E8199-EDFB-46A8-8688-13F02204B400}" dt="2025-11-18T04:42:33.416" v="3420" actId="207"/>
          <ac:spMkLst>
            <pc:docMk/>
            <pc:sldMk cId="3418640983" sldId="257"/>
            <ac:spMk id="39" creationId="{EB7E278E-8A41-554B-32FC-903ECF6CDA48}"/>
          </ac:spMkLst>
        </pc:spChg>
        <pc:spChg chg="mod ord">
          <ac:chgData name="Erica Jackey" userId="e2881573-dfd6-412f-8520-9ae0fd13c7bc" providerId="ADAL" clId="{2D1E8199-EDFB-46A8-8688-13F02204B400}" dt="2025-11-18T04:48:32.306" v="3960" actId="1038"/>
          <ac:spMkLst>
            <pc:docMk/>
            <pc:sldMk cId="3418640983" sldId="257"/>
            <ac:spMk id="46" creationId="{1F0F323B-0EEA-1FAB-E95D-9D0DD4193137}"/>
          </ac:spMkLst>
        </pc:spChg>
        <pc:spChg chg="mod ord">
          <ac:chgData name="Erica Jackey" userId="e2881573-dfd6-412f-8520-9ae0fd13c7bc" providerId="ADAL" clId="{2D1E8199-EDFB-46A8-8688-13F02204B400}" dt="2025-11-18T04:47:43.792" v="3935"/>
          <ac:spMkLst>
            <pc:docMk/>
            <pc:sldMk cId="3418640983" sldId="257"/>
            <ac:spMk id="52" creationId="{CCB25043-9AAD-6984-FFEA-5F38F2ED432C}"/>
          </ac:spMkLst>
        </pc:spChg>
        <pc:spChg chg="mod">
          <ac:chgData name="Erica Jackey" userId="e2881573-dfd6-412f-8520-9ae0fd13c7bc" providerId="ADAL" clId="{2D1E8199-EDFB-46A8-8688-13F02204B400}" dt="2025-11-18T04:45:42.651" v="3679" actId="207"/>
          <ac:spMkLst>
            <pc:docMk/>
            <pc:sldMk cId="3418640983" sldId="257"/>
            <ac:spMk id="69" creationId="{23BB3E20-C43E-D87E-DF6D-968C8E0BC71C}"/>
          </ac:spMkLst>
        </pc:spChg>
        <pc:spChg chg="mod">
          <ac:chgData name="Erica Jackey" userId="e2881573-dfd6-412f-8520-9ae0fd13c7bc" providerId="ADAL" clId="{2D1E8199-EDFB-46A8-8688-13F02204B400}" dt="2025-11-18T04:45:42.651" v="3679" actId="207"/>
          <ac:spMkLst>
            <pc:docMk/>
            <pc:sldMk cId="3418640983" sldId="257"/>
            <ac:spMk id="71" creationId="{FFB2A28F-A9EC-48E0-8629-D388B3F2787F}"/>
          </ac:spMkLst>
        </pc:spChg>
        <pc:spChg chg="mod">
          <ac:chgData name="Erica Jackey" userId="e2881573-dfd6-412f-8520-9ae0fd13c7bc" providerId="ADAL" clId="{2D1E8199-EDFB-46A8-8688-13F02204B400}" dt="2025-11-18T04:45:42.651" v="3679" actId="207"/>
          <ac:spMkLst>
            <pc:docMk/>
            <pc:sldMk cId="3418640983" sldId="257"/>
            <ac:spMk id="72" creationId="{2888C7B9-85E9-E424-B7FF-65E1896D3333}"/>
          </ac:spMkLst>
        </pc:spChg>
        <pc:spChg chg="mod">
          <ac:chgData name="Erica Jackey" userId="e2881573-dfd6-412f-8520-9ae0fd13c7bc" providerId="ADAL" clId="{2D1E8199-EDFB-46A8-8688-13F02204B400}" dt="2025-11-18T04:45:42.651" v="3679" actId="207"/>
          <ac:spMkLst>
            <pc:docMk/>
            <pc:sldMk cId="3418640983" sldId="257"/>
            <ac:spMk id="74" creationId="{FBC56A90-5B67-67BD-A806-69788CA16123}"/>
          </ac:spMkLst>
        </pc:spChg>
        <pc:spChg chg="mod">
          <ac:chgData name="Erica Jackey" userId="e2881573-dfd6-412f-8520-9ae0fd13c7bc" providerId="ADAL" clId="{2D1E8199-EDFB-46A8-8688-13F02204B400}" dt="2025-11-18T04:45:42.651" v="3679" actId="207"/>
          <ac:spMkLst>
            <pc:docMk/>
            <pc:sldMk cId="3418640983" sldId="257"/>
            <ac:spMk id="75" creationId="{0CB4BF8D-1FB5-5640-00CE-FADC98134465}"/>
          </ac:spMkLst>
        </pc:spChg>
        <pc:spChg chg="mod">
          <ac:chgData name="Erica Jackey" userId="e2881573-dfd6-412f-8520-9ae0fd13c7bc" providerId="ADAL" clId="{2D1E8199-EDFB-46A8-8688-13F02204B400}" dt="2025-11-18T04:45:42.651" v="3679" actId="207"/>
          <ac:spMkLst>
            <pc:docMk/>
            <pc:sldMk cId="3418640983" sldId="257"/>
            <ac:spMk id="76" creationId="{D357C560-7287-75A1-68EF-072208AE0A5F}"/>
          </ac:spMkLst>
        </pc:spChg>
        <pc:spChg chg="mod">
          <ac:chgData name="Erica Jackey" userId="e2881573-dfd6-412f-8520-9ae0fd13c7bc" providerId="ADAL" clId="{2D1E8199-EDFB-46A8-8688-13F02204B400}" dt="2025-11-18T04:45:42.651" v="3679" actId="207"/>
          <ac:spMkLst>
            <pc:docMk/>
            <pc:sldMk cId="3418640983" sldId="257"/>
            <ac:spMk id="77" creationId="{B675588B-E54B-3179-5297-FB93B2C5644F}"/>
          </ac:spMkLst>
        </pc:spChg>
        <pc:spChg chg="mod">
          <ac:chgData name="Erica Jackey" userId="e2881573-dfd6-412f-8520-9ae0fd13c7bc" providerId="ADAL" clId="{2D1E8199-EDFB-46A8-8688-13F02204B400}" dt="2025-11-18T04:45:42.651" v="3679" actId="207"/>
          <ac:spMkLst>
            <pc:docMk/>
            <pc:sldMk cId="3418640983" sldId="257"/>
            <ac:spMk id="80" creationId="{02198250-7268-8654-B203-FA81AF14EB09}"/>
          </ac:spMkLst>
        </pc:spChg>
        <pc:spChg chg="mod">
          <ac:chgData name="Erica Jackey" userId="e2881573-dfd6-412f-8520-9ae0fd13c7bc" providerId="ADAL" clId="{2D1E8199-EDFB-46A8-8688-13F02204B400}" dt="2025-11-18T04:45:42.651" v="3679" actId="207"/>
          <ac:spMkLst>
            <pc:docMk/>
            <pc:sldMk cId="3418640983" sldId="257"/>
            <ac:spMk id="81" creationId="{DC9661A3-3D21-6400-5AB8-86B52E98AF90}"/>
          </ac:spMkLst>
        </pc:spChg>
        <pc:spChg chg="mod ord">
          <ac:chgData name="Erica Jackey" userId="e2881573-dfd6-412f-8520-9ae0fd13c7bc" providerId="ADAL" clId="{2D1E8199-EDFB-46A8-8688-13F02204B400}" dt="2025-11-18T04:48:15.191" v="3954" actId="1036"/>
          <ac:spMkLst>
            <pc:docMk/>
            <pc:sldMk cId="3418640983" sldId="257"/>
            <ac:spMk id="90" creationId="{714647EA-D260-AE56-A9B3-39F7568B0E0E}"/>
          </ac:spMkLst>
        </pc:spChg>
        <pc:grpChg chg="mod ord">
          <ac:chgData name="Erica Jackey" userId="e2881573-dfd6-412f-8520-9ae0fd13c7bc" providerId="ADAL" clId="{2D1E8199-EDFB-46A8-8688-13F02204B400}" dt="2025-11-18T04:47:43.788" v="3925"/>
          <ac:grpSpMkLst>
            <pc:docMk/>
            <pc:sldMk cId="3418640983" sldId="257"/>
            <ac:grpSpMk id="42" creationId="{D1CEE4A7-FFD6-32C7-C6D7-CBF07E1C2E5C}"/>
          </ac:grpSpMkLst>
        </pc:grpChg>
        <pc:grpChg chg="mod ord">
          <ac:chgData name="Erica Jackey" userId="e2881573-dfd6-412f-8520-9ae0fd13c7bc" providerId="ADAL" clId="{2D1E8199-EDFB-46A8-8688-13F02204B400}" dt="2025-11-18T04:47:43.792" v="3937"/>
          <ac:grpSpMkLst>
            <pc:docMk/>
            <pc:sldMk cId="3418640983" sldId="257"/>
            <ac:grpSpMk id="86" creationId="{0D7BD241-58BE-C715-4137-EB6A2D32A14A}"/>
          </ac:grpSpMkLst>
        </pc:grpChg>
        <pc:graphicFrameChg chg="mod">
          <ac:chgData name="Erica Jackey" userId="e2881573-dfd6-412f-8520-9ae0fd13c7bc" providerId="ADAL" clId="{2D1E8199-EDFB-46A8-8688-13F02204B400}" dt="2025-11-18T04:47:43.792" v="3945"/>
          <ac:graphicFrameMkLst>
            <pc:docMk/>
            <pc:sldMk cId="3418640983" sldId="257"/>
            <ac:graphicFrameMk id="5" creationId="{D544586C-13C9-98CC-BF9C-8235AFC43C7B}"/>
          </ac:graphicFrameMkLst>
        </pc:graphicFrameChg>
        <pc:picChg chg="mod ord">
          <ac:chgData name="Erica Jackey" userId="e2881573-dfd6-412f-8520-9ae0fd13c7bc" providerId="ADAL" clId="{2D1E8199-EDFB-46A8-8688-13F02204B400}" dt="2025-11-18T04:47:43.786" v="3919"/>
          <ac:picMkLst>
            <pc:docMk/>
            <pc:sldMk cId="3418640983" sldId="257"/>
            <ac:picMk id="31" creationId="{B57ABD45-3FE4-70EC-1C0D-65F848563C2A}"/>
          </ac:picMkLst>
        </pc:picChg>
      </pc:sldChg>
      <pc:sldChg chg="addSp delSp modSp mod">
        <pc:chgData name="Erica Jackey" userId="e2881573-dfd6-412f-8520-9ae0fd13c7bc" providerId="ADAL" clId="{2D1E8199-EDFB-46A8-8688-13F02204B400}" dt="2025-11-18T05:47:41.054" v="4798" actId="113"/>
        <pc:sldMkLst>
          <pc:docMk/>
          <pc:sldMk cId="4158325455" sldId="258"/>
        </pc:sldMkLst>
        <pc:spChg chg="add mod">
          <ac:chgData name="Erica Jackey" userId="e2881573-dfd6-412f-8520-9ae0fd13c7bc" providerId="ADAL" clId="{2D1E8199-EDFB-46A8-8688-13F02204B400}" dt="2025-11-04T02:08:35.202" v="2431" actId="207"/>
          <ac:spMkLst>
            <pc:docMk/>
            <pc:sldMk cId="4158325455" sldId="258"/>
            <ac:spMk id="3" creationId="{023FF215-4DBB-49DD-8A26-984F49915ECA}"/>
          </ac:spMkLst>
        </pc:spChg>
        <pc:spChg chg="add mod">
          <ac:chgData name="Erica Jackey" userId="e2881573-dfd6-412f-8520-9ae0fd13c7bc" providerId="ADAL" clId="{2D1E8199-EDFB-46A8-8688-13F02204B400}" dt="2025-11-04T02:08:38.151" v="2432" actId="207"/>
          <ac:spMkLst>
            <pc:docMk/>
            <pc:sldMk cId="4158325455" sldId="258"/>
            <ac:spMk id="4" creationId="{D95DDD57-C624-7F6B-FC4D-BE89FA758618}"/>
          </ac:spMkLst>
        </pc:spChg>
        <pc:spChg chg="mod">
          <ac:chgData name="Erica Jackey" userId="e2881573-dfd6-412f-8520-9ae0fd13c7bc" providerId="ADAL" clId="{2D1E8199-EDFB-46A8-8688-13F02204B400}" dt="2025-11-18T05:45:59.290" v="4752" actId="207"/>
          <ac:spMkLst>
            <pc:docMk/>
            <pc:sldMk cId="4158325455" sldId="258"/>
            <ac:spMk id="9" creationId="{D249132A-8871-8937-F5E0-CA03AD2925D0}"/>
          </ac:spMkLst>
        </pc:spChg>
        <pc:spChg chg="mod">
          <ac:chgData name="Erica Jackey" userId="e2881573-dfd6-412f-8520-9ae0fd13c7bc" providerId="ADAL" clId="{2D1E8199-EDFB-46A8-8688-13F02204B400}" dt="2025-11-18T05:45:59.290" v="4752" actId="207"/>
          <ac:spMkLst>
            <pc:docMk/>
            <pc:sldMk cId="4158325455" sldId="258"/>
            <ac:spMk id="10" creationId="{023A0F16-5BFD-147E-5A69-EF7C52B63EB5}"/>
          </ac:spMkLst>
        </pc:spChg>
        <pc:spChg chg="mod">
          <ac:chgData name="Erica Jackey" userId="e2881573-dfd6-412f-8520-9ae0fd13c7bc" providerId="ADAL" clId="{2D1E8199-EDFB-46A8-8688-13F02204B400}" dt="2025-11-18T05:45:59.290" v="4752" actId="207"/>
          <ac:spMkLst>
            <pc:docMk/>
            <pc:sldMk cId="4158325455" sldId="258"/>
            <ac:spMk id="11" creationId="{68ED3503-F7BF-DC2A-59A7-F02A5462D6B8}"/>
          </ac:spMkLst>
        </pc:spChg>
        <pc:spChg chg="mod">
          <ac:chgData name="Erica Jackey" userId="e2881573-dfd6-412f-8520-9ae0fd13c7bc" providerId="ADAL" clId="{2D1E8199-EDFB-46A8-8688-13F02204B400}" dt="2025-11-18T05:45:59.290" v="4752" actId="207"/>
          <ac:spMkLst>
            <pc:docMk/>
            <pc:sldMk cId="4158325455" sldId="258"/>
            <ac:spMk id="12" creationId="{BDE372E7-6ADC-17E0-E653-9369331E4FDD}"/>
          </ac:spMkLst>
        </pc:spChg>
        <pc:spChg chg="mod">
          <ac:chgData name="Erica Jackey" userId="e2881573-dfd6-412f-8520-9ae0fd13c7bc" providerId="ADAL" clId="{2D1E8199-EDFB-46A8-8688-13F02204B400}" dt="2025-11-18T05:45:59.290" v="4752" actId="207"/>
          <ac:spMkLst>
            <pc:docMk/>
            <pc:sldMk cId="4158325455" sldId="258"/>
            <ac:spMk id="17" creationId="{6095E1B5-0C5D-CF2D-473A-AD56220DEFA7}"/>
          </ac:spMkLst>
        </pc:spChg>
        <pc:spChg chg="mod">
          <ac:chgData name="Erica Jackey" userId="e2881573-dfd6-412f-8520-9ae0fd13c7bc" providerId="ADAL" clId="{2D1E8199-EDFB-46A8-8688-13F02204B400}" dt="2025-11-04T02:10:52.221" v="2680" actId="948"/>
          <ac:spMkLst>
            <pc:docMk/>
            <pc:sldMk cId="4158325455" sldId="258"/>
            <ac:spMk id="21" creationId="{A5308178-E0EE-3706-DFC4-C7F1A1B3F84D}"/>
          </ac:spMkLst>
        </pc:spChg>
        <pc:spChg chg="mod">
          <ac:chgData name="Erica Jackey" userId="e2881573-dfd6-412f-8520-9ae0fd13c7bc" providerId="ADAL" clId="{2D1E8199-EDFB-46A8-8688-13F02204B400}" dt="2025-11-18T05:45:59.290" v="4752" actId="207"/>
          <ac:spMkLst>
            <pc:docMk/>
            <pc:sldMk cId="4158325455" sldId="258"/>
            <ac:spMk id="24" creationId="{0FCE3E08-F1DD-CED8-3D5D-18767B3BA216}"/>
          </ac:spMkLst>
        </pc:spChg>
        <pc:spChg chg="mod">
          <ac:chgData name="Erica Jackey" userId="e2881573-dfd6-412f-8520-9ae0fd13c7bc" providerId="ADAL" clId="{2D1E8199-EDFB-46A8-8688-13F02204B400}" dt="2025-11-18T05:45:59.290" v="4752" actId="207"/>
          <ac:spMkLst>
            <pc:docMk/>
            <pc:sldMk cId="4158325455" sldId="258"/>
            <ac:spMk id="36" creationId="{FA169F41-64CA-C2E4-12E1-EC595987A8CD}"/>
          </ac:spMkLst>
        </pc:spChg>
        <pc:graphicFrameChg chg="mod">
          <ac:chgData name="Erica Jackey" userId="e2881573-dfd6-412f-8520-9ae0fd13c7bc" providerId="ADAL" clId="{2D1E8199-EDFB-46A8-8688-13F02204B400}" dt="2025-11-04T02:10:52.239" v="2704"/>
          <ac:graphicFrameMkLst>
            <pc:docMk/>
            <pc:sldMk cId="4158325455" sldId="258"/>
            <ac:graphicFrameMk id="5" creationId="{B7DF48DD-C1D8-31E4-FD9D-F0DE62C1FC3F}"/>
          </ac:graphicFrameMkLst>
        </pc:graphicFrameChg>
        <pc:graphicFrameChg chg="mod modGraphic">
          <ac:chgData name="Erica Jackey" userId="e2881573-dfd6-412f-8520-9ae0fd13c7bc" providerId="ADAL" clId="{2D1E8199-EDFB-46A8-8688-13F02204B400}" dt="2025-11-18T05:47:41.054" v="4798" actId="113"/>
          <ac:graphicFrameMkLst>
            <pc:docMk/>
            <pc:sldMk cId="4158325455" sldId="258"/>
            <ac:graphicFrameMk id="7" creationId="{5BC368D4-0BF1-6F05-C8B6-C9D69E0ACEE9}"/>
          </ac:graphicFrameMkLst>
        </pc:graphicFrameChg>
      </pc:sldChg>
      <pc:sldChg chg="addSp delSp modSp mod">
        <pc:chgData name="Erica Jackey" userId="e2881573-dfd6-412f-8520-9ae0fd13c7bc" providerId="ADAL" clId="{2D1E8199-EDFB-46A8-8688-13F02204B400}" dt="2025-11-18T03:15:19.438" v="3223"/>
        <pc:sldMkLst>
          <pc:docMk/>
          <pc:sldMk cId="2658180832" sldId="260"/>
        </pc:sldMkLst>
        <pc:spChg chg="mod">
          <ac:chgData name="Erica Jackey" userId="e2881573-dfd6-412f-8520-9ae0fd13c7bc" providerId="ADAL" clId="{2D1E8199-EDFB-46A8-8688-13F02204B400}" dt="2025-11-18T03:15:19.394" v="3200" actId="948"/>
          <ac:spMkLst>
            <pc:docMk/>
            <pc:sldMk cId="2658180832" sldId="260"/>
            <ac:spMk id="3" creationId="{89EBA1A4-5B07-3CB5-9A82-FEDF6C61A977}"/>
          </ac:spMkLst>
        </pc:spChg>
        <pc:spChg chg="add del mod modVis">
          <ac:chgData name="Erica Jackey" userId="e2881573-dfd6-412f-8520-9ae0fd13c7bc" providerId="ADAL" clId="{2D1E8199-EDFB-46A8-8688-13F02204B400}" dt="2025-11-18T03:15:03.540" v="3163"/>
          <ac:spMkLst>
            <pc:docMk/>
            <pc:sldMk cId="2658180832" sldId="260"/>
            <ac:spMk id="6" creationId="{0568E0C8-32F3-7BF1-C9E1-BACB3F7CC713}"/>
          </ac:spMkLst>
        </pc:spChg>
        <pc:spChg chg="add del mod modVis">
          <ac:chgData name="Erica Jackey" userId="e2881573-dfd6-412f-8520-9ae0fd13c7bc" providerId="ADAL" clId="{2D1E8199-EDFB-46A8-8688-13F02204B400}" dt="2025-11-18T03:15:15.506" v="3188"/>
          <ac:spMkLst>
            <pc:docMk/>
            <pc:sldMk cId="2658180832" sldId="260"/>
            <ac:spMk id="7" creationId="{DBB94B69-F480-EA4E-087E-F2A721BD6589}"/>
          </ac:spMkLst>
        </pc:spChg>
        <pc:spChg chg="add del mod modVis">
          <ac:chgData name="Erica Jackey" userId="e2881573-dfd6-412f-8520-9ae0fd13c7bc" providerId="ADAL" clId="{2D1E8199-EDFB-46A8-8688-13F02204B400}" dt="2025-11-18T03:15:19.435" v="3221"/>
          <ac:spMkLst>
            <pc:docMk/>
            <pc:sldMk cId="2658180832" sldId="260"/>
            <ac:spMk id="8" creationId="{F7AA9EDB-497C-5F17-C5DF-3CB78CED8D81}"/>
          </ac:spMkLst>
        </pc:spChg>
        <pc:graphicFrameChg chg="mod">
          <ac:chgData name="Erica Jackey" userId="e2881573-dfd6-412f-8520-9ae0fd13c7bc" providerId="ADAL" clId="{2D1E8199-EDFB-46A8-8688-13F02204B400}" dt="2025-11-18T03:15:19.438" v="3223"/>
          <ac:graphicFrameMkLst>
            <pc:docMk/>
            <pc:sldMk cId="2658180832" sldId="260"/>
            <ac:graphicFrameMk id="4" creationId="{5FD16B4E-B41E-77F5-CD7C-7A9A89475552}"/>
          </ac:graphicFrameMkLst>
        </pc:graphicFrameChg>
      </pc:sldChg>
      <pc:sldChg chg="addSp delSp modSp mod">
        <pc:chgData name="Erica Jackey" userId="e2881573-dfd6-412f-8520-9ae0fd13c7bc" providerId="ADAL" clId="{2D1E8199-EDFB-46A8-8688-13F02204B400}" dt="2025-11-18T06:10:34.085" v="5192" actId="207"/>
        <pc:sldMkLst>
          <pc:docMk/>
          <pc:sldMk cId="4048407524" sldId="262"/>
        </pc:sldMkLst>
        <pc:spChg chg="mod">
          <ac:chgData name="Erica Jackey" userId="e2881573-dfd6-412f-8520-9ae0fd13c7bc" providerId="ADAL" clId="{2D1E8199-EDFB-46A8-8688-13F02204B400}" dt="2025-11-04T02:13:52.921" v="3043" actId="948"/>
          <ac:spMkLst>
            <pc:docMk/>
            <pc:sldMk cId="4048407524" sldId="262"/>
            <ac:spMk id="15" creationId="{1347CFBF-9F67-D539-72D3-771D19D4E47B}"/>
          </ac:spMkLst>
        </pc:spChg>
        <pc:spChg chg="mod">
          <ac:chgData name="Erica Jackey" userId="e2881573-dfd6-412f-8520-9ae0fd13c7bc" providerId="ADAL" clId="{2D1E8199-EDFB-46A8-8688-13F02204B400}" dt="2025-11-18T06:08:08.392" v="5126" actId="14100"/>
          <ac:spMkLst>
            <pc:docMk/>
            <pc:sldMk cId="4048407524" sldId="262"/>
            <ac:spMk id="16" creationId="{E7132F3F-62D0-2167-0CF2-68E205B11733}"/>
          </ac:spMkLst>
        </pc:spChg>
        <pc:spChg chg="mod">
          <ac:chgData name="Erica Jackey" userId="e2881573-dfd6-412f-8520-9ae0fd13c7bc" providerId="ADAL" clId="{2D1E8199-EDFB-46A8-8688-13F02204B400}" dt="2025-11-18T06:10:34.085" v="5192" actId="207"/>
          <ac:spMkLst>
            <pc:docMk/>
            <pc:sldMk cId="4048407524" sldId="262"/>
            <ac:spMk id="29" creationId="{B5D19C05-5DF8-DDF1-33FA-492C70065BD1}"/>
          </ac:spMkLst>
        </pc:spChg>
        <pc:spChg chg="add mod">
          <ac:chgData name="Erica Jackey" userId="e2881573-dfd6-412f-8520-9ae0fd13c7bc" providerId="ADAL" clId="{2D1E8199-EDFB-46A8-8688-13F02204B400}" dt="2025-11-04T02:07:33.659" v="2399"/>
          <ac:spMkLst>
            <pc:docMk/>
            <pc:sldMk cId="4048407524" sldId="262"/>
            <ac:spMk id="40" creationId="{05BE8BD6-D317-D883-A363-8E532B317C7E}"/>
          </ac:spMkLst>
        </pc:spChg>
        <pc:spChg chg="add mod">
          <ac:chgData name="Erica Jackey" userId="e2881573-dfd6-412f-8520-9ae0fd13c7bc" providerId="ADAL" clId="{2D1E8199-EDFB-46A8-8688-13F02204B400}" dt="2025-11-04T02:08:56.844" v="2437" actId="207"/>
          <ac:spMkLst>
            <pc:docMk/>
            <pc:sldMk cId="4048407524" sldId="262"/>
            <ac:spMk id="51" creationId="{4469DE32-02C5-BEA2-9BAC-31343DBCAD71}"/>
          </ac:spMkLst>
        </pc:spChg>
        <pc:graphicFrameChg chg="mod">
          <ac:chgData name="Erica Jackey" userId="e2881573-dfd6-412f-8520-9ae0fd13c7bc" providerId="ADAL" clId="{2D1E8199-EDFB-46A8-8688-13F02204B400}" dt="2025-11-04T02:13:52.941" v="3073"/>
          <ac:graphicFrameMkLst>
            <pc:docMk/>
            <pc:sldMk cId="4048407524" sldId="262"/>
            <ac:graphicFrameMk id="5" creationId="{04516BF7-1FC0-0FB4-29D7-4BFEC05226CC}"/>
          </ac:graphicFrameMkLst>
        </pc:graphicFrameChg>
        <pc:picChg chg="mod">
          <ac:chgData name="Erica Jackey" userId="e2881573-dfd6-412f-8520-9ae0fd13c7bc" providerId="ADAL" clId="{2D1E8199-EDFB-46A8-8688-13F02204B400}" dt="2025-11-18T05:39:51.790" v="4640" actId="14100"/>
          <ac:picMkLst>
            <pc:docMk/>
            <pc:sldMk cId="4048407524" sldId="262"/>
            <ac:picMk id="7" creationId="{CBC563BF-93D4-5E60-6511-36F4B309381C}"/>
          </ac:picMkLst>
        </pc:picChg>
        <pc:picChg chg="mod">
          <ac:chgData name="Erica Jackey" userId="e2881573-dfd6-412f-8520-9ae0fd13c7bc" providerId="ADAL" clId="{2D1E8199-EDFB-46A8-8688-13F02204B400}" dt="2025-11-18T05:40:23.828" v="4645" actId="14100"/>
          <ac:picMkLst>
            <pc:docMk/>
            <pc:sldMk cId="4048407524" sldId="262"/>
            <ac:picMk id="10" creationId="{F0595D7A-8EBF-60F8-6629-F6F9B5169FD1}"/>
          </ac:picMkLst>
        </pc:picChg>
        <pc:picChg chg="mod">
          <ac:chgData name="Erica Jackey" userId="e2881573-dfd6-412f-8520-9ae0fd13c7bc" providerId="ADAL" clId="{2D1E8199-EDFB-46A8-8688-13F02204B400}" dt="2025-11-18T05:39:34.243" v="4637" actId="552"/>
          <ac:picMkLst>
            <pc:docMk/>
            <pc:sldMk cId="4048407524" sldId="262"/>
            <ac:picMk id="24" creationId="{ABB07BB5-0AF4-5399-9A62-1524F85A41D4}"/>
          </ac:picMkLst>
        </pc:picChg>
        <pc:picChg chg="mod">
          <ac:chgData name="Erica Jackey" userId="e2881573-dfd6-412f-8520-9ae0fd13c7bc" providerId="ADAL" clId="{2D1E8199-EDFB-46A8-8688-13F02204B400}" dt="2025-11-18T05:40:36.276" v="4649" actId="14100"/>
          <ac:picMkLst>
            <pc:docMk/>
            <pc:sldMk cId="4048407524" sldId="262"/>
            <ac:picMk id="39" creationId="{25CC2353-14AA-9AE7-DC91-1205EF5A3761}"/>
          </ac:picMkLst>
        </pc:picChg>
        <pc:picChg chg="mod">
          <ac:chgData name="Erica Jackey" userId="e2881573-dfd6-412f-8520-9ae0fd13c7bc" providerId="ADAL" clId="{2D1E8199-EDFB-46A8-8688-13F02204B400}" dt="2025-11-18T05:40:14.529" v="4643" actId="14100"/>
          <ac:picMkLst>
            <pc:docMk/>
            <pc:sldMk cId="4048407524" sldId="262"/>
            <ac:picMk id="41" creationId="{051388CB-A5E9-9799-22D3-AE9B697C6616}"/>
          </ac:picMkLst>
        </pc:picChg>
        <pc:picChg chg="mod">
          <ac:chgData name="Erica Jackey" userId="e2881573-dfd6-412f-8520-9ae0fd13c7bc" providerId="ADAL" clId="{2D1E8199-EDFB-46A8-8688-13F02204B400}" dt="2025-11-18T05:40:46.032" v="4652" actId="14100"/>
          <ac:picMkLst>
            <pc:docMk/>
            <pc:sldMk cId="4048407524" sldId="262"/>
            <ac:picMk id="75" creationId="{ECB1606B-4B3F-4AB7-FAB7-348955324ED1}"/>
          </ac:picMkLst>
        </pc:picChg>
      </pc:sldChg>
      <pc:sldChg chg="modSp mod">
        <pc:chgData name="Erica Jackey" userId="e2881573-dfd6-412f-8520-9ae0fd13c7bc" providerId="ADAL" clId="{2D1E8199-EDFB-46A8-8688-13F02204B400}" dt="2025-11-18T05:29:52.224" v="4453" actId="20577"/>
        <pc:sldMkLst>
          <pc:docMk/>
          <pc:sldMk cId="81818275" sldId="268"/>
        </pc:sldMkLst>
        <pc:spChg chg="mod">
          <ac:chgData name="Erica Jackey" userId="e2881573-dfd6-412f-8520-9ae0fd13c7bc" providerId="ADAL" clId="{2D1E8199-EDFB-46A8-8688-13F02204B400}" dt="2025-11-18T05:29:52.224" v="4453" actId="20577"/>
          <ac:spMkLst>
            <pc:docMk/>
            <pc:sldMk cId="81818275" sldId="268"/>
            <ac:spMk id="55" creationId="{A0FE2F62-65EB-9EF6-9EE7-0FC80B810E79}"/>
          </ac:spMkLst>
        </pc:spChg>
        <pc:spChg chg="mod">
          <ac:chgData name="Erica Jackey" userId="e2881573-dfd6-412f-8520-9ae0fd13c7bc" providerId="ADAL" clId="{2D1E8199-EDFB-46A8-8688-13F02204B400}" dt="2025-11-18T05:16:13.590" v="4199" actId="20577"/>
          <ac:spMkLst>
            <pc:docMk/>
            <pc:sldMk cId="81818275" sldId="268"/>
            <ac:spMk id="72" creationId="{25599E97-2E0F-24E2-AA08-EF5F1B5C64EE}"/>
          </ac:spMkLst>
        </pc:spChg>
        <pc:spChg chg="mod">
          <ac:chgData name="Erica Jackey" userId="e2881573-dfd6-412f-8520-9ae0fd13c7bc" providerId="ADAL" clId="{2D1E8199-EDFB-46A8-8688-13F02204B400}" dt="2025-11-18T05:15:40.871" v="4196" actId="1038"/>
          <ac:spMkLst>
            <pc:docMk/>
            <pc:sldMk cId="81818275" sldId="268"/>
            <ac:spMk id="139" creationId="{8BE84C39-B2B7-CB89-8160-BA1EC008D600}"/>
          </ac:spMkLst>
        </pc:spChg>
        <pc:picChg chg="mod">
          <ac:chgData name="Erica Jackey" userId="e2881573-dfd6-412f-8520-9ae0fd13c7bc" providerId="ADAL" clId="{2D1E8199-EDFB-46A8-8688-13F02204B400}" dt="2025-11-18T05:15:57.384" v="4197" actId="1036"/>
          <ac:picMkLst>
            <pc:docMk/>
            <pc:sldMk cId="81818275" sldId="268"/>
            <ac:picMk id="14" creationId="{45D0611C-6FEF-E956-884E-4A430CD0BA12}"/>
          </ac:picMkLst>
        </pc:picChg>
      </pc:sldChg>
      <pc:sldChg chg="addSp delSp modSp mod">
        <pc:chgData name="Erica Jackey" userId="e2881573-dfd6-412f-8520-9ae0fd13c7bc" providerId="ADAL" clId="{2D1E8199-EDFB-46A8-8688-13F02204B400}" dt="2025-11-18T05:45:15.677" v="4750" actId="20577"/>
        <pc:sldMkLst>
          <pc:docMk/>
          <pc:sldMk cId="4202295933" sldId="275"/>
        </pc:sldMkLst>
        <pc:spChg chg="add mod">
          <ac:chgData name="Erica Jackey" userId="e2881573-dfd6-412f-8520-9ae0fd13c7bc" providerId="ADAL" clId="{2D1E8199-EDFB-46A8-8688-13F02204B400}" dt="2025-11-04T02:08:28.894" v="2430" actId="207"/>
          <ac:spMkLst>
            <pc:docMk/>
            <pc:sldMk cId="4202295933" sldId="275"/>
            <ac:spMk id="6" creationId="{00085DAF-15A8-85DB-54FC-131D863C2EEB}"/>
          </ac:spMkLst>
        </pc:spChg>
        <pc:spChg chg="add mod">
          <ac:chgData name="Erica Jackey" userId="e2881573-dfd6-412f-8520-9ae0fd13c7bc" providerId="ADAL" clId="{2D1E8199-EDFB-46A8-8688-13F02204B400}" dt="2025-11-04T02:08:25.402" v="2429" actId="207"/>
          <ac:spMkLst>
            <pc:docMk/>
            <pc:sldMk cId="4202295933" sldId="275"/>
            <ac:spMk id="8" creationId="{FFE8A0E5-B47C-C992-BBDE-ABC209AF7264}"/>
          </ac:spMkLst>
        </pc:spChg>
        <pc:graphicFrameChg chg="modGraphic">
          <ac:chgData name="Erica Jackey" userId="e2881573-dfd6-412f-8520-9ae0fd13c7bc" providerId="ADAL" clId="{2D1E8199-EDFB-46A8-8688-13F02204B400}" dt="2025-11-18T05:45:15.677" v="4750" actId="20577"/>
          <ac:graphicFrameMkLst>
            <pc:docMk/>
            <pc:sldMk cId="4202295933" sldId="275"/>
            <ac:graphicFrameMk id="2" creationId="{63C2599B-DF00-2288-FB84-4E10B6E204EE}"/>
          </ac:graphicFrameMkLst>
        </pc:graphicFrameChg>
      </pc:sldChg>
      <pc:sldChg chg="addSp delSp modSp mod">
        <pc:chgData name="Erica Jackey" userId="e2881573-dfd6-412f-8520-9ae0fd13c7bc" providerId="ADAL" clId="{2D1E8199-EDFB-46A8-8688-13F02204B400}" dt="2025-11-18T05:25:57.277" v="4397" actId="1036"/>
        <pc:sldMkLst>
          <pc:docMk/>
          <pc:sldMk cId="496101714" sldId="280"/>
        </pc:sldMkLst>
        <pc:spChg chg="mod">
          <ac:chgData name="Erica Jackey" userId="e2881573-dfd6-412f-8520-9ae0fd13c7bc" providerId="ADAL" clId="{2D1E8199-EDFB-46A8-8688-13F02204B400}" dt="2025-11-18T05:10:24.365" v="4001" actId="948"/>
          <ac:spMkLst>
            <pc:docMk/>
            <pc:sldMk cId="496101714" sldId="280"/>
            <ac:spMk id="2" creationId="{1BE27EFF-BE24-9588-6102-0AC095BBF5F7}"/>
          </ac:spMkLst>
        </pc:spChg>
        <pc:spChg chg="add del mod modVis">
          <ac:chgData name="Erica Jackey" userId="e2881573-dfd6-412f-8520-9ae0fd13c7bc" providerId="ADAL" clId="{2D1E8199-EDFB-46A8-8688-13F02204B400}" dt="2025-11-18T05:10:24.437" v="4037"/>
          <ac:spMkLst>
            <pc:docMk/>
            <pc:sldMk cId="496101714" sldId="280"/>
            <ac:spMk id="3" creationId="{F4ABCD60-71C9-C1AF-B4F1-982E6378E3DA}"/>
          </ac:spMkLst>
        </pc:spChg>
        <pc:spChg chg="mod">
          <ac:chgData name="Erica Jackey" userId="e2881573-dfd6-412f-8520-9ae0fd13c7bc" providerId="ADAL" clId="{2D1E8199-EDFB-46A8-8688-13F02204B400}" dt="2025-11-18T05:25:48.850" v="4391" actId="1035"/>
          <ac:spMkLst>
            <pc:docMk/>
            <pc:sldMk cId="496101714" sldId="280"/>
            <ac:spMk id="7" creationId="{F0438AC3-0F6D-6762-55C0-D3742F600E5E}"/>
          </ac:spMkLst>
        </pc:spChg>
        <pc:spChg chg="mod">
          <ac:chgData name="Erica Jackey" userId="e2881573-dfd6-412f-8520-9ae0fd13c7bc" providerId="ADAL" clId="{2D1E8199-EDFB-46A8-8688-13F02204B400}" dt="2025-11-18T05:25:54.359" v="4393" actId="1036"/>
          <ac:spMkLst>
            <pc:docMk/>
            <pc:sldMk cId="496101714" sldId="280"/>
            <ac:spMk id="10" creationId="{9E8785E6-B3CA-644E-63B6-F37175184E48}"/>
          </ac:spMkLst>
        </pc:spChg>
        <pc:spChg chg="mod">
          <ac:chgData name="Erica Jackey" userId="e2881573-dfd6-412f-8520-9ae0fd13c7bc" providerId="ADAL" clId="{2D1E8199-EDFB-46A8-8688-13F02204B400}" dt="2025-11-18T05:25:57.277" v="4397" actId="1036"/>
          <ac:spMkLst>
            <pc:docMk/>
            <pc:sldMk cId="496101714" sldId="280"/>
            <ac:spMk id="14" creationId="{CFD5D117-F1B6-4541-3F09-43FF65B02B8E}"/>
          </ac:spMkLst>
        </pc:spChg>
        <pc:graphicFrameChg chg="mod">
          <ac:chgData name="Erica Jackey" userId="e2881573-dfd6-412f-8520-9ae0fd13c7bc" providerId="ADAL" clId="{2D1E8199-EDFB-46A8-8688-13F02204B400}" dt="2025-11-18T05:10:24.438" v="4039"/>
          <ac:graphicFrameMkLst>
            <pc:docMk/>
            <pc:sldMk cId="496101714" sldId="280"/>
            <ac:graphicFrameMk id="4" creationId="{8010CD95-90E1-3567-1579-D68ED13796E8}"/>
          </ac:graphicFrameMkLst>
        </pc:graphicFrameChg>
        <pc:graphicFrameChg chg="mod modGraphic">
          <ac:chgData name="Erica Jackey" userId="e2881573-dfd6-412f-8520-9ae0fd13c7bc" providerId="ADAL" clId="{2D1E8199-EDFB-46A8-8688-13F02204B400}" dt="2025-11-18T05:25:16.633" v="4386" actId="20577"/>
          <ac:graphicFrameMkLst>
            <pc:docMk/>
            <pc:sldMk cId="496101714" sldId="280"/>
            <ac:graphicFrameMk id="6" creationId="{8A5A686A-B7F2-0B76-FB74-632A444D5E1D}"/>
          </ac:graphicFrameMkLst>
        </pc:graphicFrameChg>
        <pc:picChg chg="mod">
          <ac:chgData name="Erica Jackey" userId="e2881573-dfd6-412f-8520-9ae0fd13c7bc" providerId="ADAL" clId="{2D1E8199-EDFB-46A8-8688-13F02204B400}" dt="2025-11-18T05:25:48.850" v="4391" actId="1035"/>
          <ac:picMkLst>
            <pc:docMk/>
            <pc:sldMk cId="496101714" sldId="280"/>
            <ac:picMk id="11" creationId="{D2D8E083-F076-9F85-A81E-D51938C5D1D2}"/>
          </ac:picMkLst>
        </pc:picChg>
        <pc:picChg chg="mod">
          <ac:chgData name="Erica Jackey" userId="e2881573-dfd6-412f-8520-9ae0fd13c7bc" providerId="ADAL" clId="{2D1E8199-EDFB-46A8-8688-13F02204B400}" dt="2025-11-18T05:25:57.277" v="4397" actId="1036"/>
          <ac:picMkLst>
            <pc:docMk/>
            <pc:sldMk cId="496101714" sldId="280"/>
            <ac:picMk id="1026" creationId="{13D2E84A-0C4B-6F17-8D23-829E6914D840}"/>
          </ac:picMkLst>
        </pc:picChg>
        <pc:picChg chg="mod">
          <ac:chgData name="Erica Jackey" userId="e2881573-dfd6-412f-8520-9ae0fd13c7bc" providerId="ADAL" clId="{2D1E8199-EDFB-46A8-8688-13F02204B400}" dt="2025-11-18T05:25:54.359" v="4393" actId="1036"/>
          <ac:picMkLst>
            <pc:docMk/>
            <pc:sldMk cId="496101714" sldId="280"/>
            <ac:picMk id="2052" creationId="{8106D37A-290F-9C7F-51F4-D514D5A42EE5}"/>
          </ac:picMkLst>
        </pc:picChg>
      </pc:sldChg>
      <pc:sldChg chg="addSp delSp modSp mod">
        <pc:chgData name="Erica Jackey" userId="e2881573-dfd6-412f-8520-9ae0fd13c7bc" providerId="ADAL" clId="{2D1E8199-EDFB-46A8-8688-13F02204B400}" dt="2025-11-18T05:43:44.492" v="4726" actId="207"/>
        <pc:sldMkLst>
          <pc:docMk/>
          <pc:sldMk cId="2790901847" sldId="284"/>
        </pc:sldMkLst>
        <pc:spChg chg="add mod">
          <ac:chgData name="Erica Jackey" userId="e2881573-dfd6-412f-8520-9ae0fd13c7bc" providerId="ADAL" clId="{2D1E8199-EDFB-46A8-8688-13F02204B400}" dt="2025-11-04T02:08:54.020" v="2436" actId="207"/>
          <ac:spMkLst>
            <pc:docMk/>
            <pc:sldMk cId="2790901847" sldId="284"/>
            <ac:spMk id="8" creationId="{876571AA-A873-AFD6-1C1F-E1B457FA8783}"/>
          </ac:spMkLst>
        </pc:spChg>
        <pc:spChg chg="mod">
          <ac:chgData name="Erica Jackey" userId="e2881573-dfd6-412f-8520-9ae0fd13c7bc" providerId="ADAL" clId="{2D1E8199-EDFB-46A8-8688-13F02204B400}" dt="2025-11-04T02:10:20.859" v="2562" actId="948"/>
          <ac:spMkLst>
            <pc:docMk/>
            <pc:sldMk cId="2790901847" sldId="284"/>
            <ac:spMk id="9" creationId="{65988164-6719-D3DE-8AFB-02722C068D6F}"/>
          </ac:spMkLst>
        </pc:spChg>
        <pc:spChg chg="mod">
          <ac:chgData name="Erica Jackey" userId="e2881573-dfd6-412f-8520-9ae0fd13c7bc" providerId="ADAL" clId="{2D1E8199-EDFB-46A8-8688-13F02204B400}" dt="2025-11-18T05:38:50.242" v="4635" actId="12788"/>
          <ac:spMkLst>
            <pc:docMk/>
            <pc:sldMk cId="2790901847" sldId="284"/>
            <ac:spMk id="10" creationId="{5F95100F-FF6E-CB8C-D6F9-9A9E4963C5E6}"/>
          </ac:spMkLst>
        </pc:spChg>
        <pc:spChg chg="mod">
          <ac:chgData name="Erica Jackey" userId="e2881573-dfd6-412f-8520-9ae0fd13c7bc" providerId="ADAL" clId="{2D1E8199-EDFB-46A8-8688-13F02204B400}" dt="2025-11-18T05:38:50.242" v="4635" actId="12788"/>
          <ac:spMkLst>
            <pc:docMk/>
            <pc:sldMk cId="2790901847" sldId="284"/>
            <ac:spMk id="11" creationId="{AEA707B4-E57D-58D5-7341-984E41349CDB}"/>
          </ac:spMkLst>
        </pc:spChg>
        <pc:spChg chg="mod">
          <ac:chgData name="Erica Jackey" userId="e2881573-dfd6-412f-8520-9ae0fd13c7bc" providerId="ADAL" clId="{2D1E8199-EDFB-46A8-8688-13F02204B400}" dt="2025-11-18T05:38:50.242" v="4635" actId="12788"/>
          <ac:spMkLst>
            <pc:docMk/>
            <pc:sldMk cId="2790901847" sldId="284"/>
            <ac:spMk id="12" creationId="{2A4C9244-F798-48E2-5F6E-E9EA26D0C747}"/>
          </ac:spMkLst>
        </pc:spChg>
        <pc:spChg chg="add mod">
          <ac:chgData name="Erica Jackey" userId="e2881573-dfd6-412f-8520-9ae0fd13c7bc" providerId="ADAL" clId="{2D1E8199-EDFB-46A8-8688-13F02204B400}" dt="2025-11-04T02:07:32.583" v="2398"/>
          <ac:spMkLst>
            <pc:docMk/>
            <pc:sldMk cId="2790901847" sldId="284"/>
            <ac:spMk id="13" creationId="{4F242808-9011-19F3-EA46-473E1FF5AF6A}"/>
          </ac:spMkLst>
        </pc:spChg>
        <pc:spChg chg="mod">
          <ac:chgData name="Erica Jackey" userId="e2881573-dfd6-412f-8520-9ae0fd13c7bc" providerId="ADAL" clId="{2D1E8199-EDFB-46A8-8688-13F02204B400}" dt="2025-11-18T05:38:50.242" v="4635" actId="12788"/>
          <ac:spMkLst>
            <pc:docMk/>
            <pc:sldMk cId="2790901847" sldId="284"/>
            <ac:spMk id="14" creationId="{73E9482A-47A7-19D8-57C9-43C298248C71}"/>
          </ac:spMkLst>
        </pc:spChg>
        <pc:spChg chg="mod">
          <ac:chgData name="Erica Jackey" userId="e2881573-dfd6-412f-8520-9ae0fd13c7bc" providerId="ADAL" clId="{2D1E8199-EDFB-46A8-8688-13F02204B400}" dt="2025-11-18T05:38:50.242" v="4635" actId="12788"/>
          <ac:spMkLst>
            <pc:docMk/>
            <pc:sldMk cId="2790901847" sldId="284"/>
            <ac:spMk id="17" creationId="{B1014E3E-A30A-3AEB-4774-B6B566934B43}"/>
          </ac:spMkLst>
        </pc:spChg>
        <pc:spChg chg="mod">
          <ac:chgData name="Erica Jackey" userId="e2881573-dfd6-412f-8520-9ae0fd13c7bc" providerId="ADAL" clId="{2D1E8199-EDFB-46A8-8688-13F02204B400}" dt="2025-11-18T05:38:50.242" v="4635" actId="12788"/>
          <ac:spMkLst>
            <pc:docMk/>
            <pc:sldMk cId="2790901847" sldId="284"/>
            <ac:spMk id="24" creationId="{BA389AA0-335A-B486-2FA8-AA9F470674B9}"/>
          </ac:spMkLst>
        </pc:spChg>
        <pc:spChg chg="mod">
          <ac:chgData name="Erica Jackey" userId="e2881573-dfd6-412f-8520-9ae0fd13c7bc" providerId="ADAL" clId="{2D1E8199-EDFB-46A8-8688-13F02204B400}" dt="2025-11-18T05:38:50.242" v="4635" actId="12788"/>
          <ac:spMkLst>
            <pc:docMk/>
            <pc:sldMk cId="2790901847" sldId="284"/>
            <ac:spMk id="30" creationId="{6F6EA106-9396-72E9-0599-CAAC3B42AAA1}"/>
          </ac:spMkLst>
        </pc:spChg>
        <pc:spChg chg="mod">
          <ac:chgData name="Erica Jackey" userId="e2881573-dfd6-412f-8520-9ae0fd13c7bc" providerId="ADAL" clId="{2D1E8199-EDFB-46A8-8688-13F02204B400}" dt="2025-11-18T05:38:50.242" v="4635" actId="12788"/>
          <ac:spMkLst>
            <pc:docMk/>
            <pc:sldMk cId="2790901847" sldId="284"/>
            <ac:spMk id="36" creationId="{43CC8E0F-B566-57A9-B248-82087A3ABED4}"/>
          </ac:spMkLst>
        </pc:spChg>
        <pc:graphicFrameChg chg="mod">
          <ac:chgData name="Erica Jackey" userId="e2881573-dfd6-412f-8520-9ae0fd13c7bc" providerId="ADAL" clId="{2D1E8199-EDFB-46A8-8688-13F02204B400}" dt="2025-11-04T02:10:20.873" v="2586"/>
          <ac:graphicFrameMkLst>
            <pc:docMk/>
            <pc:sldMk cId="2790901847" sldId="284"/>
            <ac:graphicFrameMk id="5" creationId="{76CF7C0F-2C31-4BA9-78EB-764B613DA20E}"/>
          </ac:graphicFrameMkLst>
        </pc:graphicFrameChg>
        <pc:graphicFrameChg chg="mod modGraphic">
          <ac:chgData name="Erica Jackey" userId="e2881573-dfd6-412f-8520-9ae0fd13c7bc" providerId="ADAL" clId="{2D1E8199-EDFB-46A8-8688-13F02204B400}" dt="2025-11-18T05:43:44.492" v="4726" actId="207"/>
          <ac:graphicFrameMkLst>
            <pc:docMk/>
            <pc:sldMk cId="2790901847" sldId="284"/>
            <ac:graphicFrameMk id="7" creationId="{76F958B8-A454-C6B0-7F3E-6D150183424E}"/>
          </ac:graphicFrameMkLst>
        </pc:graphicFrameChg>
      </pc:sldChg>
      <pc:sldChg chg="addSp delSp modSp mod ord">
        <pc:chgData name="Erica Jackey" userId="e2881573-dfd6-412f-8520-9ae0fd13c7bc" providerId="ADAL" clId="{2D1E8199-EDFB-46A8-8688-13F02204B400}" dt="2025-11-18T05:09:24.029" v="3999" actId="113"/>
        <pc:sldMkLst>
          <pc:docMk/>
          <pc:sldMk cId="3337461125" sldId="288"/>
        </pc:sldMkLst>
        <pc:spChg chg="mod">
          <ac:chgData name="Erica Jackey" userId="e2881573-dfd6-412f-8520-9ae0fd13c7bc" providerId="ADAL" clId="{2D1E8199-EDFB-46A8-8688-13F02204B400}" dt="2025-11-04T01:46:19.454" v="2114" actId="948"/>
          <ac:spMkLst>
            <pc:docMk/>
            <pc:sldMk cId="3337461125" sldId="288"/>
            <ac:spMk id="2" creationId="{50FBC3D9-AACE-4C83-10FC-9209FE8DB91B}"/>
          </ac:spMkLst>
        </pc:spChg>
        <pc:graphicFrameChg chg="mod">
          <ac:chgData name="Erica Jackey" userId="e2881573-dfd6-412f-8520-9ae0fd13c7bc" providerId="ADAL" clId="{2D1E8199-EDFB-46A8-8688-13F02204B400}" dt="2025-11-04T01:46:19.469" v="2138"/>
          <ac:graphicFrameMkLst>
            <pc:docMk/>
            <pc:sldMk cId="3337461125" sldId="288"/>
            <ac:graphicFrameMk id="4" creationId="{3B39591B-FF1D-8A0E-6AB1-8F6C001A7C59}"/>
          </ac:graphicFrameMkLst>
        </pc:graphicFrameChg>
        <pc:graphicFrameChg chg="modGraphic">
          <ac:chgData name="Erica Jackey" userId="e2881573-dfd6-412f-8520-9ae0fd13c7bc" providerId="ADAL" clId="{2D1E8199-EDFB-46A8-8688-13F02204B400}" dt="2025-11-04T02:03:38.497" v="2385" actId="313"/>
          <ac:graphicFrameMkLst>
            <pc:docMk/>
            <pc:sldMk cId="3337461125" sldId="288"/>
            <ac:graphicFrameMk id="68" creationId="{6409467A-D3EB-54DA-B952-780C60808E89}"/>
          </ac:graphicFrameMkLst>
        </pc:graphicFrameChg>
        <pc:graphicFrameChg chg="modGraphic">
          <ac:chgData name="Erica Jackey" userId="e2881573-dfd6-412f-8520-9ae0fd13c7bc" providerId="ADAL" clId="{2D1E8199-EDFB-46A8-8688-13F02204B400}" dt="2025-11-18T05:09:24.029" v="3999" actId="113"/>
          <ac:graphicFrameMkLst>
            <pc:docMk/>
            <pc:sldMk cId="3337461125" sldId="288"/>
            <ac:graphicFrameMk id="106" creationId="{B5AD2EE2-2D40-BCC2-B5F7-F21ECB8583E0}"/>
          </ac:graphicFrameMkLst>
        </pc:graphicFrameChg>
      </pc:sldChg>
      <pc:sldChg chg="addSp delSp modSp mod">
        <pc:chgData name="Erica Jackey" userId="e2881573-dfd6-412f-8520-9ae0fd13c7bc" providerId="ADAL" clId="{2D1E8199-EDFB-46A8-8688-13F02204B400}" dt="2025-11-18T05:30:19.757" v="4456" actId="20577"/>
        <pc:sldMkLst>
          <pc:docMk/>
          <pc:sldMk cId="3188533845" sldId="295"/>
        </pc:sldMkLst>
        <pc:spChg chg="mod">
          <ac:chgData name="Erica Jackey" userId="e2881573-dfd6-412f-8520-9ae0fd13c7bc" providerId="ADAL" clId="{2D1E8199-EDFB-46A8-8688-13F02204B400}" dt="2025-11-04T02:13:01.893" v="2981" actId="948"/>
          <ac:spMkLst>
            <pc:docMk/>
            <pc:sldMk cId="3188533845" sldId="295"/>
            <ac:spMk id="3" creationId="{935A2434-2F0B-438A-B981-EBD11211B747}"/>
          </ac:spMkLst>
        </pc:spChg>
        <pc:spChg chg="mod">
          <ac:chgData name="Erica Jackey" userId="e2881573-dfd6-412f-8520-9ae0fd13c7bc" providerId="ADAL" clId="{2D1E8199-EDFB-46A8-8688-13F02204B400}" dt="2025-11-18T05:30:19.757" v="4456" actId="20577"/>
          <ac:spMkLst>
            <pc:docMk/>
            <pc:sldMk cId="3188533845" sldId="295"/>
            <ac:spMk id="5" creationId="{1BF45389-4630-0358-487C-C10896DA41EC}"/>
          </ac:spMkLst>
        </pc:spChg>
        <pc:spChg chg="mod">
          <ac:chgData name="Erica Jackey" userId="e2881573-dfd6-412f-8520-9ae0fd13c7bc" providerId="ADAL" clId="{2D1E8199-EDFB-46A8-8688-13F02204B400}" dt="2025-11-18T05:30:12.626" v="4454" actId="20577"/>
          <ac:spMkLst>
            <pc:docMk/>
            <pc:sldMk cId="3188533845" sldId="295"/>
            <ac:spMk id="7" creationId="{DEAF664A-CE04-977E-613A-4299BD3B80DC}"/>
          </ac:spMkLst>
        </pc:spChg>
        <pc:spChg chg="mod">
          <ac:chgData name="Erica Jackey" userId="e2881573-dfd6-412f-8520-9ae0fd13c7bc" providerId="ADAL" clId="{2D1E8199-EDFB-46A8-8688-13F02204B400}" dt="2025-11-18T05:10:41.887" v="4042" actId="2"/>
          <ac:spMkLst>
            <pc:docMk/>
            <pc:sldMk cId="3188533845" sldId="295"/>
            <ac:spMk id="12" creationId="{2101C2FE-74C6-C6A7-00E1-DB180E253D29}"/>
          </ac:spMkLst>
        </pc:spChg>
        <pc:graphicFrameChg chg="modGraphic">
          <ac:chgData name="Erica Jackey" userId="e2881573-dfd6-412f-8520-9ae0fd13c7bc" providerId="ADAL" clId="{2D1E8199-EDFB-46A8-8688-13F02204B400}" dt="2025-11-18T05:27:24.931" v="4440" actId="20577"/>
          <ac:graphicFrameMkLst>
            <pc:docMk/>
            <pc:sldMk cId="3188533845" sldId="295"/>
            <ac:graphicFrameMk id="9" creationId="{FFE5406E-FCE2-FD23-BEC7-AF48E84A19D5}"/>
          </ac:graphicFrameMkLst>
        </pc:graphicFrameChg>
        <pc:graphicFrameChg chg="mod">
          <ac:chgData name="Erica Jackey" userId="e2881573-dfd6-412f-8520-9ae0fd13c7bc" providerId="ADAL" clId="{2D1E8199-EDFB-46A8-8688-13F02204B400}" dt="2025-11-04T02:13:02.425" v="3007"/>
          <ac:graphicFrameMkLst>
            <pc:docMk/>
            <pc:sldMk cId="3188533845" sldId="295"/>
            <ac:graphicFrameMk id="10" creationId="{5B9B1739-488E-B607-6EB9-326E2089FE7D}"/>
          </ac:graphicFrameMkLst>
        </pc:graphicFrameChg>
      </pc:sldChg>
      <pc:sldChg chg="addSp delSp modSp add mod">
        <pc:chgData name="Erica Jackey" userId="e2881573-dfd6-412f-8520-9ae0fd13c7bc" providerId="ADAL" clId="{2D1E8199-EDFB-46A8-8688-13F02204B400}" dt="2025-11-18T05:17:14.373" v="4227"/>
        <pc:sldMkLst>
          <pc:docMk/>
          <pc:sldMk cId="2715981637" sldId="306"/>
        </pc:sldMkLst>
        <pc:spChg chg="mod">
          <ac:chgData name="Erica Jackey" userId="e2881573-dfd6-412f-8520-9ae0fd13c7bc" providerId="ADAL" clId="{2D1E8199-EDFB-46A8-8688-13F02204B400}" dt="2025-11-04T01:13:51.792" v="522" actId="207"/>
          <ac:spMkLst>
            <pc:docMk/>
            <pc:sldMk cId="2715981637" sldId="306"/>
            <ac:spMk id="3" creationId="{ED73FBB8-EA66-AAF5-892C-DEE1D4D80369}"/>
          </ac:spMkLst>
        </pc:spChg>
        <pc:spChg chg="add del mod modVis">
          <ac:chgData name="Erica Jackey" userId="e2881573-dfd6-412f-8520-9ae0fd13c7bc" providerId="ADAL" clId="{2D1E8199-EDFB-46A8-8688-13F02204B400}" dt="2025-11-18T05:17:14.373" v="4225"/>
          <ac:spMkLst>
            <pc:docMk/>
            <pc:sldMk cId="2715981637" sldId="306"/>
            <ac:spMk id="5" creationId="{604CF420-9ACC-62A6-E8F8-02372836E15F}"/>
          </ac:spMkLst>
        </pc:spChg>
        <pc:spChg chg="add mod ord">
          <ac:chgData name="Erica Jackey" userId="e2881573-dfd6-412f-8520-9ae0fd13c7bc" providerId="ADAL" clId="{2D1E8199-EDFB-46A8-8688-13F02204B400}" dt="2025-11-04T01:10:47.975" v="484"/>
          <ac:spMkLst>
            <pc:docMk/>
            <pc:sldMk cId="2715981637" sldId="306"/>
            <ac:spMk id="9" creationId="{67386763-2E83-7F35-6FBD-1B114206D2A6}"/>
          </ac:spMkLst>
        </pc:spChg>
        <pc:spChg chg="mod ord">
          <ac:chgData name="Erica Jackey" userId="e2881573-dfd6-412f-8520-9ae0fd13c7bc" providerId="ADAL" clId="{2D1E8199-EDFB-46A8-8688-13F02204B400}" dt="2025-11-18T05:17:14.325" v="4203" actId="948"/>
          <ac:spMkLst>
            <pc:docMk/>
            <pc:sldMk cId="2715981637" sldId="306"/>
            <ac:spMk id="10" creationId="{3A68CD65-D381-5781-D526-CA8CE82EF08B}"/>
          </ac:spMkLst>
        </pc:spChg>
        <pc:spChg chg="add mod ord">
          <ac:chgData name="Erica Jackey" userId="e2881573-dfd6-412f-8520-9ae0fd13c7bc" providerId="ADAL" clId="{2D1E8199-EDFB-46A8-8688-13F02204B400}" dt="2025-11-04T01:10:47.976" v="486"/>
          <ac:spMkLst>
            <pc:docMk/>
            <pc:sldMk cId="2715981637" sldId="306"/>
            <ac:spMk id="12" creationId="{3E7420C7-2146-C448-890A-DE9DD231C8E1}"/>
          </ac:spMkLst>
        </pc:spChg>
        <pc:spChg chg="add mod ord">
          <ac:chgData name="Erica Jackey" userId="e2881573-dfd6-412f-8520-9ae0fd13c7bc" providerId="ADAL" clId="{2D1E8199-EDFB-46A8-8688-13F02204B400}" dt="2025-11-18T03:15:45.351" v="3224" actId="1076"/>
          <ac:spMkLst>
            <pc:docMk/>
            <pc:sldMk cId="2715981637" sldId="306"/>
            <ac:spMk id="13" creationId="{038816FD-3BFC-8FF8-8213-7797EB74EDC7}"/>
          </ac:spMkLst>
        </pc:spChg>
        <pc:spChg chg="mod">
          <ac:chgData name="Erica Jackey" userId="e2881573-dfd6-412f-8520-9ae0fd13c7bc" providerId="ADAL" clId="{2D1E8199-EDFB-46A8-8688-13F02204B400}" dt="2025-11-04T01:13:45.720" v="520" actId="207"/>
          <ac:spMkLst>
            <pc:docMk/>
            <pc:sldMk cId="2715981637" sldId="306"/>
            <ac:spMk id="15" creationId="{4BD28B03-E66E-50F9-1F75-054F0E3705BD}"/>
          </ac:spMkLst>
        </pc:spChg>
        <pc:grpChg chg="mod ord">
          <ac:chgData name="Erica Jackey" userId="e2881573-dfd6-412f-8520-9ae0fd13c7bc" providerId="ADAL" clId="{2D1E8199-EDFB-46A8-8688-13F02204B400}" dt="2025-11-18T03:15:45.351" v="3224" actId="1076"/>
          <ac:grpSpMkLst>
            <pc:docMk/>
            <pc:sldMk cId="2715981637" sldId="306"/>
            <ac:grpSpMk id="2" creationId="{77DA9047-73D0-2CF7-F655-DBF5793193EC}"/>
          </ac:grpSpMkLst>
        </pc:grpChg>
        <pc:grpChg chg="mod ord">
          <ac:chgData name="Erica Jackey" userId="e2881573-dfd6-412f-8520-9ae0fd13c7bc" providerId="ADAL" clId="{2D1E8199-EDFB-46A8-8688-13F02204B400}" dt="2025-11-18T03:15:45.351" v="3224" actId="1076"/>
          <ac:grpSpMkLst>
            <pc:docMk/>
            <pc:sldMk cId="2715981637" sldId="306"/>
            <ac:grpSpMk id="6" creationId="{9483D8E0-CFA0-8C3F-B736-5006B20B7FB4}"/>
          </ac:grpSpMkLst>
        </pc:grpChg>
        <pc:grpChg chg="mod ord">
          <ac:chgData name="Erica Jackey" userId="e2881573-dfd6-412f-8520-9ae0fd13c7bc" providerId="ADAL" clId="{2D1E8199-EDFB-46A8-8688-13F02204B400}" dt="2025-11-18T03:15:45.351" v="3224" actId="1076"/>
          <ac:grpSpMkLst>
            <pc:docMk/>
            <pc:sldMk cId="2715981637" sldId="306"/>
            <ac:grpSpMk id="14" creationId="{EB823DC8-7A91-3DB2-9A63-6812DCFA14F0}"/>
          </ac:grpSpMkLst>
        </pc:grpChg>
        <pc:graphicFrameChg chg="mod">
          <ac:chgData name="Erica Jackey" userId="e2881573-dfd6-412f-8520-9ae0fd13c7bc" providerId="ADAL" clId="{2D1E8199-EDFB-46A8-8688-13F02204B400}" dt="2025-11-18T05:17:14.373" v="4227"/>
          <ac:graphicFrameMkLst>
            <pc:docMk/>
            <pc:sldMk cId="2715981637" sldId="306"/>
            <ac:graphicFrameMk id="11" creationId="{51825BCA-D634-4799-018B-20488158194A}"/>
          </ac:graphicFrameMkLst>
        </pc:graphicFrameChg>
        <pc:graphicFrameChg chg="mod ord modGraphic">
          <ac:chgData name="Erica Jackey" userId="e2881573-dfd6-412f-8520-9ae0fd13c7bc" providerId="ADAL" clId="{2D1E8199-EDFB-46A8-8688-13F02204B400}" dt="2025-11-18T03:22:07.857" v="3327" actId="113"/>
          <ac:graphicFrameMkLst>
            <pc:docMk/>
            <pc:sldMk cId="2715981637" sldId="306"/>
            <ac:graphicFrameMk id="96" creationId="{1F4ECCC1-4B7D-5FED-5F1D-0B548B303153}"/>
          </ac:graphicFrameMkLst>
        </pc:graphicFrameChg>
        <pc:picChg chg="add mod ord">
          <ac:chgData name="Erica Jackey" userId="e2881573-dfd6-412f-8520-9ae0fd13c7bc" providerId="ADAL" clId="{2D1E8199-EDFB-46A8-8688-13F02204B400}" dt="2025-11-18T03:15:45.351" v="3224" actId="1076"/>
          <ac:picMkLst>
            <pc:docMk/>
            <pc:sldMk cId="2715981637" sldId="306"/>
            <ac:picMk id="22" creationId="{34CF6D9A-134C-E01D-DFCA-041FC8931F89}"/>
          </ac:picMkLst>
        </pc:picChg>
        <pc:picChg chg="add mod ord">
          <ac:chgData name="Erica Jackey" userId="e2881573-dfd6-412f-8520-9ae0fd13c7bc" providerId="ADAL" clId="{2D1E8199-EDFB-46A8-8688-13F02204B400}" dt="2025-11-18T03:15:45.351" v="3224" actId="1076"/>
          <ac:picMkLst>
            <pc:docMk/>
            <pc:sldMk cId="2715981637" sldId="306"/>
            <ac:picMk id="24" creationId="{5EB0CDF2-D020-AB7C-C890-DC308F4B627C}"/>
          </ac:picMkLst>
        </pc:picChg>
        <pc:picChg chg="add mod ord">
          <ac:chgData name="Erica Jackey" userId="e2881573-dfd6-412f-8520-9ae0fd13c7bc" providerId="ADAL" clId="{2D1E8199-EDFB-46A8-8688-13F02204B400}" dt="2025-11-18T03:15:45.351" v="3224" actId="1076"/>
          <ac:picMkLst>
            <pc:docMk/>
            <pc:sldMk cId="2715981637" sldId="306"/>
            <ac:picMk id="26" creationId="{303F71A5-4BDE-A12E-99A4-8D4B91040A72}"/>
          </ac:picMkLst>
        </pc:picChg>
        <pc:picChg chg="add mod ord">
          <ac:chgData name="Erica Jackey" userId="e2881573-dfd6-412f-8520-9ae0fd13c7bc" providerId="ADAL" clId="{2D1E8199-EDFB-46A8-8688-13F02204B400}" dt="2025-11-18T03:15:45.351" v="3224" actId="1076"/>
          <ac:picMkLst>
            <pc:docMk/>
            <pc:sldMk cId="2715981637" sldId="306"/>
            <ac:picMk id="28" creationId="{ED99A3B2-E4C8-DADA-98C0-105E65DFE560}"/>
          </ac:picMkLst>
        </pc:picChg>
        <pc:cxnChg chg="add mod ord">
          <ac:chgData name="Erica Jackey" userId="e2881573-dfd6-412f-8520-9ae0fd13c7bc" providerId="ADAL" clId="{2D1E8199-EDFB-46A8-8688-13F02204B400}" dt="2025-11-18T03:15:45.351" v="3224" actId="1076"/>
          <ac:cxnSpMkLst>
            <pc:docMk/>
            <pc:sldMk cId="2715981637" sldId="306"/>
            <ac:cxnSpMk id="18" creationId="{7FBF319F-678B-96ED-7717-013E4A8B4B7B}"/>
          </ac:cxnSpMkLst>
        </pc:cxnChg>
      </pc:sldChg>
      <pc:sldChg chg="addSp modSp mod">
        <pc:chgData name="Erica Jackey" userId="e2881573-dfd6-412f-8520-9ae0fd13c7bc" providerId="ADAL" clId="{2D1E8199-EDFB-46A8-8688-13F02204B400}" dt="2025-11-18T05:43:26.720" v="4724" actId="207"/>
        <pc:sldMkLst>
          <pc:docMk/>
          <pc:sldMk cId="1440607549" sldId="6395"/>
        </pc:sldMkLst>
        <pc:spChg chg="add mod">
          <ac:chgData name="Erica Jackey" userId="e2881573-dfd6-412f-8520-9ae0fd13c7bc" providerId="ADAL" clId="{2D1E8199-EDFB-46A8-8688-13F02204B400}" dt="2025-11-04T02:07:27.467" v="2397"/>
          <ac:spMkLst>
            <pc:docMk/>
            <pc:sldMk cId="1440607549" sldId="6395"/>
            <ac:spMk id="3" creationId="{E68BE0B4-0E34-AC9B-50FC-45D77DA572B6}"/>
          </ac:spMkLst>
        </pc:spChg>
        <pc:spChg chg="mod">
          <ac:chgData name="Erica Jackey" userId="e2881573-dfd6-412f-8520-9ae0fd13c7bc" providerId="ADAL" clId="{2D1E8199-EDFB-46A8-8688-13F02204B400}" dt="2025-11-04T02:08:50.920" v="2435" actId="207"/>
          <ac:spMkLst>
            <pc:docMk/>
            <pc:sldMk cId="1440607549" sldId="6395"/>
            <ac:spMk id="8" creationId="{998B752E-C1B8-192B-C4E2-B813A5DD1C5A}"/>
          </ac:spMkLst>
        </pc:spChg>
        <pc:graphicFrameChg chg="modGraphic">
          <ac:chgData name="Erica Jackey" userId="e2881573-dfd6-412f-8520-9ae0fd13c7bc" providerId="ADAL" clId="{2D1E8199-EDFB-46A8-8688-13F02204B400}" dt="2025-11-18T05:43:26.720" v="4724" actId="207"/>
          <ac:graphicFrameMkLst>
            <pc:docMk/>
            <pc:sldMk cId="1440607549" sldId="6395"/>
            <ac:graphicFrameMk id="2" creationId="{A5487CCB-2AB1-0B98-9B26-2E7670E562B4}"/>
          </ac:graphicFrameMkLst>
        </pc:graphicFrameChg>
      </pc:sldChg>
      <pc:sldChg chg="modSp mod">
        <pc:chgData name="Erica Jackey" userId="e2881573-dfd6-412f-8520-9ae0fd13c7bc" providerId="ADAL" clId="{2D1E8199-EDFB-46A8-8688-13F02204B400}" dt="2025-11-18T05:14:27.354" v="4186" actId="1035"/>
        <pc:sldMkLst>
          <pc:docMk/>
          <pc:sldMk cId="204826261" sldId="2147478994"/>
        </pc:sldMkLst>
        <pc:spChg chg="mod">
          <ac:chgData name="Erica Jackey" userId="e2881573-dfd6-412f-8520-9ae0fd13c7bc" providerId="ADAL" clId="{2D1E8199-EDFB-46A8-8688-13F02204B400}" dt="2025-11-18T05:12:38.860" v="4137" actId="1035"/>
          <ac:spMkLst>
            <pc:docMk/>
            <pc:sldMk cId="204826261" sldId="2147478994"/>
            <ac:spMk id="12" creationId="{458A72E5-6EC4-460E-7E56-81C7D9FECC03}"/>
          </ac:spMkLst>
        </pc:spChg>
        <pc:spChg chg="mod">
          <ac:chgData name="Erica Jackey" userId="e2881573-dfd6-412f-8520-9ae0fd13c7bc" providerId="ADAL" clId="{2D1E8199-EDFB-46A8-8688-13F02204B400}" dt="2025-11-18T05:14:27.354" v="4186" actId="1035"/>
          <ac:spMkLst>
            <pc:docMk/>
            <pc:sldMk cId="204826261" sldId="2147478994"/>
            <ac:spMk id="13" creationId="{B40E0767-C28B-D082-0010-21AA5976017B}"/>
          </ac:spMkLst>
        </pc:spChg>
        <pc:spChg chg="mod">
          <ac:chgData name="Erica Jackey" userId="e2881573-dfd6-412f-8520-9ae0fd13c7bc" providerId="ADAL" clId="{2D1E8199-EDFB-46A8-8688-13F02204B400}" dt="2025-11-18T05:13:53.904" v="4160" actId="1035"/>
          <ac:spMkLst>
            <pc:docMk/>
            <pc:sldMk cId="204826261" sldId="2147478994"/>
            <ac:spMk id="19" creationId="{A7F5B6A4-454E-D524-57B5-BBD5D0D25EBE}"/>
          </ac:spMkLst>
        </pc:spChg>
        <pc:spChg chg="mod">
          <ac:chgData name="Erica Jackey" userId="e2881573-dfd6-412f-8520-9ae0fd13c7bc" providerId="ADAL" clId="{2D1E8199-EDFB-46A8-8688-13F02204B400}" dt="2025-11-18T05:11:31.933" v="4110" actId="20577"/>
          <ac:spMkLst>
            <pc:docMk/>
            <pc:sldMk cId="204826261" sldId="2147478994"/>
            <ac:spMk id="38" creationId="{78DE099F-392D-B376-9AEE-BB4DC5526A55}"/>
          </ac:spMkLst>
        </pc:spChg>
        <pc:spChg chg="mod">
          <ac:chgData name="Erica Jackey" userId="e2881573-dfd6-412f-8520-9ae0fd13c7bc" providerId="ADAL" clId="{2D1E8199-EDFB-46A8-8688-13F02204B400}" dt="2025-11-18T05:13:26.115" v="4152" actId="1035"/>
          <ac:spMkLst>
            <pc:docMk/>
            <pc:sldMk cId="204826261" sldId="2147478994"/>
            <ac:spMk id="41" creationId="{DB3EED24-B53B-B562-D7B9-CB7956257ABF}"/>
          </ac:spMkLst>
        </pc:spChg>
        <pc:spChg chg="mod">
          <ac:chgData name="Erica Jackey" userId="e2881573-dfd6-412f-8520-9ae0fd13c7bc" providerId="ADAL" clId="{2D1E8199-EDFB-46A8-8688-13F02204B400}" dt="2025-11-18T05:13:26.115" v="4152" actId="1035"/>
          <ac:spMkLst>
            <pc:docMk/>
            <pc:sldMk cId="204826261" sldId="2147478994"/>
            <ac:spMk id="46" creationId="{8E2DAF6D-AF9E-C11C-5BFF-643EEA9FA341}"/>
          </ac:spMkLst>
        </pc:spChg>
        <pc:spChg chg="mod">
          <ac:chgData name="Erica Jackey" userId="e2881573-dfd6-412f-8520-9ae0fd13c7bc" providerId="ADAL" clId="{2D1E8199-EDFB-46A8-8688-13F02204B400}" dt="2025-11-18T05:13:26.115" v="4152" actId="1035"/>
          <ac:spMkLst>
            <pc:docMk/>
            <pc:sldMk cId="204826261" sldId="2147478994"/>
            <ac:spMk id="51" creationId="{B7CAF189-1E59-F1C9-038C-0BDE4AE7CF7D}"/>
          </ac:spMkLst>
        </pc:spChg>
        <pc:spChg chg="mod">
          <ac:chgData name="Erica Jackey" userId="e2881573-dfd6-412f-8520-9ae0fd13c7bc" providerId="ADAL" clId="{2D1E8199-EDFB-46A8-8688-13F02204B400}" dt="2025-11-18T05:12:46.749" v="4141" actId="1035"/>
          <ac:spMkLst>
            <pc:docMk/>
            <pc:sldMk cId="204826261" sldId="2147478994"/>
            <ac:spMk id="60" creationId="{BDC09D4F-1D3C-939D-07E4-B3C405673179}"/>
          </ac:spMkLst>
        </pc:spChg>
        <pc:cxnChg chg="mod">
          <ac:chgData name="Erica Jackey" userId="e2881573-dfd6-412f-8520-9ae0fd13c7bc" providerId="ADAL" clId="{2D1E8199-EDFB-46A8-8688-13F02204B400}" dt="2025-11-18T05:13:57.999" v="4163" actId="1035"/>
          <ac:cxnSpMkLst>
            <pc:docMk/>
            <pc:sldMk cId="204826261" sldId="2147478994"/>
            <ac:cxnSpMk id="17" creationId="{8EDDA491-44D0-8E93-22DC-3D7F78FE10C0}"/>
          </ac:cxnSpMkLst>
        </pc:cxnChg>
      </pc:sldChg>
      <pc:sldChg chg="addSp delSp modSp mod">
        <pc:chgData name="Erica Jackey" userId="e2881573-dfd6-412f-8520-9ae0fd13c7bc" providerId="ADAL" clId="{2D1E8199-EDFB-46A8-8688-13F02204B400}" dt="2025-11-18T06:12:00.763" v="5197" actId="555"/>
        <pc:sldMkLst>
          <pc:docMk/>
          <pc:sldMk cId="1329582903" sldId="2147483647"/>
        </pc:sldMkLst>
        <pc:spChg chg="mod topLvl">
          <ac:chgData name="Erica Jackey" userId="e2881573-dfd6-412f-8520-9ae0fd13c7bc" providerId="ADAL" clId="{2D1E8199-EDFB-46A8-8688-13F02204B400}" dt="2025-11-18T06:06:16.480" v="5050" actId="478"/>
          <ac:spMkLst>
            <pc:docMk/>
            <pc:sldMk cId="1329582903" sldId="2147483647"/>
            <ac:spMk id="4" creationId="{532824E2-9581-B988-2408-E3AB6AC803C5}"/>
          </ac:spMkLst>
        </pc:spChg>
        <pc:spChg chg="add mod">
          <ac:chgData name="Erica Jackey" userId="e2881573-dfd6-412f-8520-9ae0fd13c7bc" providerId="ADAL" clId="{2D1E8199-EDFB-46A8-8688-13F02204B400}" dt="2025-11-04T02:08:44.924" v="2434" actId="207"/>
          <ac:spMkLst>
            <pc:docMk/>
            <pc:sldMk cId="1329582903" sldId="2147483647"/>
            <ac:spMk id="8" creationId="{7573E3C2-B911-38C9-6599-A882E08836D3}"/>
          </ac:spMkLst>
        </pc:spChg>
        <pc:spChg chg="add mod">
          <ac:chgData name="Erica Jackey" userId="e2881573-dfd6-412f-8520-9ae0fd13c7bc" providerId="ADAL" clId="{2D1E8199-EDFB-46A8-8688-13F02204B400}" dt="2025-11-04T02:08:42.591" v="2433" actId="207"/>
          <ac:spMkLst>
            <pc:docMk/>
            <pc:sldMk cId="1329582903" sldId="2147483647"/>
            <ac:spMk id="9" creationId="{FDD1B51E-FBFD-2F43-8624-E1A47329339C}"/>
          </ac:spMkLst>
        </pc:spChg>
        <pc:spChg chg="mod">
          <ac:chgData name="Erica Jackey" userId="e2881573-dfd6-412f-8520-9ae0fd13c7bc" providerId="ADAL" clId="{2D1E8199-EDFB-46A8-8688-13F02204B400}" dt="2025-11-04T02:14:00.629" v="3108" actId="948"/>
          <ac:spMkLst>
            <pc:docMk/>
            <pc:sldMk cId="1329582903" sldId="2147483647"/>
            <ac:spMk id="15" creationId="{E0B996CC-FD91-65E6-7B13-666E22AAAA8F}"/>
          </ac:spMkLst>
        </pc:spChg>
        <pc:spChg chg="mod">
          <ac:chgData name="Erica Jackey" userId="e2881573-dfd6-412f-8520-9ae0fd13c7bc" providerId="ADAL" clId="{2D1E8199-EDFB-46A8-8688-13F02204B400}" dt="2025-11-18T06:08:16.300" v="5127" actId="14100"/>
          <ac:spMkLst>
            <pc:docMk/>
            <pc:sldMk cId="1329582903" sldId="2147483647"/>
            <ac:spMk id="16" creationId="{93160EC0-9717-A5E7-9EE4-8E4160C20133}"/>
          </ac:spMkLst>
        </pc:spChg>
        <pc:spChg chg="mod topLvl">
          <ac:chgData name="Erica Jackey" userId="e2881573-dfd6-412f-8520-9ae0fd13c7bc" providerId="ADAL" clId="{2D1E8199-EDFB-46A8-8688-13F02204B400}" dt="2025-11-18T06:06:01.877" v="5049" actId="555"/>
          <ac:spMkLst>
            <pc:docMk/>
            <pc:sldMk cId="1329582903" sldId="2147483647"/>
            <ac:spMk id="31" creationId="{DE79748D-5892-04D9-A1F9-C85B70D59DA1}"/>
          </ac:spMkLst>
        </pc:spChg>
        <pc:spChg chg="mod">
          <ac:chgData name="Erica Jackey" userId="e2881573-dfd6-412f-8520-9ae0fd13c7bc" providerId="ADAL" clId="{2D1E8199-EDFB-46A8-8688-13F02204B400}" dt="2025-11-18T06:10:46.913" v="5196" actId="207"/>
          <ac:spMkLst>
            <pc:docMk/>
            <pc:sldMk cId="1329582903" sldId="2147483647"/>
            <ac:spMk id="32" creationId="{42CD963A-A22B-02AB-B45E-902426005A68}"/>
          </ac:spMkLst>
        </pc:spChg>
        <pc:spChg chg="mod topLvl">
          <ac:chgData name="Erica Jackey" userId="e2881573-dfd6-412f-8520-9ae0fd13c7bc" providerId="ADAL" clId="{2D1E8199-EDFB-46A8-8688-13F02204B400}" dt="2025-11-18T06:06:01.877" v="5049" actId="555"/>
          <ac:spMkLst>
            <pc:docMk/>
            <pc:sldMk cId="1329582903" sldId="2147483647"/>
            <ac:spMk id="38" creationId="{50224539-12DF-2061-228E-00EBD4D3534D}"/>
          </ac:spMkLst>
        </pc:spChg>
        <pc:grpChg chg="del">
          <ac:chgData name="Erica Jackey" userId="e2881573-dfd6-412f-8520-9ae0fd13c7bc" providerId="ADAL" clId="{2D1E8199-EDFB-46A8-8688-13F02204B400}" dt="2025-11-18T06:06:16.480" v="5050" actId="478"/>
          <ac:grpSpMkLst>
            <pc:docMk/>
            <pc:sldMk cId="1329582903" sldId="2147483647"/>
            <ac:grpSpMk id="2" creationId="{9B622192-4D7C-CB7D-469F-1AF0B7EDAEEA}"/>
          </ac:grpSpMkLst>
        </pc:grpChg>
        <pc:grpChg chg="del">
          <ac:chgData name="Erica Jackey" userId="e2881573-dfd6-412f-8520-9ae0fd13c7bc" providerId="ADAL" clId="{2D1E8199-EDFB-46A8-8688-13F02204B400}" dt="2025-11-18T06:05:56.222" v="5048" actId="478"/>
          <ac:grpSpMkLst>
            <pc:docMk/>
            <pc:sldMk cId="1329582903" sldId="2147483647"/>
            <ac:grpSpMk id="30" creationId="{F7710261-3F56-6580-A96F-EEBF981645E0}"/>
          </ac:grpSpMkLst>
        </pc:grpChg>
        <pc:grpChg chg="del">
          <ac:chgData name="Erica Jackey" userId="e2881573-dfd6-412f-8520-9ae0fd13c7bc" providerId="ADAL" clId="{2D1E8199-EDFB-46A8-8688-13F02204B400}" dt="2025-11-18T06:05:23.199" v="5046" actId="478"/>
          <ac:grpSpMkLst>
            <pc:docMk/>
            <pc:sldMk cId="1329582903" sldId="2147483647"/>
            <ac:grpSpMk id="37" creationId="{7AC50F7F-2C41-36E1-7185-DD4D2C7307A4}"/>
          </ac:grpSpMkLst>
        </pc:grpChg>
        <pc:graphicFrameChg chg="mod">
          <ac:chgData name="Erica Jackey" userId="e2881573-dfd6-412f-8520-9ae0fd13c7bc" providerId="ADAL" clId="{2D1E8199-EDFB-46A8-8688-13F02204B400}" dt="2025-11-04T02:14:00.649" v="3138"/>
          <ac:graphicFrameMkLst>
            <pc:docMk/>
            <pc:sldMk cId="1329582903" sldId="2147483647"/>
            <ac:graphicFrameMk id="5" creationId="{2087A1D7-16A9-9B87-5CBE-64891D1F727B}"/>
          </ac:graphicFrameMkLst>
        </pc:graphicFrameChg>
        <pc:picChg chg="mod">
          <ac:chgData name="Erica Jackey" userId="e2881573-dfd6-412f-8520-9ae0fd13c7bc" providerId="ADAL" clId="{2D1E8199-EDFB-46A8-8688-13F02204B400}" dt="2025-11-18T06:09:13.958" v="5170" actId="553"/>
          <ac:picMkLst>
            <pc:docMk/>
            <pc:sldMk cId="1329582903" sldId="2147483647"/>
            <ac:picMk id="35" creationId="{057A0B76-52D1-26F8-8BC7-9D57E1C842C7}"/>
          </ac:picMkLst>
        </pc:picChg>
        <pc:picChg chg="mod">
          <ac:chgData name="Erica Jackey" userId="e2881573-dfd6-412f-8520-9ae0fd13c7bc" providerId="ADAL" clId="{2D1E8199-EDFB-46A8-8688-13F02204B400}" dt="2025-11-18T06:09:06.906" v="5168" actId="553"/>
          <ac:picMkLst>
            <pc:docMk/>
            <pc:sldMk cId="1329582903" sldId="2147483647"/>
            <ac:picMk id="36" creationId="{064522C1-BC88-961D-8A6B-4A50F193FDCB}"/>
          </ac:picMkLst>
        </pc:picChg>
        <pc:picChg chg="mod">
          <ac:chgData name="Erica Jackey" userId="e2881573-dfd6-412f-8520-9ae0fd13c7bc" providerId="ADAL" clId="{2D1E8199-EDFB-46A8-8688-13F02204B400}" dt="2025-11-18T06:07:08.251" v="5055" actId="553"/>
          <ac:picMkLst>
            <pc:docMk/>
            <pc:sldMk cId="1329582903" sldId="2147483647"/>
            <ac:picMk id="40" creationId="{662FE802-A8D6-C86E-0AA7-C939856E6AF8}"/>
          </ac:picMkLst>
        </pc:picChg>
        <pc:picChg chg="mod">
          <ac:chgData name="Erica Jackey" userId="e2881573-dfd6-412f-8520-9ae0fd13c7bc" providerId="ADAL" clId="{2D1E8199-EDFB-46A8-8688-13F02204B400}" dt="2025-11-18T06:07:28.757" v="5057" actId="552"/>
          <ac:picMkLst>
            <pc:docMk/>
            <pc:sldMk cId="1329582903" sldId="2147483647"/>
            <ac:picMk id="41" creationId="{F3E3EA48-EE62-4360-7749-3EF307C7153F}"/>
          </ac:picMkLst>
        </pc:picChg>
        <pc:picChg chg="mod">
          <ac:chgData name="Erica Jackey" userId="e2881573-dfd6-412f-8520-9ae0fd13c7bc" providerId="ADAL" clId="{2D1E8199-EDFB-46A8-8688-13F02204B400}" dt="2025-11-18T06:12:00.763" v="5197" actId="555"/>
          <ac:picMkLst>
            <pc:docMk/>
            <pc:sldMk cId="1329582903" sldId="2147483647"/>
            <ac:picMk id="42" creationId="{F270D84F-A154-15FD-D8D6-CFE7E1A70D90}"/>
          </ac:picMkLst>
        </pc:picChg>
        <pc:picChg chg="mod">
          <ac:chgData name="Erica Jackey" userId="e2881573-dfd6-412f-8520-9ae0fd13c7bc" providerId="ADAL" clId="{2D1E8199-EDFB-46A8-8688-13F02204B400}" dt="2025-11-18T06:12:00.763" v="5197" actId="555"/>
          <ac:picMkLst>
            <pc:docMk/>
            <pc:sldMk cId="1329582903" sldId="2147483647"/>
            <ac:picMk id="44" creationId="{270B66C4-1C61-D0E1-4BE5-8A124E5E007E}"/>
          </ac:picMkLst>
        </pc:picChg>
        <pc:picChg chg="mod">
          <ac:chgData name="Erica Jackey" userId="e2881573-dfd6-412f-8520-9ae0fd13c7bc" providerId="ADAL" clId="{2D1E8199-EDFB-46A8-8688-13F02204B400}" dt="2025-11-18T06:06:46.873" v="5054" actId="553"/>
          <ac:picMkLst>
            <pc:docMk/>
            <pc:sldMk cId="1329582903" sldId="2147483647"/>
            <ac:picMk id="45" creationId="{5DF80C9C-F632-84DF-6FB9-1F1B1B65D9B1}"/>
          </ac:picMkLst>
        </pc:picChg>
        <pc:picChg chg="mod">
          <ac:chgData name="Erica Jackey" userId="e2881573-dfd6-412f-8520-9ae0fd13c7bc" providerId="ADAL" clId="{2D1E8199-EDFB-46A8-8688-13F02204B400}" dt="2025-11-18T06:09:10.717" v="5169" actId="553"/>
          <ac:picMkLst>
            <pc:docMk/>
            <pc:sldMk cId="1329582903" sldId="2147483647"/>
            <ac:picMk id="46" creationId="{59BD33D4-CF0F-DC3B-4C98-FE1C32F83E92}"/>
          </ac:picMkLst>
        </pc:picChg>
        <pc:picChg chg="mod">
          <ac:chgData name="Erica Jackey" userId="e2881573-dfd6-412f-8520-9ae0fd13c7bc" providerId="ADAL" clId="{2D1E8199-EDFB-46A8-8688-13F02204B400}" dt="2025-11-18T06:12:00.763" v="5197" actId="555"/>
          <ac:picMkLst>
            <pc:docMk/>
            <pc:sldMk cId="1329582903" sldId="2147483647"/>
            <ac:picMk id="48" creationId="{12755183-B1A0-138E-5A74-A4FA937797AD}"/>
          </ac:picMkLst>
        </pc:picChg>
        <pc:cxnChg chg="add mod">
          <ac:chgData name="Erica Jackey" userId="e2881573-dfd6-412f-8520-9ae0fd13c7bc" providerId="ADAL" clId="{2D1E8199-EDFB-46A8-8688-13F02204B400}" dt="2025-11-18T06:07:48.805" v="5124" actId="1036"/>
          <ac:cxnSpMkLst>
            <pc:docMk/>
            <pc:sldMk cId="1329582903" sldId="2147483647"/>
            <ac:cxnSpMk id="3" creationId="{2BD2C0E5-B336-7872-3E79-763B214A4ECD}"/>
          </ac:cxnSpMkLst>
        </pc:cxnChg>
        <pc:cxnChg chg="del topLvl">
          <ac:chgData name="Erica Jackey" userId="e2881573-dfd6-412f-8520-9ae0fd13c7bc" providerId="ADAL" clId="{2D1E8199-EDFB-46A8-8688-13F02204B400}" dt="2025-11-18T06:06:16.480" v="5050" actId="478"/>
          <ac:cxnSpMkLst>
            <pc:docMk/>
            <pc:sldMk cId="1329582903" sldId="2147483647"/>
            <ac:cxnSpMk id="6" creationId="{60C44405-5A38-6D0F-FD13-DC96AF5A82B3}"/>
          </ac:cxnSpMkLst>
        </pc:cxnChg>
        <pc:cxnChg chg="add mod">
          <ac:chgData name="Erica Jackey" userId="e2881573-dfd6-412f-8520-9ae0fd13c7bc" providerId="ADAL" clId="{2D1E8199-EDFB-46A8-8688-13F02204B400}" dt="2025-11-18T06:09:24.033" v="5172" actId="14100"/>
          <ac:cxnSpMkLst>
            <pc:docMk/>
            <pc:sldMk cId="1329582903" sldId="2147483647"/>
            <ac:cxnSpMk id="12" creationId="{7599E23D-EC9E-D5BE-792F-3148A991E61A}"/>
          </ac:cxnSpMkLst>
        </pc:cxnChg>
        <pc:cxnChg chg="add mod">
          <ac:chgData name="Erica Jackey" userId="e2881573-dfd6-412f-8520-9ae0fd13c7bc" providerId="ADAL" clId="{2D1E8199-EDFB-46A8-8688-13F02204B400}" dt="2025-11-18T06:10:00.514" v="5189" actId="1038"/>
          <ac:cxnSpMkLst>
            <pc:docMk/>
            <pc:sldMk cId="1329582903" sldId="2147483647"/>
            <ac:cxnSpMk id="27" creationId="{F12F1A77-4C29-186D-C596-35019BC48E70}"/>
          </ac:cxnSpMkLst>
        </pc:cxnChg>
        <pc:cxnChg chg="del topLvl">
          <ac:chgData name="Erica Jackey" userId="e2881573-dfd6-412f-8520-9ae0fd13c7bc" providerId="ADAL" clId="{2D1E8199-EDFB-46A8-8688-13F02204B400}" dt="2025-11-18T06:05:56.222" v="5048" actId="478"/>
          <ac:cxnSpMkLst>
            <pc:docMk/>
            <pc:sldMk cId="1329582903" sldId="2147483647"/>
            <ac:cxnSpMk id="34" creationId="{B43F3C81-5D83-5D35-9763-3641714789BA}"/>
          </ac:cxnSpMkLst>
        </pc:cxnChg>
        <pc:cxnChg chg="del mod topLvl">
          <ac:chgData name="Erica Jackey" userId="e2881573-dfd6-412f-8520-9ae0fd13c7bc" providerId="ADAL" clId="{2D1E8199-EDFB-46A8-8688-13F02204B400}" dt="2025-11-18T06:05:23.199" v="5046" actId="478"/>
          <ac:cxnSpMkLst>
            <pc:docMk/>
            <pc:sldMk cId="1329582903" sldId="2147483647"/>
            <ac:cxnSpMk id="39" creationId="{C05F7F5E-954D-631D-C8BA-075CAF46E83A}"/>
          </ac:cxnSpMkLst>
        </pc:cxnChg>
      </pc:sldChg>
    </pc:docChg>
  </pc:docChgLst>
  <pc:docChgLst>
    <pc:chgData name="Nikesh Poudel" userId="S::npoudel@highpoint-associates.com::c167580e-23b9-4956-8102-eff4a3f4af47" providerId="AD" clId="Web-{C4017147-5D2B-DDF0-CE26-C38DE0655EB4}"/>
    <pc:docChg chg="modSld">
      <pc:chgData name="Nikesh Poudel" userId="S::npoudel@highpoint-associates.com::c167580e-23b9-4956-8102-eff4a3f4af47" providerId="AD" clId="Web-{C4017147-5D2B-DDF0-CE26-C38DE0655EB4}" dt="2025-11-04T17:26:52.061" v="1"/>
      <pc:docMkLst>
        <pc:docMk/>
      </pc:docMkLst>
      <pc:sldChg chg="delSp">
        <pc:chgData name="Nikesh Poudel" userId="S::npoudel@highpoint-associates.com::c167580e-23b9-4956-8102-eff4a3f4af47" providerId="AD" clId="Web-{C4017147-5D2B-DDF0-CE26-C38DE0655EB4}" dt="2025-11-04T17:26:40.170" v="0"/>
        <pc:sldMkLst>
          <pc:docMk/>
          <pc:sldMk cId="3337461125" sldId="288"/>
        </pc:sldMkLst>
      </pc:sldChg>
      <pc:sldChg chg="delSp">
        <pc:chgData name="Nikesh Poudel" userId="S::npoudel@highpoint-associates.com::c167580e-23b9-4956-8102-eff4a3f4af47" providerId="AD" clId="Web-{C4017147-5D2B-DDF0-CE26-C38DE0655EB4}" dt="2025-11-04T17:26:52.061" v="1"/>
        <pc:sldMkLst>
          <pc:docMk/>
          <pc:sldMk cId="204826261" sldId="2147478994"/>
        </pc:sldMkLst>
      </pc:sldChg>
    </pc:docChg>
  </pc:docChgLst>
  <pc:docChgLst>
    <pc:chgData name="Seanna Mueller-King" userId="b463ef1a-644b-4331-9020-3055d851b284" providerId="ADAL" clId="{C9DF763F-1177-406F-899C-68B7485043AD}"/>
    <pc:docChg chg="undo custSel addSld delSld modSld sldOrd modSection">
      <pc:chgData name="Seanna Mueller-King" userId="b463ef1a-644b-4331-9020-3055d851b284" providerId="ADAL" clId="{C9DF763F-1177-406F-899C-68B7485043AD}" dt="2025-11-12T18:12:06.885" v="260" actId="47"/>
      <pc:docMkLst>
        <pc:docMk/>
      </pc:docMkLst>
      <pc:sldChg chg="addSp delSp modSp add del mod">
        <pc:chgData name="Seanna Mueller-King" userId="b463ef1a-644b-4331-9020-3055d851b284" providerId="ADAL" clId="{C9DF763F-1177-406F-899C-68B7485043AD}" dt="2025-11-12T18:11:54.432" v="258" actId="14100"/>
        <pc:sldMkLst>
          <pc:docMk/>
          <pc:sldMk cId="4048407524" sldId="262"/>
        </pc:sldMkLst>
        <pc:graphicFrameChg chg="mod">
          <ac:chgData name="Seanna Mueller-King" userId="b463ef1a-644b-4331-9020-3055d851b284" providerId="ADAL" clId="{C9DF763F-1177-406F-899C-68B7485043AD}" dt="2025-11-12T18:08:14.442" v="221"/>
          <ac:graphicFrameMkLst>
            <pc:docMk/>
            <pc:sldMk cId="4048407524" sldId="262"/>
            <ac:graphicFrameMk id="5" creationId="{04516BF7-1FC0-0FB4-29D7-4BFEC05226CC}"/>
          </ac:graphicFrameMkLst>
        </pc:graphicFrameChg>
        <pc:picChg chg="add mod">
          <ac:chgData name="Seanna Mueller-King" userId="b463ef1a-644b-4331-9020-3055d851b284" providerId="ADAL" clId="{C9DF763F-1177-406F-899C-68B7485043AD}" dt="2025-11-12T18:11:44.590" v="256" actId="1076"/>
          <ac:picMkLst>
            <pc:docMk/>
            <pc:sldMk cId="4048407524" sldId="262"/>
            <ac:picMk id="10" creationId="{F0595D7A-8EBF-60F8-6629-F6F9B5169FD1}"/>
          </ac:picMkLst>
        </pc:picChg>
        <pc:picChg chg="add mod">
          <ac:chgData name="Seanna Mueller-King" userId="b463ef1a-644b-4331-9020-3055d851b284" providerId="ADAL" clId="{C9DF763F-1177-406F-899C-68B7485043AD}" dt="2025-11-12T18:11:21.760" v="252" actId="14100"/>
          <ac:picMkLst>
            <pc:docMk/>
            <pc:sldMk cId="4048407524" sldId="262"/>
            <ac:picMk id="39" creationId="{25CC2353-14AA-9AE7-DC91-1205EF5A3761}"/>
          </ac:picMkLst>
        </pc:picChg>
        <pc:picChg chg="mod">
          <ac:chgData name="Seanna Mueller-King" userId="b463ef1a-644b-4331-9020-3055d851b284" providerId="ADAL" clId="{C9DF763F-1177-406F-899C-68B7485043AD}" dt="2025-11-12T18:11:54.432" v="258" actId="14100"/>
          <ac:picMkLst>
            <pc:docMk/>
            <pc:sldMk cId="4048407524" sldId="262"/>
            <ac:picMk id="75" creationId="{ECB1606B-4B3F-4AB7-FAB7-348955324ED1}"/>
          </ac:picMkLst>
        </pc:picChg>
      </pc:sldChg>
      <pc:sldChg chg="add del">
        <pc:chgData name="Seanna Mueller-King" userId="b463ef1a-644b-4331-9020-3055d851b284" providerId="ADAL" clId="{C9DF763F-1177-406F-899C-68B7485043AD}" dt="2025-10-30T22:06:04.874" v="57"/>
        <pc:sldMkLst>
          <pc:docMk/>
          <pc:sldMk cId="4202295933" sldId="275"/>
        </pc:sldMkLst>
      </pc:sldChg>
      <pc:sldChg chg="addSp delSp modSp mod">
        <pc:chgData name="Seanna Mueller-King" userId="b463ef1a-644b-4331-9020-3055d851b284" providerId="ADAL" clId="{C9DF763F-1177-406F-899C-68B7485043AD}" dt="2025-11-12T18:06:12.042" v="215"/>
        <pc:sldMkLst>
          <pc:docMk/>
          <pc:sldMk cId="496101714" sldId="280"/>
        </pc:sldMkLst>
        <pc:spChg chg="mod">
          <ac:chgData name="Seanna Mueller-King" userId="b463ef1a-644b-4331-9020-3055d851b284" providerId="ADAL" clId="{C9DF763F-1177-406F-899C-68B7485043AD}" dt="2025-11-12T18:06:12.005" v="177" actId="948"/>
          <ac:spMkLst>
            <pc:docMk/>
            <pc:sldMk cId="496101714" sldId="280"/>
            <ac:spMk id="2" creationId="{1BE27EFF-BE24-9588-6102-0AC095BBF5F7}"/>
          </ac:spMkLst>
        </pc:spChg>
        <pc:graphicFrameChg chg="mod">
          <ac:chgData name="Seanna Mueller-King" userId="b463ef1a-644b-4331-9020-3055d851b284" providerId="ADAL" clId="{C9DF763F-1177-406F-899C-68B7485043AD}" dt="2025-11-12T18:06:12.042" v="215"/>
          <ac:graphicFrameMkLst>
            <pc:docMk/>
            <pc:sldMk cId="496101714" sldId="280"/>
            <ac:graphicFrameMk id="4" creationId="{8010CD95-90E1-3567-1579-D68ED13796E8}"/>
          </ac:graphicFrameMkLst>
        </pc:graphicFrameChg>
      </pc:sldChg>
      <pc:sldChg chg="ord">
        <pc:chgData name="Seanna Mueller-King" userId="b463ef1a-644b-4331-9020-3055d851b284" providerId="ADAL" clId="{C9DF763F-1177-406F-899C-68B7485043AD}" dt="2025-11-12T18:05:34.411" v="175"/>
        <pc:sldMkLst>
          <pc:docMk/>
          <pc:sldMk cId="3337461125" sldId="288"/>
        </pc:sldMkLst>
      </pc:sldChg>
      <pc:sldChg chg="addSp delSp modSp mod">
        <pc:chgData name="Seanna Mueller-King" userId="b463ef1a-644b-4331-9020-3055d851b284" providerId="ADAL" clId="{C9DF763F-1177-406F-899C-68B7485043AD}" dt="2025-11-12T18:04:26.039" v="173"/>
        <pc:sldMkLst>
          <pc:docMk/>
          <pc:sldMk cId="2715981637" sldId="306"/>
        </pc:sldMkLst>
        <pc:spChg chg="mod">
          <ac:chgData name="Seanna Mueller-King" userId="b463ef1a-644b-4331-9020-3055d851b284" providerId="ADAL" clId="{C9DF763F-1177-406F-899C-68B7485043AD}" dt="2025-11-12T18:04:26.014" v="149" actId="948"/>
          <ac:spMkLst>
            <pc:docMk/>
            <pc:sldMk cId="2715981637" sldId="306"/>
            <ac:spMk id="10" creationId="{3A68CD65-D381-5781-D526-CA8CE82EF08B}"/>
          </ac:spMkLst>
        </pc:spChg>
        <pc:graphicFrameChg chg="mod">
          <ac:chgData name="Seanna Mueller-King" userId="b463ef1a-644b-4331-9020-3055d851b284" providerId="ADAL" clId="{C9DF763F-1177-406F-899C-68B7485043AD}" dt="2025-11-12T18:04:26.039" v="173"/>
          <ac:graphicFrameMkLst>
            <pc:docMk/>
            <pc:sldMk cId="2715981637" sldId="306"/>
            <ac:graphicFrameMk id="11" creationId="{51825BCA-D634-4799-018B-20488158194A}"/>
          </ac:graphicFrameMkLst>
        </pc:graphicFrameChg>
      </pc:sldChg>
      <pc:sldChg chg="add del">
        <pc:chgData name="Seanna Mueller-King" userId="b463ef1a-644b-4331-9020-3055d851b284" providerId="ADAL" clId="{C9DF763F-1177-406F-899C-68B7485043AD}" dt="2025-10-30T22:05:48.486" v="56"/>
        <pc:sldMkLst>
          <pc:docMk/>
          <pc:sldMk cId="1440607549" sldId="6395"/>
        </pc:sldMkLst>
      </pc:sldChg>
      <pc:sldChg chg="ord">
        <pc:chgData name="Seanna Mueller-King" userId="b463ef1a-644b-4331-9020-3055d851b284" providerId="ADAL" clId="{C9DF763F-1177-406F-899C-68B7485043AD}" dt="2025-10-30T22:12:09.824" v="66"/>
        <pc:sldMkLst>
          <pc:docMk/>
          <pc:sldMk cId="204826261" sldId="2147478994"/>
        </pc:sldMkLst>
      </pc:sldChg>
      <pc:sldMasterChg chg="delSldLayout">
        <pc:chgData name="Seanna Mueller-King" userId="b463ef1a-644b-4331-9020-3055d851b284" providerId="ADAL" clId="{C9DF763F-1177-406F-899C-68B7485043AD}" dt="2025-10-30T21:37:51.445" v="43" actId="47"/>
        <pc:sldMasterMkLst>
          <pc:docMk/>
          <pc:sldMasterMk cId="3538342992" sldId="2147483765"/>
        </pc:sldMasterMkLst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37840" cy="464821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9" y="2"/>
            <a:ext cx="3037840" cy="464821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E96464AD-05EA-48DF-8D3C-8C95E1A0EB61}" type="datetimeFigureOut">
              <a:rPr lang="en-US" smtClean="0"/>
              <a:t>11/17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970"/>
            <a:ext cx="3037840" cy="464821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9" y="8829970"/>
            <a:ext cx="3037840" cy="464821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B8E50D77-BE29-4F6E-9E97-D5DE771DDA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171578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928" userDrawn="1">
          <p15:clr>
            <a:srgbClr val="F26B43"/>
          </p15:clr>
        </p15:guide>
        <p15:guide id="2" pos="2208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37840" cy="464821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2"/>
            <a:ext cx="3037840" cy="464821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25D3F727-A02B-4696-AF70-5E10A4107E37}" type="datetimeFigureOut">
              <a:rPr lang="en-US" smtClean="0"/>
              <a:t>11/17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8" tIns="45714" rIns="91428" bIns="4571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3"/>
            <a:ext cx="5608320" cy="4183381"/>
          </a:xfrm>
          <a:prstGeom prst="rect">
            <a:avLst/>
          </a:prstGeom>
        </p:spPr>
        <p:txBody>
          <a:bodyPr vert="horz" lIns="91428" tIns="45714" rIns="91428" bIns="457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970"/>
            <a:ext cx="3037840" cy="464821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70"/>
            <a:ext cx="3037840" cy="464821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5937AFB2-63FE-4D27-8529-EF9C55DBAEB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8946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7AFB2-63FE-4D27-8529-EF9C55DBAE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75913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37AFB2-63FE-4D27-8529-EF9C55DBAEBB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84103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F6EBAF-045D-3031-9AAF-31923F483E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4180A9-EF1C-AE5C-4A0F-7D5C32343B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3024188" y="0"/>
            <a:ext cx="11214101" cy="63087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540BB6-D71D-5DF0-36B9-32CBFAE571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94418" y="3796367"/>
            <a:ext cx="3876790" cy="5547526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34860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37AFB2-63FE-4D27-8529-EF9C55DBAEBB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300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7DAE97-E59E-98F9-95C2-96FCB7A15A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831A899-58D5-E2F6-3766-A7FC4F0305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0F4BCDB-3E40-C611-C052-868ECFC3BD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F5447F-E3B8-6ACD-6A3B-B4D72183EA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37AFB2-63FE-4D27-8529-EF9C55DBAE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17278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0CC264-BD71-477F-8589-3871046D443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7069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37AFB2-63FE-4D27-8529-EF9C55DBAEBB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15433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520E72-59E1-F914-7A6D-EE23939591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3A8D1AB-FBFD-CA22-D56A-26AF3CA634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795338" y="0"/>
            <a:ext cx="8680451" cy="48831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F72EA7-D30E-2120-31BB-BBAF13CC15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1915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BB1C40-E2D6-5A3B-4BD3-1EF884D3F1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2806D7-D7E3-08D4-8C84-7FEBBC606E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93928C-71BA-5FDE-8885-F044018ED1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05FB54-8401-5F42-A8A0-BCDFB87B56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37AFB2-63FE-4D27-8529-EF9C55DBAEBB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06736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EBC63B-A0A3-4BF7-82AF-2520F35722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66050B-F46A-C52B-4DED-E2C0EF5435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804863" y="0"/>
            <a:ext cx="8458201" cy="4757738"/>
          </a:xfrm>
        </p:spPr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955BCEC-4C1B-C9AE-F0DB-440D3ACFEF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1612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10AE61-C9DA-1B51-2C42-39F66EAFB1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5C245DB-71EC-A29F-0411-BCF475A5C0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C70766-2CBD-9FA7-E6B5-FB783F3D94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CCCD5B-7ABC-22D3-C1F4-5D7B7FB0A1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37AFB2-63FE-4D27-8529-EF9C55DBAEBB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7721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CE6CEB-DE6C-58A3-9EB9-62ED9397BB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8228F5-284E-BAF9-2F3C-9F3E3213FF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3024188" y="0"/>
            <a:ext cx="11214101" cy="63087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BC493D-9CF0-2A2D-0D3D-246F793BD5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94418" y="3796367"/>
            <a:ext cx="3876790" cy="5547526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303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://www.highpoint-associates.com/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cli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34FB80D-9A52-0CFA-239C-F92FEA622E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2525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93" imgH="284" progId="TCLayout.ActiveDocument.1">
                  <p:embed/>
                </p:oleObj>
              </mc:Choice>
              <mc:Fallback>
                <p:oleObj name="think-cell Slide" r:id="rId3" imgW="293" imgH="28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4FB80D-9A52-0CFA-239C-F92FEA622E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730689-BF30-76EB-2E87-243AD2CD604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23097" r="22144"/>
          <a:stretch>
            <a:fillRect/>
          </a:stretch>
        </p:blipFill>
        <p:spPr>
          <a:xfrm>
            <a:off x="7084088" y="0"/>
            <a:ext cx="5107912" cy="6853136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C981F80-EA91-1D3E-3A89-6F0FF56F1861}"/>
              </a:ext>
            </a:extLst>
          </p:cNvPr>
          <p:cNvSpPr/>
          <p:nvPr userDrawn="1"/>
        </p:nvSpPr>
        <p:spPr bwMode="auto">
          <a:xfrm>
            <a:off x="1432560" y="1143000"/>
            <a:ext cx="9326880" cy="4572000"/>
          </a:xfrm>
          <a:prstGeom prst="rect">
            <a:avLst/>
          </a:prstGeom>
          <a:solidFill>
            <a:srgbClr val="CCCFD7">
              <a:alpha val="69000"/>
            </a:srgbClr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88F69C7-3017-A27A-5BE8-2E7E43AA947B}"/>
              </a:ext>
            </a:extLst>
          </p:cNvPr>
          <p:cNvCxnSpPr>
            <a:cxnSpLocks/>
          </p:cNvCxnSpPr>
          <p:nvPr userDrawn="1"/>
        </p:nvCxnSpPr>
        <p:spPr>
          <a:xfrm flipH="1">
            <a:off x="2018772" y="3993405"/>
            <a:ext cx="8778240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EB652221-C8A8-F168-4A4E-639966B11A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70316" y="3468568"/>
            <a:ext cx="8826696" cy="498598"/>
          </a:xfrm>
        </p:spPr>
        <p:txBody>
          <a:bodyPr vert="horz" anchor="b"/>
          <a:lstStyle>
            <a:lvl1pPr algn="l">
              <a:defRPr sz="3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A7EB173F-81BC-F2CF-5F46-71742D484A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70316" y="4059241"/>
            <a:ext cx="3897084" cy="403899"/>
          </a:xfrm>
        </p:spPr>
        <p:txBody>
          <a:bodyPr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386671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HP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92DEACE-86DA-4A86-A26E-88962E40B4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8543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2DEACE-86DA-4A86-A26E-88962E40B4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city with mountains in the background&#10;&#10;Description automatically generated">
            <a:extLst>
              <a:ext uri="{FF2B5EF4-FFF2-40B4-BE49-F238E27FC236}">
                <a16:creationId xmlns:a16="http://schemas.microsoft.com/office/drawing/2014/main" id="{82D9275A-9BD7-0B16-71D1-274C93A607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33E4413-9E87-FAAC-DDEE-1E0FC0014EFA}"/>
              </a:ext>
            </a:extLst>
          </p:cNvPr>
          <p:cNvSpPr/>
          <p:nvPr userDrawn="1"/>
        </p:nvSpPr>
        <p:spPr bwMode="auto">
          <a:xfrm>
            <a:off x="5334000" y="-2894"/>
            <a:ext cx="6858000" cy="6860894"/>
          </a:xfrm>
          <a:prstGeom prst="rect">
            <a:avLst/>
          </a:prstGeom>
          <a:solidFill>
            <a:srgbClr val="002060">
              <a:alpha val="60000"/>
            </a:srgbClr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D693EAE-A21F-8930-8791-B8FD8239EF86}"/>
              </a:ext>
            </a:extLst>
          </p:cNvPr>
          <p:cNvSpPr/>
          <p:nvPr userDrawn="1"/>
        </p:nvSpPr>
        <p:spPr bwMode="auto">
          <a:xfrm>
            <a:off x="1432560" y="1143000"/>
            <a:ext cx="9326880" cy="4572000"/>
          </a:xfrm>
          <a:prstGeom prst="rect">
            <a:avLst/>
          </a:prstGeom>
          <a:solidFill>
            <a:srgbClr val="F2F2F2">
              <a:alpha val="69000"/>
            </a:srgbClr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 dirty="0">
              <a:solidFill>
                <a:srgbClr val="000000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F7C365F-B557-8D7C-A11B-3CD61395D105}"/>
              </a:ext>
            </a:extLst>
          </p:cNvPr>
          <p:cNvCxnSpPr>
            <a:cxnSpLocks/>
          </p:cNvCxnSpPr>
          <p:nvPr userDrawn="1"/>
        </p:nvCxnSpPr>
        <p:spPr>
          <a:xfrm flipH="1">
            <a:off x="2018772" y="3993405"/>
            <a:ext cx="8778240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BAF1E74C-E4BE-BC42-6C28-EEDDBFED1E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70316" y="3468568"/>
            <a:ext cx="8826696" cy="498598"/>
          </a:xfrm>
        </p:spPr>
        <p:txBody>
          <a:bodyPr vert="horz" anchor="b"/>
          <a:lstStyle>
            <a:lvl1pPr algn="l">
              <a:defRPr sz="3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BFA269D-2543-EDB1-E799-63453A52EF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70316" y="4059241"/>
            <a:ext cx="3897084" cy="403899"/>
          </a:xfrm>
        </p:spPr>
        <p:txBody>
          <a:bodyPr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4" name="Picture 3" descr="A blue and yellow logo&#10;&#10;Description automatically generated">
            <a:extLst>
              <a:ext uri="{FF2B5EF4-FFF2-40B4-BE49-F238E27FC236}">
                <a16:creationId xmlns:a16="http://schemas.microsoft.com/office/drawing/2014/main" id="{523E3F84-689E-DBFF-2017-E503238FED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965960" y="2407801"/>
            <a:ext cx="2834640" cy="885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31310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HP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5703E0BB-0954-06AE-63D0-D7DA9DEDE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9552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03E0BB-0954-06AE-63D0-D7DA9DEDE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8B57F88-CAC0-9308-5BD3-BDA05A32EE7D}"/>
              </a:ext>
            </a:extLst>
          </p:cNvPr>
          <p:cNvSpPr/>
          <p:nvPr userDrawn="1"/>
        </p:nvSpPr>
        <p:spPr bwMode="auto">
          <a:xfrm>
            <a:off x="7320828" y="11575"/>
            <a:ext cx="4873752" cy="6857999"/>
          </a:xfrm>
          <a:prstGeom prst="rect">
            <a:avLst/>
          </a:prstGeom>
          <a:solidFill>
            <a:srgbClr val="1E2867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DB6E87-59CC-3568-5DF4-7BEA5E0355B3}"/>
              </a:ext>
            </a:extLst>
          </p:cNvPr>
          <p:cNvSpPr/>
          <p:nvPr userDrawn="1"/>
        </p:nvSpPr>
        <p:spPr bwMode="auto">
          <a:xfrm>
            <a:off x="1432560" y="1143000"/>
            <a:ext cx="9326880" cy="4572000"/>
          </a:xfrm>
          <a:prstGeom prst="rect">
            <a:avLst/>
          </a:prstGeom>
          <a:solidFill>
            <a:srgbClr val="CCCFD7">
              <a:alpha val="69000"/>
            </a:srgbClr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C9BA52B-18DD-846F-DB2D-B2EF340D5478}"/>
              </a:ext>
            </a:extLst>
          </p:cNvPr>
          <p:cNvCxnSpPr>
            <a:cxnSpLocks/>
          </p:cNvCxnSpPr>
          <p:nvPr userDrawn="1"/>
        </p:nvCxnSpPr>
        <p:spPr>
          <a:xfrm flipH="1">
            <a:off x="2018772" y="3993405"/>
            <a:ext cx="8778240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FE684589-B529-090D-2F74-5D339A5E46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70316" y="3468568"/>
            <a:ext cx="8826696" cy="498598"/>
          </a:xfrm>
        </p:spPr>
        <p:txBody>
          <a:bodyPr anchor="b"/>
          <a:lstStyle>
            <a:lvl1pPr algn="l">
              <a:defRPr sz="3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31FA441F-7D5E-C6AF-3688-D0A83B29E3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70316" y="4059241"/>
            <a:ext cx="3897084" cy="403899"/>
          </a:xfrm>
        </p:spPr>
        <p:txBody>
          <a:bodyPr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" name="Picture 1" descr="A blue and yellow logo&#10;&#10;Description automatically generated">
            <a:extLst>
              <a:ext uri="{FF2B5EF4-FFF2-40B4-BE49-F238E27FC236}">
                <a16:creationId xmlns:a16="http://schemas.microsoft.com/office/drawing/2014/main" id="{E163C1EB-1A67-13FA-F3B6-72AEF40274C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65960" y="2407801"/>
            <a:ext cx="2834640" cy="885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29474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"/>
          <p:cNvSpPr/>
          <p:nvPr userDrawn="1"/>
        </p:nvSpPr>
        <p:spPr>
          <a:xfrm>
            <a:off x="6898671" y="0"/>
            <a:ext cx="5293329" cy="6858000"/>
          </a:xfrm>
          <a:custGeom>
            <a:avLst/>
            <a:gdLst/>
            <a:ahLst/>
            <a:cxnLst/>
            <a:rect l="l" t="t" r="r" b="b"/>
            <a:pathLst>
              <a:path w="5852159" h="9753600">
                <a:moveTo>
                  <a:pt x="0" y="9753600"/>
                </a:moveTo>
                <a:lnTo>
                  <a:pt x="5852160" y="9753600"/>
                </a:lnTo>
                <a:lnTo>
                  <a:pt x="5852160" y="0"/>
                </a:lnTo>
                <a:lnTo>
                  <a:pt x="0" y="0"/>
                </a:lnTo>
                <a:lnTo>
                  <a:pt x="0" y="975360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6429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66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sym typeface="Helvetica Neue Medium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2B0921-8DF1-4225-821D-8F52E1DA5C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2071447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92B0921-8DF1-4225-821D-8F52E1DA5C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664F32-4B55-408C-86E5-A0FAF0CC2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3036" y="3988074"/>
            <a:ext cx="10020977" cy="498598"/>
          </a:xfrm>
        </p:spPr>
        <p:txBody>
          <a:bodyPr vert="horz" wrap="square" lIns="0" tIns="0" rIns="0" bIns="0" anchor="b">
            <a:noAutofit/>
          </a:bodyPr>
          <a:lstStyle>
            <a:lvl1pPr>
              <a:defRPr sz="3600">
                <a:solidFill>
                  <a:srgbClr val="1D2766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13F3E8-F064-441F-9266-902507062F1D}"/>
              </a:ext>
            </a:extLst>
          </p:cNvPr>
          <p:cNvCxnSpPr>
            <a:cxnSpLocks/>
          </p:cNvCxnSpPr>
          <p:nvPr userDrawn="1"/>
        </p:nvCxnSpPr>
        <p:spPr>
          <a:xfrm flipH="1">
            <a:off x="1763037" y="4569091"/>
            <a:ext cx="10020976" cy="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64F4837A-B6E4-4F9B-9CA6-982070F51310}"/>
              </a:ext>
            </a:extLst>
          </p:cNvPr>
          <p:cNvSpPr txBox="1">
            <a:spLocks/>
          </p:cNvSpPr>
          <p:nvPr userDrawn="1"/>
        </p:nvSpPr>
        <p:spPr>
          <a:xfrm>
            <a:off x="11642949" y="6262494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E11BAF-FA22-496F-8C23-62779F2A8080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2266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IntroDeck_Title">
  <p:cSld name="1_IntroDeck_Title"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8"/>
          <p:cNvSpPr txBox="1">
            <a:spLocks noGrp="1"/>
          </p:cNvSpPr>
          <p:nvPr>
            <p:ph type="title"/>
          </p:nvPr>
        </p:nvSpPr>
        <p:spPr>
          <a:xfrm>
            <a:off x="420686" y="454014"/>
            <a:ext cx="11363327" cy="33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" name="Picture 2" descr="A blue and yellow logo&#10;&#10;Description automatically generated">
            <a:extLst>
              <a:ext uri="{FF2B5EF4-FFF2-40B4-BE49-F238E27FC236}">
                <a16:creationId xmlns:a16="http://schemas.microsoft.com/office/drawing/2014/main" id="{0D38F547-E403-CC2B-6D0C-40CB772AEF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6399" y="6126107"/>
            <a:ext cx="1073487" cy="555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253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ientTemplate_TitleAnd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6E346D-8AE5-4CDF-B935-A844B71D8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6655369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6E346D-8AE5-4CDF-B935-A844B71D8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DD6C569-EFAA-4148-9677-EF393EFB68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686" y="1019648"/>
            <a:ext cx="11363327" cy="49100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Fifth Level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4CA8FA-867E-4A66-B6DD-45D9F9717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A blue and yellow logo&#10;&#10;Description automatically generated">
            <a:extLst>
              <a:ext uri="{FF2B5EF4-FFF2-40B4-BE49-F238E27FC236}">
                <a16:creationId xmlns:a16="http://schemas.microsoft.com/office/drawing/2014/main" id="{DF094509-10A5-AA59-B6A4-B6B56236863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96399" y="6126107"/>
            <a:ext cx="1073487" cy="5557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717020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eck_TitleAnd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6E346D-8AE5-4CDF-B935-A844B71D8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8653778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6E346D-8AE5-4CDF-B935-A844B71D8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DD6C569-EFAA-4148-9677-EF393EFB68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686" y="1019648"/>
            <a:ext cx="11363327" cy="49100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Fifth Level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4CA8FA-867E-4A66-B6DD-45D9F9717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A blue and yellow logo&#10;&#10;Description automatically generated">
            <a:extLst>
              <a:ext uri="{FF2B5EF4-FFF2-40B4-BE49-F238E27FC236}">
                <a16:creationId xmlns:a16="http://schemas.microsoft.com/office/drawing/2014/main" id="{F4C47895-2C59-7259-9F58-02D46E6E167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96399" y="6126107"/>
            <a:ext cx="1073487" cy="5557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529422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act 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FA1F288-347F-DE06-4056-1E0665FC040E}"/>
              </a:ext>
            </a:extLst>
          </p:cNvPr>
          <p:cNvSpPr/>
          <p:nvPr userDrawn="1"/>
        </p:nvSpPr>
        <p:spPr bwMode="auto">
          <a:xfrm>
            <a:off x="1045029" y="1886857"/>
            <a:ext cx="4818742" cy="22787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l">
              <a:spcBef>
                <a:spcPts val="300"/>
              </a:spcBef>
            </a:pPr>
            <a:endParaRPr lang="en-US" sz="1600" dirty="0">
              <a:ea typeface="MS PGothic" panose="020B0600070205080204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B499769-115F-A76A-BEFE-6A0717AFAC2F}"/>
              </a:ext>
            </a:extLst>
          </p:cNvPr>
          <p:cNvGrpSpPr/>
          <p:nvPr userDrawn="1"/>
        </p:nvGrpSpPr>
        <p:grpSpPr>
          <a:xfrm>
            <a:off x="6640161" y="0"/>
            <a:ext cx="5551839" cy="6857999"/>
            <a:chOff x="6898671" y="0"/>
            <a:chExt cx="5293329" cy="6857999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5" name="object 2">
              <a:extLst>
                <a:ext uri="{FF2B5EF4-FFF2-40B4-BE49-F238E27FC236}">
                  <a16:creationId xmlns:a16="http://schemas.microsoft.com/office/drawing/2014/main" id="{3AFBA9A5-0594-F85E-A67D-500693DDF7CA}"/>
                </a:ext>
              </a:extLst>
            </p:cNvPr>
            <p:cNvSpPr/>
            <p:nvPr/>
          </p:nvSpPr>
          <p:spPr>
            <a:xfrm>
              <a:off x="6898671" y="0"/>
              <a:ext cx="5293329" cy="6857999"/>
            </a:xfrm>
            <a:custGeom>
              <a:avLst/>
              <a:gdLst/>
              <a:ahLst/>
              <a:cxnLst/>
              <a:rect l="l" t="t" r="r" b="b"/>
              <a:pathLst>
                <a:path w="5852159" h="9753600">
                  <a:moveTo>
                    <a:pt x="0" y="9753600"/>
                  </a:moveTo>
                  <a:lnTo>
                    <a:pt x="5852160" y="9753600"/>
                  </a:lnTo>
                  <a:lnTo>
                    <a:pt x="5852160" y="0"/>
                  </a:lnTo>
                  <a:lnTo>
                    <a:pt x="0" y="0"/>
                  </a:lnTo>
                  <a:lnTo>
                    <a:pt x="0" y="975360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6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sym typeface="Helvetica Neue Medium"/>
              </a:endParaRPr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F07334F1-E1BA-98E4-28AF-A84E022F8818}"/>
                </a:ext>
              </a:extLst>
            </p:cNvPr>
            <p:cNvSpPr txBox="1">
              <a:spLocks/>
            </p:cNvSpPr>
            <p:nvPr/>
          </p:nvSpPr>
          <p:spPr>
            <a:xfrm>
              <a:off x="7049026" y="1149539"/>
              <a:ext cx="2258897" cy="262482"/>
            </a:xfrm>
            <a:prstGeom prst="rect">
              <a:avLst/>
            </a:prstGeom>
            <a:grpFill/>
          </p:spPr>
          <p:txBody>
            <a:bodyPr vert="horz" wrap="square" lIns="0" tIns="8483" rIns="0" bIns="0" rtlCol="0" anchor="b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kern="1200" cap="none" baseline="0">
                  <a:solidFill>
                    <a:schemeClr val="accent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spcBef>
                  <a:spcPts val="67"/>
                </a:spcBef>
              </a:pPr>
              <a:r>
                <a:rPr lang="en-US" sz="1800" b="1" spc="25" dirty="0">
                  <a:solidFill>
                    <a:srgbClr val="0E2E7F"/>
                  </a:solidFill>
                </a:rPr>
                <a:t>CONTACT</a:t>
              </a:r>
              <a:r>
                <a:rPr lang="en-US" sz="1800" b="1" spc="7" dirty="0">
                  <a:solidFill>
                    <a:srgbClr val="0E2E7F"/>
                  </a:solidFill>
                </a:rPr>
                <a:t> </a:t>
              </a:r>
              <a:r>
                <a:rPr lang="en-US" sz="1800" b="1" spc="28" dirty="0">
                  <a:solidFill>
                    <a:srgbClr val="0E2E7F"/>
                  </a:solidFill>
                </a:rPr>
                <a:t>US</a:t>
              </a:r>
              <a:endParaRPr lang="en-US" sz="1800" b="1" dirty="0">
                <a:solidFill>
                  <a:srgbClr val="0E2E7F"/>
                </a:solidFill>
              </a:endParaRPr>
            </a:p>
          </p:txBody>
        </p:sp>
        <p:sp>
          <p:nvSpPr>
            <p:cNvPr id="16" name="object 5">
              <a:extLst>
                <a:ext uri="{FF2B5EF4-FFF2-40B4-BE49-F238E27FC236}">
                  <a16:creationId xmlns:a16="http://schemas.microsoft.com/office/drawing/2014/main" id="{5E7A2EBF-4805-1492-4A71-F66A15717155}"/>
                </a:ext>
              </a:extLst>
            </p:cNvPr>
            <p:cNvSpPr txBox="1"/>
            <p:nvPr/>
          </p:nvSpPr>
          <p:spPr>
            <a:xfrm>
              <a:off x="7052152" y="5757647"/>
              <a:ext cx="2673840" cy="162905"/>
            </a:xfrm>
            <a:prstGeom prst="rect">
              <a:avLst/>
            </a:prstGeom>
            <a:grpFill/>
          </p:spPr>
          <p:txBody>
            <a:bodyPr vert="horz" wrap="square" lIns="0" tIns="8930" rIns="0" bIns="0" rtlCol="0">
              <a:spAutoFit/>
            </a:bodyPr>
            <a:lstStyle/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7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-4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ww.</a:t>
              </a:r>
              <a:r>
                <a:rPr kumimoji="0" sz="1000" b="1" i="0" u="none" strike="noStrike" kern="1200" cap="none" spc="-4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ighpoint-associates.com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</p:txBody>
        </p:sp>
        <p:sp>
          <p:nvSpPr>
            <p:cNvPr id="17" name="object 7">
              <a:extLst>
                <a:ext uri="{FF2B5EF4-FFF2-40B4-BE49-F238E27FC236}">
                  <a16:creationId xmlns:a16="http://schemas.microsoft.com/office/drawing/2014/main" id="{FCFCCC25-9E45-159A-0F69-9A57F64077C1}"/>
                </a:ext>
              </a:extLst>
            </p:cNvPr>
            <p:cNvSpPr txBox="1"/>
            <p:nvPr/>
          </p:nvSpPr>
          <p:spPr>
            <a:xfrm>
              <a:off x="7066085" y="3621326"/>
              <a:ext cx="2202398" cy="626020"/>
            </a:xfrm>
            <a:prstGeom prst="rect">
              <a:avLst/>
            </a:prstGeom>
            <a:grpFill/>
          </p:spPr>
          <p:txBody>
            <a:bodyPr vert="horz" wrap="square" lIns="0" tIns="46434" rIns="0" bIns="0" rtlCol="0">
              <a:spAutoFit/>
            </a:bodyPr>
            <a:lstStyle/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36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-4" normalizeH="0" baseline="0" noProof="0" dirty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Sumeet</a:t>
              </a:r>
              <a:r>
                <a:rPr kumimoji="0" sz="1400" b="1" i="0" u="none" strike="noStrike" kern="1200" cap="none" spc="-7" normalizeH="0" baseline="0" noProof="0" dirty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 </a:t>
              </a:r>
              <a:r>
                <a:rPr kumimoji="0" sz="1400" b="1" i="0" u="none" strike="noStrike" kern="1200" cap="none" spc="-4" normalizeH="0" baseline="0" noProof="0" dirty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Goel</a:t>
              </a:r>
              <a:endPara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0E2E7F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3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000" b="1" i="0" u="none" strike="noStrike" kern="1200" cap="none" spc="-4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Founder and Managing</a:t>
              </a:r>
              <a:r>
                <a:rPr kumimoji="0" sz="1000" b="1" i="0" u="none" strike="noStrike" kern="1200" cap="none" spc="4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 </a:t>
              </a:r>
              <a:r>
                <a:rPr kumimoji="0" sz="1000" b="1" i="0" u="none" strike="noStrike" kern="1200" cap="none" spc="-4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Director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000" b="0" i="0" u="none" strike="noStrike" kern="1200" cap="none" spc="-4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sgoel@highpoint-associates.com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</p:txBody>
        </p:sp>
        <p:sp>
          <p:nvSpPr>
            <p:cNvPr id="18" name="object 8">
              <a:extLst>
                <a:ext uri="{FF2B5EF4-FFF2-40B4-BE49-F238E27FC236}">
                  <a16:creationId xmlns:a16="http://schemas.microsoft.com/office/drawing/2014/main" id="{BA3C33DD-0EA2-9F00-4B66-3226F8D5B593}"/>
                </a:ext>
              </a:extLst>
            </p:cNvPr>
            <p:cNvSpPr txBox="1"/>
            <p:nvPr/>
          </p:nvSpPr>
          <p:spPr>
            <a:xfrm>
              <a:off x="9378387" y="3619269"/>
              <a:ext cx="2351174" cy="626533"/>
            </a:xfrm>
            <a:prstGeom prst="rect">
              <a:avLst/>
            </a:prstGeom>
            <a:grpFill/>
          </p:spPr>
          <p:txBody>
            <a:bodyPr vert="horz" wrap="square" lIns="0" tIns="46434" rIns="0" bIns="0" rtlCol="0">
              <a:spAutoFit/>
            </a:bodyPr>
            <a:lstStyle/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36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Richard</a:t>
              </a:r>
              <a:r>
                <a:rPr kumimoji="0" sz="1400" b="1" i="0" u="none" strike="noStrike" kern="1200" cap="none" spc="-14" normalizeH="0" baseline="0" noProof="0" dirty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 </a:t>
              </a:r>
              <a:r>
                <a:rPr kumimoji="0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Berger</a:t>
              </a:r>
              <a:endPara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0E2E7F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3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000" b="1" i="0" u="none" strike="noStrike" kern="1200" cap="none" spc="-4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Partner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0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000" b="0" i="0" u="none" strike="noStrike" kern="1200" cap="none" spc="-4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rberger@highpo</a:t>
              </a:r>
              <a:r>
                <a:rPr kumimoji="0" lang="en-US" sz="1000" b="0" i="0" u="none" strike="noStrike" kern="1200" cap="none" spc="-4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i</a:t>
              </a:r>
              <a:r>
                <a:rPr kumimoji="0" sz="1000" b="0" i="0" u="none" strike="noStrike" kern="1200" cap="none" spc="-4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nt-associates.com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</p:txBody>
        </p:sp>
        <p:sp>
          <p:nvSpPr>
            <p:cNvPr id="19" name="object 11">
              <a:extLst>
                <a:ext uri="{FF2B5EF4-FFF2-40B4-BE49-F238E27FC236}">
                  <a16:creationId xmlns:a16="http://schemas.microsoft.com/office/drawing/2014/main" id="{9C9BB08F-125F-3BA5-00A0-73CF7EB9AEA2}"/>
                </a:ext>
              </a:extLst>
            </p:cNvPr>
            <p:cNvSpPr txBox="1"/>
            <p:nvPr/>
          </p:nvSpPr>
          <p:spPr>
            <a:xfrm>
              <a:off x="7066085" y="4518550"/>
              <a:ext cx="2273391" cy="626533"/>
            </a:xfrm>
            <a:prstGeom prst="rect">
              <a:avLst/>
            </a:prstGeom>
            <a:grpFill/>
          </p:spPr>
          <p:txBody>
            <a:bodyPr vert="horz" wrap="square" lIns="0" tIns="46434" rIns="0" bIns="0" rtlCol="0">
              <a:spAutoFit/>
            </a:bodyPr>
            <a:lstStyle/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36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Justin</a:t>
              </a:r>
              <a:r>
                <a:rPr kumimoji="0" sz="1400" b="1" i="0" u="none" strike="noStrike" kern="1200" cap="none" spc="-21" normalizeH="0" baseline="0" noProof="0" dirty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 </a:t>
              </a:r>
              <a:r>
                <a:rPr kumimoji="0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Moser</a:t>
              </a:r>
              <a:endPara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0E2E7F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3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000" b="1" i="0" u="none" strike="noStrike" kern="1200" cap="none" spc="-4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Chief Operating Officer</a:t>
              </a:r>
              <a:r>
                <a:rPr kumimoji="0" lang="en-US" sz="1000" b="1" i="0" u="none" strike="noStrike" kern="1200" cap="none" spc="-4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 and Partner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0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-4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jmoser</a:t>
              </a:r>
              <a:r>
                <a:rPr kumimoji="0" sz="1000" b="0" i="0" u="none" strike="noStrike" kern="1200" cap="none" spc="-4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@</a:t>
              </a:r>
              <a:r>
                <a:rPr kumimoji="0" lang="en-US" sz="1000" b="0" i="0" u="none" strike="noStrike" kern="1200" cap="none" spc="-4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Arial"/>
                  <a:sym typeface="Helvetica Neue Medium"/>
                </a:rPr>
                <a:t>highpoint-associates.com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Arial"/>
                <a:sym typeface="Helvetica Neue Medium"/>
              </a:endParaRPr>
            </a:p>
          </p:txBody>
        </p:sp>
        <p:sp>
          <p:nvSpPr>
            <p:cNvPr id="20" name="West Coast…">
              <a:extLst>
                <a:ext uri="{FF2B5EF4-FFF2-40B4-BE49-F238E27FC236}">
                  <a16:creationId xmlns:a16="http://schemas.microsoft.com/office/drawing/2014/main" id="{F3024388-56E2-61C0-D540-10DB148EF087}"/>
                </a:ext>
              </a:extLst>
            </p:cNvPr>
            <p:cNvSpPr txBox="1"/>
            <p:nvPr/>
          </p:nvSpPr>
          <p:spPr>
            <a:xfrm>
              <a:off x="7066085" y="2094380"/>
              <a:ext cx="1934204" cy="992066"/>
            </a:xfrm>
            <a:prstGeom prst="rect">
              <a:avLst/>
            </a:prstGeom>
            <a:grpFill/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500" b="1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West Coast </a:t>
              </a: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2101 E El Segundo Blvd</a:t>
              </a:r>
              <a:endParaRPr kumimoji="0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/>
              </a:endParaRP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Suite 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502</a:t>
              </a:r>
              <a:endParaRPr kumimoji="0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/>
              </a:endParaRP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El Segundo</a:t>
              </a:r>
              <a:r>
                <a:rPr kumimoji="0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, CA 90245</a:t>
              </a: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310-616-0100</a:t>
              </a:r>
            </a:p>
          </p:txBody>
        </p:sp>
        <p:sp>
          <p:nvSpPr>
            <p:cNvPr id="21" name="East Coast…">
              <a:extLst>
                <a:ext uri="{FF2B5EF4-FFF2-40B4-BE49-F238E27FC236}">
                  <a16:creationId xmlns:a16="http://schemas.microsoft.com/office/drawing/2014/main" id="{8D916199-9215-2B51-4C40-0CF65E797F08}"/>
                </a:ext>
              </a:extLst>
            </p:cNvPr>
            <p:cNvSpPr txBox="1"/>
            <p:nvPr/>
          </p:nvSpPr>
          <p:spPr>
            <a:xfrm>
              <a:off x="9378388" y="2095680"/>
              <a:ext cx="1546590" cy="992066"/>
            </a:xfrm>
            <a:prstGeom prst="rect">
              <a:avLst/>
            </a:prstGeom>
            <a:grpFill/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500" b="1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East Coast </a:t>
              </a: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641 Lexington Ave.</a:t>
              </a: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15th Floor</a:t>
              </a: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New York, NY 10022</a:t>
              </a: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973-896-1101</a:t>
              </a:r>
              <a:endParaRPr kumimoji="0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/>
              </a:endParaRPr>
            </a:p>
          </p:txBody>
        </p:sp>
        <p:sp>
          <p:nvSpPr>
            <p:cNvPr id="22" name="object 11">
              <a:extLst>
                <a:ext uri="{FF2B5EF4-FFF2-40B4-BE49-F238E27FC236}">
                  <a16:creationId xmlns:a16="http://schemas.microsoft.com/office/drawing/2014/main" id="{056254CA-6474-644C-BF50-67593F3E8BF2}"/>
                </a:ext>
              </a:extLst>
            </p:cNvPr>
            <p:cNvSpPr txBox="1"/>
            <p:nvPr userDrawn="1"/>
          </p:nvSpPr>
          <p:spPr>
            <a:xfrm>
              <a:off x="9378387" y="4518550"/>
              <a:ext cx="2273391" cy="626533"/>
            </a:xfrm>
            <a:prstGeom prst="rect">
              <a:avLst/>
            </a:prstGeom>
            <a:grpFill/>
          </p:spPr>
          <p:txBody>
            <a:bodyPr vert="horz" wrap="square" lIns="0" tIns="46434" rIns="0" bIns="0" rtlCol="0">
              <a:spAutoFit/>
            </a:bodyPr>
            <a:lstStyle/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36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Kristel Kurtz</a:t>
              </a:r>
              <a:endPara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0E2E7F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3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-4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Partner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0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-4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kkurtz</a:t>
              </a:r>
              <a:r>
                <a:rPr kumimoji="0" sz="1000" b="0" i="0" u="none" strike="noStrike" kern="1200" cap="none" spc="-4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@</a:t>
              </a:r>
              <a:r>
                <a:rPr kumimoji="0" lang="en-US" sz="1000" b="0" i="0" u="none" strike="noStrike" kern="1200" cap="none" spc="-4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Arial"/>
                  <a:sym typeface="Helvetica Neue Medium"/>
                </a:rPr>
                <a:t>highpoint-associates.com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Arial"/>
                <a:sym typeface="Helvetica Neue Medium"/>
              </a:endParaRPr>
            </a:p>
          </p:txBody>
        </p:sp>
      </p:grpSp>
      <p:pic>
        <p:nvPicPr>
          <p:cNvPr id="23" name="Picture 22" descr="A blue and yellow logo&#10;&#10;Description automatically generated">
            <a:extLst>
              <a:ext uri="{FF2B5EF4-FFF2-40B4-BE49-F238E27FC236}">
                <a16:creationId xmlns:a16="http://schemas.microsoft.com/office/drawing/2014/main" id="{6A22F4E1-13E9-DEE5-9169-34CFCA653E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24441" y="2763850"/>
            <a:ext cx="4259918" cy="13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742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A41E1A-3357-43D1-8379-264FED9D63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95567327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24" imgH="324" progId="TCLayout.ActiveDocument.1">
                  <p:embed/>
                </p:oleObj>
              </mc:Choice>
              <mc:Fallback>
                <p:oleObj name="think-cell Slide" r:id="rId11" imgW="324" imgH="3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A41E1A-3357-43D1-8379-264FED9D6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-201763" y="454007"/>
            <a:ext cx="162820" cy="5946676"/>
            <a:chOff x="-201712" y="454007"/>
            <a:chExt cx="162778" cy="5946676"/>
          </a:xfrm>
        </p:grpSpPr>
        <p:cxnSp>
          <p:nvCxnSpPr>
            <p:cNvPr id="94" name="Straight Connector 93"/>
            <p:cNvCxnSpPr/>
            <p:nvPr userDrawn="1"/>
          </p:nvCxnSpPr>
          <p:spPr>
            <a:xfrm rot="5400000">
              <a:off x="-120323" y="372618"/>
              <a:ext cx="0" cy="162778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/>
            <p:nvPr userDrawn="1"/>
          </p:nvCxnSpPr>
          <p:spPr>
            <a:xfrm rot="5400000">
              <a:off x="-120323" y="6319294"/>
              <a:ext cx="0" cy="162778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8" name="Group 97"/>
            <p:cNvGrpSpPr/>
            <p:nvPr userDrawn="1"/>
          </p:nvGrpSpPr>
          <p:grpSpPr>
            <a:xfrm rot="5400000">
              <a:off x="-196523" y="5718652"/>
              <a:ext cx="152400" cy="162778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9" name="Group 98"/>
            <p:cNvGrpSpPr/>
            <p:nvPr userDrawn="1"/>
          </p:nvGrpSpPr>
          <p:grpSpPr>
            <a:xfrm rot="5400000">
              <a:off x="-196523" y="5041810"/>
              <a:ext cx="152400" cy="162778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0" name="Group 99"/>
            <p:cNvGrpSpPr/>
            <p:nvPr userDrawn="1"/>
          </p:nvGrpSpPr>
          <p:grpSpPr>
            <a:xfrm rot="5400000">
              <a:off x="-196523" y="4364968"/>
              <a:ext cx="152400" cy="162778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1" name="Group 100"/>
            <p:cNvGrpSpPr/>
            <p:nvPr userDrawn="1"/>
          </p:nvGrpSpPr>
          <p:grpSpPr>
            <a:xfrm rot="5400000">
              <a:off x="-196523" y="3688126"/>
              <a:ext cx="152400" cy="162778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" name="Group 101"/>
            <p:cNvGrpSpPr/>
            <p:nvPr userDrawn="1"/>
          </p:nvGrpSpPr>
          <p:grpSpPr>
            <a:xfrm rot="5400000">
              <a:off x="-196523" y="3011284"/>
              <a:ext cx="152400" cy="162778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3" name="Group 102"/>
            <p:cNvGrpSpPr/>
            <p:nvPr userDrawn="1"/>
          </p:nvGrpSpPr>
          <p:grpSpPr>
            <a:xfrm rot="5400000">
              <a:off x="-196523" y="2334442"/>
              <a:ext cx="152400" cy="162778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4" name="Group 103"/>
            <p:cNvGrpSpPr/>
            <p:nvPr userDrawn="1"/>
          </p:nvGrpSpPr>
          <p:grpSpPr>
            <a:xfrm rot="5400000">
              <a:off x="-196523" y="1657600"/>
              <a:ext cx="152400" cy="162778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5" name="Group 104"/>
            <p:cNvGrpSpPr/>
            <p:nvPr userDrawn="1"/>
          </p:nvGrpSpPr>
          <p:grpSpPr>
            <a:xfrm rot="5400000">
              <a:off x="-196523" y="977009"/>
              <a:ext cx="152400" cy="162778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74" name="Group 173"/>
          <p:cNvGrpSpPr/>
          <p:nvPr userDrawn="1"/>
        </p:nvGrpSpPr>
        <p:grpSpPr>
          <a:xfrm>
            <a:off x="12247477" y="454007"/>
            <a:ext cx="162820" cy="5946676"/>
            <a:chOff x="-201712" y="454007"/>
            <a:chExt cx="162778" cy="5946676"/>
          </a:xfrm>
        </p:grpSpPr>
        <p:cxnSp>
          <p:nvCxnSpPr>
            <p:cNvPr id="175" name="Straight Connector 174"/>
            <p:cNvCxnSpPr/>
            <p:nvPr userDrawn="1"/>
          </p:nvCxnSpPr>
          <p:spPr>
            <a:xfrm rot="5400000">
              <a:off x="-120323" y="372618"/>
              <a:ext cx="0" cy="162778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/>
            <p:cNvCxnSpPr/>
            <p:nvPr userDrawn="1"/>
          </p:nvCxnSpPr>
          <p:spPr>
            <a:xfrm rot="5400000">
              <a:off x="-120323" y="6319294"/>
              <a:ext cx="0" cy="162778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7" name="Group 176"/>
            <p:cNvGrpSpPr/>
            <p:nvPr userDrawn="1"/>
          </p:nvGrpSpPr>
          <p:grpSpPr>
            <a:xfrm rot="5400000">
              <a:off x="-196523" y="5718652"/>
              <a:ext cx="152400" cy="162778"/>
              <a:chOff x="7983415" y="6582508"/>
              <a:chExt cx="152400" cy="486507"/>
            </a:xfrm>
          </p:grpSpPr>
          <p:cxnSp>
            <p:nvCxnSpPr>
              <p:cNvPr id="199" name="Straight Connector 1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Straight Connector 1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8" name="Group 177"/>
            <p:cNvGrpSpPr/>
            <p:nvPr userDrawn="1"/>
          </p:nvGrpSpPr>
          <p:grpSpPr>
            <a:xfrm rot="5400000">
              <a:off x="-196523" y="5041810"/>
              <a:ext cx="152400" cy="162778"/>
              <a:chOff x="7983415" y="6582508"/>
              <a:chExt cx="152400" cy="486507"/>
            </a:xfrm>
          </p:grpSpPr>
          <p:cxnSp>
            <p:nvCxnSpPr>
              <p:cNvPr id="197" name="Straight Connector 1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8" name="Straight Connector 1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9" name="Group 178"/>
            <p:cNvGrpSpPr/>
            <p:nvPr userDrawn="1"/>
          </p:nvGrpSpPr>
          <p:grpSpPr>
            <a:xfrm rot="5400000">
              <a:off x="-196523" y="4364968"/>
              <a:ext cx="152400" cy="162778"/>
              <a:chOff x="7983415" y="6582508"/>
              <a:chExt cx="152400" cy="486507"/>
            </a:xfrm>
          </p:grpSpPr>
          <p:cxnSp>
            <p:nvCxnSpPr>
              <p:cNvPr id="195" name="Straight Connector 1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Straight Connector 1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0" name="Group 179"/>
            <p:cNvGrpSpPr/>
            <p:nvPr userDrawn="1"/>
          </p:nvGrpSpPr>
          <p:grpSpPr>
            <a:xfrm rot="5400000">
              <a:off x="-196523" y="3688126"/>
              <a:ext cx="152400" cy="162778"/>
              <a:chOff x="7983415" y="6582508"/>
              <a:chExt cx="152400" cy="486507"/>
            </a:xfrm>
          </p:grpSpPr>
          <p:cxnSp>
            <p:nvCxnSpPr>
              <p:cNvPr id="193" name="Straight Connector 1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1" name="Group 180"/>
            <p:cNvGrpSpPr/>
            <p:nvPr userDrawn="1"/>
          </p:nvGrpSpPr>
          <p:grpSpPr>
            <a:xfrm rot="5400000">
              <a:off x="-196523" y="3011284"/>
              <a:ext cx="152400" cy="162778"/>
              <a:chOff x="7983415" y="6582508"/>
              <a:chExt cx="152400" cy="486507"/>
            </a:xfrm>
          </p:grpSpPr>
          <p:cxnSp>
            <p:nvCxnSpPr>
              <p:cNvPr id="191" name="Straight Connector 1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Straight Connector 1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2" name="Group 181"/>
            <p:cNvGrpSpPr/>
            <p:nvPr userDrawn="1"/>
          </p:nvGrpSpPr>
          <p:grpSpPr>
            <a:xfrm rot="5400000">
              <a:off x="-196523" y="2334442"/>
              <a:ext cx="152400" cy="162778"/>
              <a:chOff x="7983415" y="6582508"/>
              <a:chExt cx="152400" cy="486507"/>
            </a:xfrm>
          </p:grpSpPr>
          <p:cxnSp>
            <p:nvCxnSpPr>
              <p:cNvPr id="189" name="Straight Connector 18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3" name="Group 182"/>
            <p:cNvGrpSpPr/>
            <p:nvPr userDrawn="1"/>
          </p:nvGrpSpPr>
          <p:grpSpPr>
            <a:xfrm rot="5400000">
              <a:off x="-196523" y="1657600"/>
              <a:ext cx="152400" cy="162778"/>
              <a:chOff x="7983415" y="6582508"/>
              <a:chExt cx="152400" cy="486507"/>
            </a:xfrm>
          </p:grpSpPr>
          <p:cxnSp>
            <p:nvCxnSpPr>
              <p:cNvPr id="187" name="Straight Connector 18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4" name="Group 183"/>
            <p:cNvGrpSpPr/>
            <p:nvPr userDrawn="1"/>
          </p:nvGrpSpPr>
          <p:grpSpPr>
            <a:xfrm rot="5400000">
              <a:off x="-196523" y="977009"/>
              <a:ext cx="152400" cy="162778"/>
              <a:chOff x="7983415" y="6582508"/>
              <a:chExt cx="152400" cy="486507"/>
            </a:xfrm>
          </p:grpSpPr>
          <p:cxnSp>
            <p:nvCxnSpPr>
              <p:cNvPr id="185" name="Straight Connector 18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8" name="Group 247"/>
          <p:cNvGrpSpPr/>
          <p:nvPr userDrawn="1"/>
        </p:nvGrpSpPr>
        <p:grpSpPr>
          <a:xfrm>
            <a:off x="12251284" y="1811869"/>
            <a:ext cx="560811" cy="4588933"/>
            <a:chOff x="-945199" y="1811867"/>
            <a:chExt cx="904730" cy="4588933"/>
          </a:xfrm>
        </p:grpSpPr>
        <p:cxnSp>
          <p:nvCxnSpPr>
            <p:cNvPr id="249" name="Straight Connector 248"/>
            <p:cNvCxnSpPr/>
            <p:nvPr/>
          </p:nvCxnSpPr>
          <p:spPr>
            <a:xfrm flipH="1">
              <a:off x="-945199" y="1811867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/>
            <p:cNvCxnSpPr/>
            <p:nvPr/>
          </p:nvCxnSpPr>
          <p:spPr>
            <a:xfrm flipH="1">
              <a:off x="-945199" y="4029182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/>
            <p:cNvCxnSpPr/>
            <p:nvPr/>
          </p:nvCxnSpPr>
          <p:spPr>
            <a:xfrm flipH="1">
              <a:off x="-945199" y="4183485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/>
            <p:cNvCxnSpPr/>
            <p:nvPr/>
          </p:nvCxnSpPr>
          <p:spPr>
            <a:xfrm flipH="1">
              <a:off x="-945199" y="6400800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/>
          <p:cNvGrpSpPr/>
          <p:nvPr userDrawn="1"/>
        </p:nvGrpSpPr>
        <p:grpSpPr>
          <a:xfrm>
            <a:off x="619119" y="6908804"/>
            <a:ext cx="10967723" cy="560665"/>
            <a:chOff x="464339" y="6908803"/>
            <a:chExt cx="8225792" cy="560665"/>
          </a:xfrm>
        </p:grpSpPr>
        <p:cxnSp>
          <p:nvCxnSpPr>
            <p:cNvPr id="321" name="Straight Connector 320"/>
            <p:cNvCxnSpPr/>
            <p:nvPr userDrawn="1"/>
          </p:nvCxnSpPr>
          <p:spPr>
            <a:xfrm rot="5400000" flipH="1">
              <a:off x="8409799" y="7189135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2" name="Straight Connector 321"/>
            <p:cNvCxnSpPr/>
            <p:nvPr userDrawn="1"/>
          </p:nvCxnSpPr>
          <p:spPr>
            <a:xfrm rot="5400000" flipH="1">
              <a:off x="1182908" y="7189135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3" name="Straight Connector 322"/>
            <p:cNvCxnSpPr/>
            <p:nvPr userDrawn="1"/>
          </p:nvCxnSpPr>
          <p:spPr>
            <a:xfrm rot="5400000" flipH="1">
              <a:off x="1067151" y="7189135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4" name="Straight Connector 323"/>
            <p:cNvCxnSpPr/>
            <p:nvPr userDrawn="1"/>
          </p:nvCxnSpPr>
          <p:spPr>
            <a:xfrm rot="5400000" flipH="1">
              <a:off x="184007" y="7189136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3" name="Text Box 18"/>
          <p:cNvSpPr txBox="1">
            <a:spLocks noChangeArrowheads="1"/>
          </p:cNvSpPr>
          <p:nvPr userDrawn="1"/>
        </p:nvSpPr>
        <p:spPr bwMode="gray">
          <a:xfrm>
            <a:off x="10807717" y="68046"/>
            <a:ext cx="1327286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>
            <a:spAutoFit/>
          </a:bodyPr>
          <a:lstStyle/>
          <a:p>
            <a:pPr marL="168275" indent="-168275" algn="l" defTabSz="457200">
              <a:spcBef>
                <a:spcPct val="20000"/>
              </a:spcBef>
              <a:defRPr/>
            </a:pP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C O N F I D E N T I A L    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2644266" y="6908922"/>
            <a:ext cx="8240465" cy="129552"/>
            <a:chOff x="1983199" y="6908922"/>
            <a:chExt cx="6180349" cy="129552"/>
          </a:xfrm>
        </p:grpSpPr>
        <p:grpSp>
          <p:nvGrpSpPr>
            <p:cNvPr id="231" name="Group 230"/>
            <p:cNvGrpSpPr/>
            <p:nvPr userDrawn="1"/>
          </p:nvGrpSpPr>
          <p:grpSpPr>
            <a:xfrm rot="10800000">
              <a:off x="3323426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77" name="Straight Connector 2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8" name="Straight Connector 2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2" name="Group 231"/>
            <p:cNvGrpSpPr/>
            <p:nvPr userDrawn="1"/>
          </p:nvGrpSpPr>
          <p:grpSpPr>
            <a:xfrm rot="10800000">
              <a:off x="3992811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74" name="Straight Connector 2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6" name="Straight Connector 2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3" name="Group 232"/>
            <p:cNvGrpSpPr/>
            <p:nvPr userDrawn="1"/>
          </p:nvGrpSpPr>
          <p:grpSpPr>
            <a:xfrm rot="10800000">
              <a:off x="4662196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60" name="Straight Connector 2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3" name="Straight Connector 2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4" name="Group 233"/>
            <p:cNvGrpSpPr/>
            <p:nvPr userDrawn="1"/>
          </p:nvGrpSpPr>
          <p:grpSpPr>
            <a:xfrm rot="10800000">
              <a:off x="5331580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58" name="Straight Connector 2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Straight Connector 2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5" name="Group 234"/>
            <p:cNvGrpSpPr/>
            <p:nvPr userDrawn="1"/>
          </p:nvGrpSpPr>
          <p:grpSpPr>
            <a:xfrm rot="10800000">
              <a:off x="6000965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56" name="Straight Connector 2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7" name="Straight Connector 2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6" name="Group 235"/>
            <p:cNvGrpSpPr/>
            <p:nvPr userDrawn="1"/>
          </p:nvGrpSpPr>
          <p:grpSpPr>
            <a:xfrm rot="10800000">
              <a:off x="6670350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43" name="Straight Connector 2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3" name="Straight Connector 2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7" name="Group 236"/>
            <p:cNvGrpSpPr/>
            <p:nvPr userDrawn="1"/>
          </p:nvGrpSpPr>
          <p:grpSpPr>
            <a:xfrm rot="10800000">
              <a:off x="7339735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41" name="Straight Connector 2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2" name="Straight Connector 2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8" name="Group 237"/>
            <p:cNvGrpSpPr/>
            <p:nvPr userDrawn="1"/>
          </p:nvGrpSpPr>
          <p:grpSpPr>
            <a:xfrm rot="10800000">
              <a:off x="8012827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39" name="Straight Connector 2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0" name="Straight Connector 2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7" name="Group 326"/>
            <p:cNvGrpSpPr/>
            <p:nvPr userDrawn="1"/>
          </p:nvGrpSpPr>
          <p:grpSpPr>
            <a:xfrm rot="10800000">
              <a:off x="1983199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29" name="Straight Connector 3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Straight Connector 3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1" name="Group 330"/>
            <p:cNvGrpSpPr/>
            <p:nvPr userDrawn="1"/>
          </p:nvGrpSpPr>
          <p:grpSpPr>
            <a:xfrm rot="10800000">
              <a:off x="2652583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32" name="Straight Connector 3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Straight Connector 3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77" name="Group 376"/>
          <p:cNvGrpSpPr/>
          <p:nvPr userDrawn="1"/>
        </p:nvGrpSpPr>
        <p:grpSpPr>
          <a:xfrm>
            <a:off x="2644266" y="-170467"/>
            <a:ext cx="8240465" cy="129552"/>
            <a:chOff x="1983199" y="6908922"/>
            <a:chExt cx="6180349" cy="129552"/>
          </a:xfrm>
        </p:grpSpPr>
        <p:grpSp>
          <p:nvGrpSpPr>
            <p:cNvPr id="378" name="Group 377"/>
            <p:cNvGrpSpPr/>
            <p:nvPr userDrawn="1"/>
          </p:nvGrpSpPr>
          <p:grpSpPr>
            <a:xfrm rot="10800000">
              <a:off x="3323426" y="6908922"/>
              <a:ext cx="150721" cy="129552"/>
              <a:chOff x="7983415" y="6582508"/>
              <a:chExt cx="152400" cy="486507"/>
            </a:xfrm>
          </p:grpSpPr>
          <p:cxnSp>
            <p:nvCxnSpPr>
              <p:cNvPr id="406" name="Straight Connector 4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7" name="Straight Connector 4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9" name="Group 378"/>
            <p:cNvGrpSpPr/>
            <p:nvPr userDrawn="1"/>
          </p:nvGrpSpPr>
          <p:grpSpPr>
            <a:xfrm rot="10800000">
              <a:off x="3992811" y="6908922"/>
              <a:ext cx="150721" cy="129552"/>
              <a:chOff x="7983415" y="6582508"/>
              <a:chExt cx="152400" cy="486507"/>
            </a:xfrm>
          </p:grpSpPr>
          <p:cxnSp>
            <p:nvCxnSpPr>
              <p:cNvPr id="404" name="Straight Connector 4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Straight Connector 4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0" name="Group 379"/>
            <p:cNvGrpSpPr/>
            <p:nvPr userDrawn="1"/>
          </p:nvGrpSpPr>
          <p:grpSpPr>
            <a:xfrm rot="10800000">
              <a:off x="4662196" y="6908922"/>
              <a:ext cx="150721" cy="129552"/>
              <a:chOff x="7983415" y="6582508"/>
              <a:chExt cx="152400" cy="486507"/>
            </a:xfrm>
          </p:grpSpPr>
          <p:cxnSp>
            <p:nvCxnSpPr>
              <p:cNvPr id="402" name="Straight Connector 4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3" name="Straight Connector 4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1" name="Group 380"/>
            <p:cNvGrpSpPr/>
            <p:nvPr userDrawn="1"/>
          </p:nvGrpSpPr>
          <p:grpSpPr>
            <a:xfrm rot="10800000">
              <a:off x="5331580" y="6908922"/>
              <a:ext cx="150721" cy="129552"/>
              <a:chOff x="7983415" y="6582508"/>
              <a:chExt cx="152400" cy="486507"/>
            </a:xfrm>
          </p:grpSpPr>
          <p:cxnSp>
            <p:nvCxnSpPr>
              <p:cNvPr id="400" name="Straight Connector 3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Straight Connector 4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2" name="Group 381"/>
            <p:cNvGrpSpPr/>
            <p:nvPr userDrawn="1"/>
          </p:nvGrpSpPr>
          <p:grpSpPr>
            <a:xfrm rot="10800000">
              <a:off x="6000965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98" name="Straight Connector 3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9" name="Straight Connector 3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3" name="Group 382"/>
            <p:cNvGrpSpPr/>
            <p:nvPr userDrawn="1"/>
          </p:nvGrpSpPr>
          <p:grpSpPr>
            <a:xfrm rot="10800000">
              <a:off x="6670350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96" name="Straight Connector 39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7" name="Straight Connector 39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4" name="Group 383"/>
            <p:cNvGrpSpPr/>
            <p:nvPr userDrawn="1"/>
          </p:nvGrpSpPr>
          <p:grpSpPr>
            <a:xfrm rot="10800000">
              <a:off x="7339735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94" name="Straight Connector 39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5" name="Straight Connector 39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5" name="Group 384"/>
            <p:cNvGrpSpPr/>
            <p:nvPr userDrawn="1"/>
          </p:nvGrpSpPr>
          <p:grpSpPr>
            <a:xfrm rot="10800000">
              <a:off x="8012827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92" name="Straight Connector 39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3" name="Straight Connector 39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oup 385"/>
            <p:cNvGrpSpPr/>
            <p:nvPr userDrawn="1"/>
          </p:nvGrpSpPr>
          <p:grpSpPr>
            <a:xfrm rot="10800000">
              <a:off x="1983199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90" name="Straight Connector 38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Straight Connector 39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7" name="Group 386"/>
            <p:cNvGrpSpPr/>
            <p:nvPr userDrawn="1"/>
          </p:nvGrpSpPr>
          <p:grpSpPr>
            <a:xfrm rot="10800000">
              <a:off x="2652583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88" name="Straight Connector 38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Straight Connector 38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8" name="Group 407"/>
          <p:cNvGrpSpPr/>
          <p:nvPr userDrawn="1"/>
        </p:nvGrpSpPr>
        <p:grpSpPr>
          <a:xfrm>
            <a:off x="617788" y="-601580"/>
            <a:ext cx="10967723" cy="560665"/>
            <a:chOff x="464339" y="6908803"/>
            <a:chExt cx="8225792" cy="560665"/>
          </a:xfrm>
        </p:grpSpPr>
        <p:cxnSp>
          <p:nvCxnSpPr>
            <p:cNvPr id="409" name="Straight Connector 408"/>
            <p:cNvCxnSpPr/>
            <p:nvPr userDrawn="1"/>
          </p:nvCxnSpPr>
          <p:spPr>
            <a:xfrm rot="5400000" flipH="1">
              <a:off x="8409799" y="7189135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0" name="Straight Connector 409"/>
            <p:cNvCxnSpPr/>
            <p:nvPr userDrawn="1"/>
          </p:nvCxnSpPr>
          <p:spPr>
            <a:xfrm rot="5400000" flipH="1">
              <a:off x="1182908" y="7189135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1" name="Straight Connector 410"/>
            <p:cNvCxnSpPr/>
            <p:nvPr userDrawn="1"/>
          </p:nvCxnSpPr>
          <p:spPr>
            <a:xfrm rot="5400000" flipH="1">
              <a:off x="1067151" y="7189135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2" name="Straight Connector 411"/>
            <p:cNvCxnSpPr/>
            <p:nvPr userDrawn="1"/>
          </p:nvCxnSpPr>
          <p:spPr>
            <a:xfrm rot="5400000" flipH="1">
              <a:off x="184007" y="7189136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C5DB05-DEC9-4395-8C17-1D00577698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4547" y="1019644"/>
            <a:ext cx="11162270" cy="49103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Fifth Level</a:t>
            </a:r>
            <a:endParaRPr lang="en-US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FA1084D7-9F42-4066-8C54-B1A684F9D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550" y="454008"/>
            <a:ext cx="1116227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4" name="Slide Number Placeholder 2">
            <a:extLst>
              <a:ext uri="{FF2B5EF4-FFF2-40B4-BE49-F238E27FC236}">
                <a16:creationId xmlns:a16="http://schemas.microsoft.com/office/drawing/2014/main" id="{64F4837A-B6E4-4F9B-9CA6-982070F51310}"/>
              </a:ext>
            </a:extLst>
          </p:cNvPr>
          <p:cNvSpPr txBox="1">
            <a:spLocks/>
          </p:cNvSpPr>
          <p:nvPr userDrawn="1"/>
        </p:nvSpPr>
        <p:spPr>
          <a:xfrm>
            <a:off x="11471360" y="6261839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E11BAF-FA22-496F-8C23-62779F2A8080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38342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819" r:id="rId2"/>
    <p:sldLayoutId id="2147483820" r:id="rId3"/>
    <p:sldLayoutId id="2147483821" r:id="rId4"/>
    <p:sldLayoutId id="2147483772" r:id="rId5"/>
    <p:sldLayoutId id="2147483795" r:id="rId6"/>
    <p:sldLayoutId id="2147483796" r:id="rId7"/>
    <p:sldLayoutId id="2147483773" r:id="rId8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none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182880" marR="0" indent="-18288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•"/>
        <a:tabLst/>
        <a:defRPr sz="160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marR="0" indent="-22860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Courier New" panose="02070309020205020404" pitchFamily="49" charset="0"/>
        <a:buChar char="o"/>
        <a:tabLst/>
        <a:defRPr sz="140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85800" marR="0" indent="-22860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Wingdings" panose="05000000000000000000" pitchFamily="2" charset="2"/>
        <a:buChar char="§"/>
        <a:tabLst/>
        <a:defRPr sz="120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400" marR="0" indent="-22860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−"/>
        <a:tabLst/>
        <a:defRPr sz="120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143000" marR="0" indent="-22860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-"/>
        <a:tabLst/>
        <a:defRPr sz="120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6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image" Target="../media/image75.svg"/><Relationship Id="rId3" Type="http://schemas.openxmlformats.org/officeDocument/2006/relationships/image" Target="../media/image67.png"/><Relationship Id="rId7" Type="http://schemas.openxmlformats.org/officeDocument/2006/relationships/oleObject" Target="../embeddings/oleObject17.bin"/><Relationship Id="rId12" Type="http://schemas.openxmlformats.org/officeDocument/2006/relationships/image" Target="../media/image74.png"/><Relationship Id="rId17" Type="http://schemas.openxmlformats.org/officeDocument/2006/relationships/image" Target="../media/image77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76.png"/><Relationship Id="rId1" Type="http://schemas.openxmlformats.org/officeDocument/2006/relationships/tags" Target="../tags/tag21.xml"/><Relationship Id="rId6" Type="http://schemas.openxmlformats.org/officeDocument/2006/relationships/image" Target="../media/image70.png"/><Relationship Id="rId11" Type="http://schemas.openxmlformats.org/officeDocument/2006/relationships/image" Target="../media/image73.png"/><Relationship Id="rId5" Type="http://schemas.openxmlformats.org/officeDocument/2006/relationships/image" Target="../media/image69.png"/><Relationship Id="rId15" Type="http://schemas.openxmlformats.org/officeDocument/2006/relationships/image" Target="../media/image9.svg"/><Relationship Id="rId10" Type="http://schemas.openxmlformats.org/officeDocument/2006/relationships/image" Target="../media/image72.png"/><Relationship Id="rId4" Type="http://schemas.openxmlformats.org/officeDocument/2006/relationships/image" Target="../media/image68.png"/><Relationship Id="rId9" Type="http://schemas.openxmlformats.org/officeDocument/2006/relationships/image" Target="../media/image71.png"/><Relationship Id="rId1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13" Type="http://schemas.openxmlformats.org/officeDocument/2006/relationships/image" Target="../media/image86.png"/><Relationship Id="rId3" Type="http://schemas.openxmlformats.org/officeDocument/2006/relationships/image" Target="../media/image78.png"/><Relationship Id="rId7" Type="http://schemas.openxmlformats.org/officeDocument/2006/relationships/image" Target="../media/image80.png"/><Relationship Id="rId12" Type="http://schemas.openxmlformats.org/officeDocument/2006/relationships/image" Target="../media/image85.png"/><Relationship Id="rId17" Type="http://schemas.openxmlformats.org/officeDocument/2006/relationships/image" Target="../media/image75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74.png"/><Relationship Id="rId1" Type="http://schemas.openxmlformats.org/officeDocument/2006/relationships/tags" Target="../tags/tag24.xml"/><Relationship Id="rId6" Type="http://schemas.openxmlformats.org/officeDocument/2006/relationships/image" Target="../media/image20.emf"/><Relationship Id="rId11" Type="http://schemas.openxmlformats.org/officeDocument/2006/relationships/image" Target="../media/image84.png"/><Relationship Id="rId5" Type="http://schemas.openxmlformats.org/officeDocument/2006/relationships/oleObject" Target="../embeddings/oleObject19.bin"/><Relationship Id="rId15" Type="http://schemas.openxmlformats.org/officeDocument/2006/relationships/image" Target="../media/image9.svg"/><Relationship Id="rId10" Type="http://schemas.openxmlformats.org/officeDocument/2006/relationships/image" Target="../media/image83.png"/><Relationship Id="rId4" Type="http://schemas.openxmlformats.org/officeDocument/2006/relationships/image" Target="../media/image79.png"/><Relationship Id="rId9" Type="http://schemas.openxmlformats.org/officeDocument/2006/relationships/image" Target="../media/image82.png"/><Relationship Id="rId1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svg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4.emf"/><Relationship Id="rId15" Type="http://schemas.openxmlformats.org/officeDocument/2006/relationships/image" Target="../media/image17.svg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6" Type="http://schemas.openxmlformats.org/officeDocument/2006/relationships/image" Target="../media/image8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2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Relationship Id="rId6" Type="http://schemas.openxmlformats.org/officeDocument/2006/relationships/image" Target="../media/image21.jpeg"/><Relationship Id="rId11" Type="http://schemas.openxmlformats.org/officeDocument/2006/relationships/image" Target="../media/image26.png"/><Relationship Id="rId5" Type="http://schemas.openxmlformats.org/officeDocument/2006/relationships/image" Target="../media/image4.emf"/><Relationship Id="rId10" Type="http://schemas.openxmlformats.org/officeDocument/2006/relationships/image" Target="../media/image25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4.jpe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5.svg"/><Relationship Id="rId18" Type="http://schemas.openxmlformats.org/officeDocument/2006/relationships/image" Target="../media/image40.png"/><Relationship Id="rId26" Type="http://schemas.openxmlformats.org/officeDocument/2006/relationships/image" Target="../media/image48.png"/><Relationship Id="rId39" Type="http://schemas.openxmlformats.org/officeDocument/2006/relationships/image" Target="../media/image60.png"/><Relationship Id="rId21" Type="http://schemas.openxmlformats.org/officeDocument/2006/relationships/image" Target="../media/image43.png"/><Relationship Id="rId34" Type="http://schemas.openxmlformats.org/officeDocument/2006/relationships/image" Target="../media/image55.png"/><Relationship Id="rId42" Type="http://schemas.openxmlformats.org/officeDocument/2006/relationships/image" Target="../media/image63.png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38.png"/><Relationship Id="rId29" Type="http://schemas.openxmlformats.org/officeDocument/2006/relationships/image" Target="../media/image51.png"/><Relationship Id="rId1" Type="http://schemas.openxmlformats.org/officeDocument/2006/relationships/tags" Target="../tags/tag16.xml"/><Relationship Id="rId6" Type="http://schemas.openxmlformats.org/officeDocument/2006/relationships/image" Target="../media/image28.png"/><Relationship Id="rId11" Type="http://schemas.openxmlformats.org/officeDocument/2006/relationships/image" Target="../media/image33.svg"/><Relationship Id="rId24" Type="http://schemas.openxmlformats.org/officeDocument/2006/relationships/image" Target="../media/image46.png"/><Relationship Id="rId32" Type="http://schemas.openxmlformats.org/officeDocument/2006/relationships/image" Target="../media/image53.png"/><Relationship Id="rId37" Type="http://schemas.openxmlformats.org/officeDocument/2006/relationships/image" Target="../media/image58.png"/><Relationship Id="rId40" Type="http://schemas.openxmlformats.org/officeDocument/2006/relationships/image" Target="../media/image61.png"/><Relationship Id="rId45" Type="http://schemas.openxmlformats.org/officeDocument/2006/relationships/image" Target="../media/image65.png"/><Relationship Id="rId5" Type="http://schemas.openxmlformats.org/officeDocument/2006/relationships/image" Target="../media/image27.emf"/><Relationship Id="rId15" Type="http://schemas.openxmlformats.org/officeDocument/2006/relationships/image" Target="../media/image37.svg"/><Relationship Id="rId23" Type="http://schemas.openxmlformats.org/officeDocument/2006/relationships/image" Target="../media/image45.png"/><Relationship Id="rId28" Type="http://schemas.openxmlformats.org/officeDocument/2006/relationships/image" Target="../media/image50.png"/><Relationship Id="rId36" Type="http://schemas.openxmlformats.org/officeDocument/2006/relationships/image" Target="../media/image57.png"/><Relationship Id="rId10" Type="http://schemas.openxmlformats.org/officeDocument/2006/relationships/image" Target="../media/image32.png"/><Relationship Id="rId19" Type="http://schemas.openxmlformats.org/officeDocument/2006/relationships/image" Target="../media/image41.svg"/><Relationship Id="rId31" Type="http://schemas.openxmlformats.org/officeDocument/2006/relationships/image" Target="../media/image52.png"/><Relationship Id="rId44" Type="http://schemas.openxmlformats.org/officeDocument/2006/relationships/image" Target="../media/image64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1.svg"/><Relationship Id="rId14" Type="http://schemas.openxmlformats.org/officeDocument/2006/relationships/image" Target="../media/image36.png"/><Relationship Id="rId22" Type="http://schemas.openxmlformats.org/officeDocument/2006/relationships/image" Target="../media/image44.png"/><Relationship Id="rId27" Type="http://schemas.openxmlformats.org/officeDocument/2006/relationships/image" Target="../media/image49.png"/><Relationship Id="rId30" Type="http://schemas.microsoft.com/office/2007/relationships/hdphoto" Target="../media/hdphoto1.wdp"/><Relationship Id="rId35" Type="http://schemas.openxmlformats.org/officeDocument/2006/relationships/image" Target="../media/image56.svg"/><Relationship Id="rId43" Type="http://schemas.microsoft.com/office/2007/relationships/hdphoto" Target="../media/hdphoto2.wdp"/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6.xml"/><Relationship Id="rId12" Type="http://schemas.openxmlformats.org/officeDocument/2006/relationships/image" Target="../media/image34.png"/><Relationship Id="rId17" Type="http://schemas.openxmlformats.org/officeDocument/2006/relationships/image" Target="../media/image39.svg"/><Relationship Id="rId25" Type="http://schemas.openxmlformats.org/officeDocument/2006/relationships/image" Target="../media/image47.png"/><Relationship Id="rId33" Type="http://schemas.openxmlformats.org/officeDocument/2006/relationships/image" Target="../media/image54.png"/><Relationship Id="rId38" Type="http://schemas.openxmlformats.org/officeDocument/2006/relationships/image" Target="../media/image59.png"/><Relationship Id="rId20" Type="http://schemas.openxmlformats.org/officeDocument/2006/relationships/image" Target="../media/image42.png"/><Relationship Id="rId41" Type="http://schemas.openxmlformats.org/officeDocument/2006/relationships/image" Target="../media/image6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.xml"/><Relationship Id="rId6" Type="http://schemas.openxmlformats.org/officeDocument/2006/relationships/image" Target="../media/image61.png"/><Relationship Id="rId5" Type="http://schemas.openxmlformats.org/officeDocument/2006/relationships/image" Target="../media/image66.emf"/><Relationship Id="rId4" Type="http://schemas.openxmlformats.org/officeDocument/2006/relationships/oleObject" Target="../embeddings/oleObject1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Relationship Id="rId5" Type="http://schemas.openxmlformats.org/officeDocument/2006/relationships/image" Target="../media/image66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FD16B4E-B41E-77F5-CD7C-7A9A894755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7284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D16B4E-B41E-77F5-CD7C-7A9A894755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9EBA1A4-5B07-3CB5-9A82-FEDF6C61A9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70316" y="3662467"/>
            <a:ext cx="6094392" cy="304699"/>
          </a:xfrm>
        </p:spPr>
        <p:txBody>
          <a:bodyPr vert="horz"/>
          <a:lstStyle/>
          <a:p>
            <a:r>
              <a:rPr lang="en-US" sz="2200" dirty="0">
                <a:solidFill>
                  <a:schemeClr val="tx1"/>
                </a:solidFill>
              </a:rPr>
              <a:t>Integration Practice Overview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540CD0B-9A1D-CA67-F619-4041F6521217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1970316" y="4059241"/>
            <a:ext cx="3897084" cy="403899"/>
          </a:xfrm>
          <a:noFill/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November 2025</a:t>
            </a:r>
          </a:p>
        </p:txBody>
      </p:sp>
      <p:pic>
        <p:nvPicPr>
          <p:cNvPr id="2" name="Picture 1" descr="A blue and yellow logo&#10;&#10;Description automatically generated">
            <a:extLst>
              <a:ext uri="{FF2B5EF4-FFF2-40B4-BE49-F238E27FC236}">
                <a16:creationId xmlns:a16="http://schemas.microsoft.com/office/drawing/2014/main" id="{AD70D392-0BE7-DD66-AB68-2F6CD3B32F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70316" y="2543792"/>
            <a:ext cx="2834640" cy="885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180832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4AFFD2-4F45-C184-1642-A2E669BE3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6CF7C0F-2C31-4BA9-78EB-764B613DA2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4652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CF7C0F-2C31-4BA9-78EB-764B613DA2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6F958B8-A454-C6B0-7F3E-6D15018342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0900496"/>
              </p:ext>
            </p:extLst>
          </p:nvPr>
        </p:nvGraphicFramePr>
        <p:xfrm>
          <a:off x="342985" y="863503"/>
          <a:ext cx="11506030" cy="5212081"/>
        </p:xfrm>
        <a:graphic>
          <a:graphicData uri="http://schemas.openxmlformats.org/drawingml/2006/table">
            <a:tbl>
              <a:tblPr/>
              <a:tblGrid>
                <a:gridCol w="219283">
                  <a:extLst>
                    <a:ext uri="{9D8B030D-6E8A-4147-A177-3AD203B41FA5}">
                      <a16:colId xmlns:a16="http://schemas.microsoft.com/office/drawing/2014/main" val="2497684602"/>
                    </a:ext>
                  </a:extLst>
                </a:gridCol>
                <a:gridCol w="1757310">
                  <a:extLst>
                    <a:ext uri="{9D8B030D-6E8A-4147-A177-3AD203B41FA5}">
                      <a16:colId xmlns:a16="http://schemas.microsoft.com/office/drawing/2014/main" val="3180924820"/>
                    </a:ext>
                  </a:extLst>
                </a:gridCol>
                <a:gridCol w="9529437">
                  <a:extLst>
                    <a:ext uri="{9D8B030D-6E8A-4147-A177-3AD203B41FA5}">
                      <a16:colId xmlns:a16="http://schemas.microsoft.com/office/drawing/2014/main" val="1142196540"/>
                    </a:ext>
                  </a:extLst>
                </a:gridCol>
              </a:tblGrid>
              <a:tr h="323698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2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T="64008" marB="6400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A96D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+mn-lt"/>
                        </a:rPr>
                        <a:t>Areas</a:t>
                      </a:r>
                      <a:endParaRPr lang="en-US" sz="12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T="64008" marB="64008" anchor="ctr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A96D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+mn-lt"/>
                        </a:rPr>
                        <a:t>Details</a:t>
                      </a:r>
                      <a:endParaRPr lang="en-US" sz="12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T="64008" marB="6400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A96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4343112"/>
                  </a:ext>
                </a:extLst>
              </a:tr>
              <a:tr h="83569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200" b="1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dirty="0">
                          <a:solidFill>
                            <a:schemeClr val="tx2"/>
                          </a:solidFill>
                          <a:latin typeface="+mn-lt"/>
                        </a:rPr>
                        <a:t>Strategic Planning</a:t>
                      </a:r>
                    </a:p>
                  </a:txBody>
                  <a:tcPr marL="420624" marR="54864" marT="27432" marB="27432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fine vision/objectives</a:t>
                      </a:r>
                      <a:r>
                        <a:rPr lang="en-US" sz="1100" b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et out the integration’s strategic intent (e.g., end-to-end observability, stronger customer growth) with measurable KPIs</a:t>
                      </a:r>
                    </a:p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nd up an integration team</a:t>
                      </a:r>
                      <a:r>
                        <a:rPr lang="en-US" sz="1100" b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orm an Integration Management Office with clear decision rights and leadership from both companies</a:t>
                      </a:r>
                    </a:p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velop an integration roadmap</a:t>
                      </a:r>
                      <a:r>
                        <a:rPr lang="en-US" sz="1100" b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Phase work into Day-1, 30/100-day, and 12-month milestones with clear accountability</a:t>
                      </a: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7056417"/>
                  </a:ext>
                </a:extLst>
              </a:tr>
              <a:tr h="512868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200" b="1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dirty="0">
                          <a:solidFill>
                            <a:schemeClr val="tx2"/>
                          </a:solidFill>
                          <a:latin typeface="+mn-lt"/>
                        </a:rPr>
                        <a:t>Cultural Integration</a:t>
                      </a:r>
                    </a:p>
                  </a:txBody>
                  <a:tcPr marL="420624" marR="54864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duct a cultural assessment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Understand similarities and differences in values and ways of working between two companies</a:t>
                      </a:r>
                    </a:p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ign leadership behaviors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sure executives model collaboration and reinforce the integration story</a:t>
                      </a: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878914"/>
                  </a:ext>
                </a:extLst>
              </a:tr>
              <a:tr h="4458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200" b="1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dirty="0">
                          <a:solidFill>
                            <a:schemeClr val="tx2"/>
                          </a:solidFill>
                          <a:latin typeface="+mn-lt"/>
                        </a:rPr>
                        <a:t>Human Resources</a:t>
                      </a:r>
                    </a:p>
                  </a:txBody>
                  <a:tcPr marL="420624" marR="54864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tention plan for critical talent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tect expertise/critical talent through targeted retention and career pathing</a:t>
                      </a:r>
                    </a:p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lan workforce needs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dentify overlaps and fill skill gaps</a:t>
                      </a: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384657"/>
                  </a:ext>
                </a:extLst>
              </a:tr>
              <a:tr h="4458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200" b="1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dirty="0">
                          <a:solidFill>
                            <a:schemeClr val="tx2"/>
                          </a:solidFill>
                          <a:latin typeface="+mn-lt"/>
                        </a:rPr>
                        <a:t>IT &amp; </a:t>
                      </a:r>
                      <a:br>
                        <a:rPr lang="en-US" sz="1100" b="1" dirty="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en-US" sz="1100" b="1" dirty="0">
                          <a:solidFill>
                            <a:schemeClr val="tx2"/>
                          </a:solidFill>
                          <a:latin typeface="+mn-lt"/>
                        </a:rPr>
                        <a:t>Technology</a:t>
                      </a:r>
                    </a:p>
                  </a:txBody>
                  <a:tcPr marL="420624" marR="54864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lan Day-1 readiness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uarantee secure access to email, systems, and data on close</a:t>
                      </a:r>
                    </a:p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dirty="0"/>
                        <a:t>Establish frameworks &amp; priorities</a:t>
                      </a:r>
                      <a:r>
                        <a:rPr lang="en-US" sz="1100" dirty="0"/>
                        <a:t>: Unified cybersecurity controls and audit points </a:t>
                      </a: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9477"/>
                  </a:ext>
                </a:extLst>
              </a:tr>
              <a:tr h="4458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200" b="1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dirty="0">
                          <a:solidFill>
                            <a:schemeClr val="tx2"/>
                          </a:solidFill>
                          <a:latin typeface="+mn-lt"/>
                        </a:rPr>
                        <a:t>Finance &amp; </a:t>
                      </a:r>
                      <a:br>
                        <a:rPr lang="en-US" sz="1100" b="1" dirty="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en-US" sz="1100" b="1" dirty="0">
                          <a:solidFill>
                            <a:schemeClr val="tx2"/>
                          </a:solidFill>
                          <a:latin typeface="+mn-lt"/>
                        </a:rPr>
                        <a:t>Legal</a:t>
                      </a: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20624" marR="54864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p out financial systems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lan billing, accounting, and reporting processes</a:t>
                      </a:r>
                    </a:p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velop tax and treasury strategy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timize cash management, capital structure, and global tax planning</a:t>
                      </a: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819688"/>
                  </a:ext>
                </a:extLst>
              </a:tr>
              <a:tr h="660091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200" b="1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dirty="0">
                          <a:solidFill>
                            <a:schemeClr val="tx2"/>
                          </a:solidFill>
                          <a:latin typeface="+mn-lt"/>
                        </a:rPr>
                        <a:t>Operations &amp; Customer</a:t>
                      </a: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20624" marR="54864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ign standardized processes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ate “to-be” core workflows in sales, procurement, and customer service</a:t>
                      </a:r>
                    </a:p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view supply chain &amp; facilities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dirty="0"/>
                        <a:t>Outline supply-chain optimization and facilities review</a:t>
                      </a: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ign customer onboarding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ild combined customer-onboarding playbooks</a:t>
                      </a: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3955659"/>
                  </a:ext>
                </a:extLst>
              </a:tr>
              <a:tr h="96893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200" b="1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dirty="0">
                          <a:solidFill>
                            <a:schemeClr val="tx2"/>
                          </a:solidFill>
                          <a:latin typeface="+mn-lt"/>
                        </a:rPr>
                        <a:t>Communication &amp; Stakeholders</a:t>
                      </a: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20624" marR="54864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velop a communications charter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fine purpose, guiding principles, and desired outcomes for integration communications</a:t>
                      </a:r>
                    </a:p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aft program-level messaging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stablish consistent messages on vision, priorities, and synergy goals for all stakeholders</a:t>
                      </a:r>
                    </a:p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ign media matrix &amp; work plan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p which audiences (employees, customers, partners) get which messages, through which channels, when</a:t>
                      </a:r>
                    </a:p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rchestrate pre-close communications</a:t>
                      </a:r>
                      <a:r>
                        <a:rPr lang="en-US" sz="1100" b="1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pare customer FAQs, employee welcome packs, and joint press/analyst briefings</a:t>
                      </a: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1538704"/>
                  </a:ext>
                </a:extLst>
              </a:tr>
              <a:tr h="57315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200" b="1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dirty="0">
                          <a:solidFill>
                            <a:schemeClr val="tx2"/>
                          </a:solidFill>
                          <a:latin typeface="+mn-lt"/>
                        </a:rPr>
                        <a:t>Day-1 &amp; </a:t>
                      </a:r>
                      <a:br>
                        <a:rPr lang="en-US" sz="1100" b="1" dirty="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en-US" sz="1100" b="1" dirty="0">
                          <a:solidFill>
                            <a:schemeClr val="tx2"/>
                          </a:solidFill>
                          <a:latin typeface="+mn-lt"/>
                        </a:rPr>
                        <a:t>Tracking</a:t>
                      </a: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20624" marR="54864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liver a Day-1 playbook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ver essentials (system access, payroll, welcome materials, FAQs) and ensure immediate customer reassurance</a:t>
                      </a:r>
                    </a:p>
                    <a:p>
                      <a:pPr marL="183600" indent="-18360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t KPIs and dashboards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Track cross-sell attach rates, customer retention, and time-to-resolution metrics</a:t>
                      </a: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9684278"/>
                  </a:ext>
                </a:extLst>
              </a:tr>
            </a:tbl>
          </a:graphicData>
        </a:graphic>
      </p:graphicFrame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1014E3E-A30A-3AEB-4774-B6B566934B43}"/>
              </a:ext>
            </a:extLst>
          </p:cNvPr>
          <p:cNvSpPr/>
          <p:nvPr/>
        </p:nvSpPr>
        <p:spPr>
          <a:xfrm>
            <a:off x="571688" y="1466416"/>
            <a:ext cx="233632" cy="256256"/>
          </a:xfrm>
          <a:custGeom>
            <a:avLst/>
            <a:gdLst>
              <a:gd name="connsiteX0" fmla="*/ 127212 w 694763"/>
              <a:gd name="connsiteY0" fmla="*/ 119769 h 762039"/>
              <a:gd name="connsiteX1" fmla="*/ 55960 w 694763"/>
              <a:gd name="connsiteY1" fmla="*/ 191021 h 762039"/>
              <a:gd name="connsiteX2" fmla="*/ 127212 w 694763"/>
              <a:gd name="connsiteY2" fmla="*/ 262272 h 762039"/>
              <a:gd name="connsiteX3" fmla="*/ 198463 w 694763"/>
              <a:gd name="connsiteY3" fmla="*/ 191021 h 762039"/>
              <a:gd name="connsiteX4" fmla="*/ 127212 w 694763"/>
              <a:gd name="connsiteY4" fmla="*/ 119769 h 762039"/>
              <a:gd name="connsiteX5" fmla="*/ 127212 w 694763"/>
              <a:gd name="connsiteY5" fmla="*/ 244080 h 762039"/>
              <a:gd name="connsiteX6" fmla="*/ 74154 w 694763"/>
              <a:gd name="connsiteY6" fmla="*/ 191023 h 762039"/>
              <a:gd name="connsiteX7" fmla="*/ 127212 w 694763"/>
              <a:gd name="connsiteY7" fmla="*/ 137965 h 762039"/>
              <a:gd name="connsiteX8" fmla="*/ 180269 w 694763"/>
              <a:gd name="connsiteY8" fmla="*/ 191023 h 762039"/>
              <a:gd name="connsiteX9" fmla="*/ 127212 w 694763"/>
              <a:gd name="connsiteY9" fmla="*/ 244080 h 762039"/>
              <a:gd name="connsiteX10" fmla="*/ 158503 w 694763"/>
              <a:gd name="connsiteY10" fmla="*/ 167210 h 762039"/>
              <a:gd name="connsiteX11" fmla="*/ 158503 w 694763"/>
              <a:gd name="connsiteY11" fmla="*/ 180084 h 762039"/>
              <a:gd name="connsiteX12" fmla="*/ 123715 w 694763"/>
              <a:gd name="connsiteY12" fmla="*/ 214872 h 762039"/>
              <a:gd name="connsiteX13" fmla="*/ 117278 w 694763"/>
              <a:gd name="connsiteY13" fmla="*/ 217551 h 762039"/>
              <a:gd name="connsiteX14" fmla="*/ 110841 w 694763"/>
              <a:gd name="connsiteY14" fmla="*/ 214872 h 762039"/>
              <a:gd name="connsiteX15" fmla="*/ 95921 w 694763"/>
              <a:gd name="connsiteY15" fmla="*/ 199952 h 762039"/>
              <a:gd name="connsiteX16" fmla="*/ 95921 w 694763"/>
              <a:gd name="connsiteY16" fmla="*/ 187078 h 762039"/>
              <a:gd name="connsiteX17" fmla="*/ 108795 w 694763"/>
              <a:gd name="connsiteY17" fmla="*/ 187078 h 762039"/>
              <a:gd name="connsiteX18" fmla="*/ 117278 w 694763"/>
              <a:gd name="connsiteY18" fmla="*/ 195561 h 762039"/>
              <a:gd name="connsiteX19" fmla="*/ 145631 w 694763"/>
              <a:gd name="connsiteY19" fmla="*/ 167209 h 762039"/>
              <a:gd name="connsiteX20" fmla="*/ 158505 w 694763"/>
              <a:gd name="connsiteY20" fmla="*/ 167209 h 762039"/>
              <a:gd name="connsiteX21" fmla="*/ 127212 w 694763"/>
              <a:gd name="connsiteY21" fmla="*/ 315295 h 762039"/>
              <a:gd name="connsiteX22" fmla="*/ 55960 w 694763"/>
              <a:gd name="connsiteY22" fmla="*/ 386547 h 762039"/>
              <a:gd name="connsiteX23" fmla="*/ 127212 w 694763"/>
              <a:gd name="connsiteY23" fmla="*/ 457799 h 762039"/>
              <a:gd name="connsiteX24" fmla="*/ 198463 w 694763"/>
              <a:gd name="connsiteY24" fmla="*/ 386547 h 762039"/>
              <a:gd name="connsiteX25" fmla="*/ 127212 w 694763"/>
              <a:gd name="connsiteY25" fmla="*/ 315295 h 762039"/>
              <a:gd name="connsiteX26" fmla="*/ 127212 w 694763"/>
              <a:gd name="connsiteY26" fmla="*/ 439606 h 762039"/>
              <a:gd name="connsiteX27" fmla="*/ 74154 w 694763"/>
              <a:gd name="connsiteY27" fmla="*/ 386549 h 762039"/>
              <a:gd name="connsiteX28" fmla="*/ 127212 w 694763"/>
              <a:gd name="connsiteY28" fmla="*/ 333492 h 762039"/>
              <a:gd name="connsiteX29" fmla="*/ 180269 w 694763"/>
              <a:gd name="connsiteY29" fmla="*/ 386549 h 762039"/>
              <a:gd name="connsiteX30" fmla="*/ 127212 w 694763"/>
              <a:gd name="connsiteY30" fmla="*/ 439606 h 762039"/>
              <a:gd name="connsiteX31" fmla="*/ 127212 w 694763"/>
              <a:gd name="connsiteY31" fmla="*/ 510821 h 762039"/>
              <a:gd name="connsiteX32" fmla="*/ 55960 w 694763"/>
              <a:gd name="connsiteY32" fmla="*/ 582072 h 762039"/>
              <a:gd name="connsiteX33" fmla="*/ 127212 w 694763"/>
              <a:gd name="connsiteY33" fmla="*/ 653324 h 762039"/>
              <a:gd name="connsiteX34" fmla="*/ 198463 w 694763"/>
              <a:gd name="connsiteY34" fmla="*/ 582072 h 762039"/>
              <a:gd name="connsiteX35" fmla="*/ 127212 w 694763"/>
              <a:gd name="connsiteY35" fmla="*/ 510821 h 762039"/>
              <a:gd name="connsiteX36" fmla="*/ 127212 w 694763"/>
              <a:gd name="connsiteY36" fmla="*/ 635131 h 762039"/>
              <a:gd name="connsiteX37" fmla="*/ 74154 w 694763"/>
              <a:gd name="connsiteY37" fmla="*/ 582074 h 762039"/>
              <a:gd name="connsiteX38" fmla="*/ 127212 w 694763"/>
              <a:gd name="connsiteY38" fmla="*/ 529017 h 762039"/>
              <a:gd name="connsiteX39" fmla="*/ 180269 w 694763"/>
              <a:gd name="connsiteY39" fmla="*/ 582074 h 762039"/>
              <a:gd name="connsiteX40" fmla="*/ 127212 w 694763"/>
              <a:gd name="connsiteY40" fmla="*/ 635131 h 762039"/>
              <a:gd name="connsiteX41" fmla="*/ 158503 w 694763"/>
              <a:gd name="connsiteY41" fmla="*/ 362735 h 762039"/>
              <a:gd name="connsiteX42" fmla="*/ 158503 w 694763"/>
              <a:gd name="connsiteY42" fmla="*/ 375609 h 762039"/>
              <a:gd name="connsiteX43" fmla="*/ 123715 w 694763"/>
              <a:gd name="connsiteY43" fmla="*/ 410398 h 762039"/>
              <a:gd name="connsiteX44" fmla="*/ 117278 w 694763"/>
              <a:gd name="connsiteY44" fmla="*/ 413077 h 762039"/>
              <a:gd name="connsiteX45" fmla="*/ 110841 w 694763"/>
              <a:gd name="connsiteY45" fmla="*/ 410398 h 762039"/>
              <a:gd name="connsiteX46" fmla="*/ 95921 w 694763"/>
              <a:gd name="connsiteY46" fmla="*/ 395478 h 762039"/>
              <a:gd name="connsiteX47" fmla="*/ 95921 w 694763"/>
              <a:gd name="connsiteY47" fmla="*/ 382604 h 762039"/>
              <a:gd name="connsiteX48" fmla="*/ 108795 w 694763"/>
              <a:gd name="connsiteY48" fmla="*/ 382604 h 762039"/>
              <a:gd name="connsiteX49" fmla="*/ 117278 w 694763"/>
              <a:gd name="connsiteY49" fmla="*/ 391087 h 762039"/>
              <a:gd name="connsiteX50" fmla="*/ 145631 w 694763"/>
              <a:gd name="connsiteY50" fmla="*/ 362735 h 762039"/>
              <a:gd name="connsiteX51" fmla="*/ 158505 w 694763"/>
              <a:gd name="connsiteY51" fmla="*/ 362735 h 762039"/>
              <a:gd name="connsiteX52" fmla="*/ 152699 w 694763"/>
              <a:gd name="connsiteY52" fmla="*/ 569457 h 762039"/>
              <a:gd name="connsiteX53" fmla="*/ 140086 w 694763"/>
              <a:gd name="connsiteY53" fmla="*/ 582070 h 762039"/>
              <a:gd name="connsiteX54" fmla="*/ 152699 w 694763"/>
              <a:gd name="connsiteY54" fmla="*/ 594683 h 762039"/>
              <a:gd name="connsiteX55" fmla="*/ 152699 w 694763"/>
              <a:gd name="connsiteY55" fmla="*/ 607557 h 762039"/>
              <a:gd name="connsiteX56" fmla="*/ 146262 w 694763"/>
              <a:gd name="connsiteY56" fmla="*/ 610235 h 762039"/>
              <a:gd name="connsiteX57" fmla="*/ 139825 w 694763"/>
              <a:gd name="connsiteY57" fmla="*/ 607557 h 762039"/>
              <a:gd name="connsiteX58" fmla="*/ 127212 w 694763"/>
              <a:gd name="connsiteY58" fmla="*/ 594944 h 762039"/>
              <a:gd name="connsiteX59" fmla="*/ 114599 w 694763"/>
              <a:gd name="connsiteY59" fmla="*/ 607557 h 762039"/>
              <a:gd name="connsiteX60" fmla="*/ 108162 w 694763"/>
              <a:gd name="connsiteY60" fmla="*/ 610235 h 762039"/>
              <a:gd name="connsiteX61" fmla="*/ 101725 w 694763"/>
              <a:gd name="connsiteY61" fmla="*/ 607557 h 762039"/>
              <a:gd name="connsiteX62" fmla="*/ 101725 w 694763"/>
              <a:gd name="connsiteY62" fmla="*/ 594683 h 762039"/>
              <a:gd name="connsiteX63" fmla="*/ 114339 w 694763"/>
              <a:gd name="connsiteY63" fmla="*/ 582070 h 762039"/>
              <a:gd name="connsiteX64" fmla="*/ 101725 w 694763"/>
              <a:gd name="connsiteY64" fmla="*/ 569457 h 762039"/>
              <a:gd name="connsiteX65" fmla="*/ 101725 w 694763"/>
              <a:gd name="connsiteY65" fmla="*/ 556583 h 762039"/>
              <a:gd name="connsiteX66" fmla="*/ 114599 w 694763"/>
              <a:gd name="connsiteY66" fmla="*/ 556583 h 762039"/>
              <a:gd name="connsiteX67" fmla="*/ 127212 w 694763"/>
              <a:gd name="connsiteY67" fmla="*/ 569196 h 762039"/>
              <a:gd name="connsiteX68" fmla="*/ 139826 w 694763"/>
              <a:gd name="connsiteY68" fmla="*/ 556583 h 762039"/>
              <a:gd name="connsiteX69" fmla="*/ 152699 w 694763"/>
              <a:gd name="connsiteY69" fmla="*/ 556583 h 762039"/>
              <a:gd name="connsiteX70" fmla="*/ 152699 w 694763"/>
              <a:gd name="connsiteY70" fmla="*/ 569457 h 762039"/>
              <a:gd name="connsiteX71" fmla="*/ 246051 w 694763"/>
              <a:gd name="connsiteY71" fmla="*/ 163939 h 762039"/>
              <a:gd name="connsiteX72" fmla="*/ 255167 w 694763"/>
              <a:gd name="connsiteY72" fmla="*/ 154823 h 762039"/>
              <a:gd name="connsiteX73" fmla="*/ 427808 w 694763"/>
              <a:gd name="connsiteY73" fmla="*/ 154823 h 762039"/>
              <a:gd name="connsiteX74" fmla="*/ 436923 w 694763"/>
              <a:gd name="connsiteY74" fmla="*/ 163939 h 762039"/>
              <a:gd name="connsiteX75" fmla="*/ 427808 w 694763"/>
              <a:gd name="connsiteY75" fmla="*/ 173055 h 762039"/>
              <a:gd name="connsiteX76" fmla="*/ 255167 w 694763"/>
              <a:gd name="connsiteY76" fmla="*/ 173055 h 762039"/>
              <a:gd name="connsiteX77" fmla="*/ 246051 w 694763"/>
              <a:gd name="connsiteY77" fmla="*/ 163939 h 762039"/>
              <a:gd name="connsiteX78" fmla="*/ 246051 w 694763"/>
              <a:gd name="connsiteY78" fmla="*/ 218187 h 762039"/>
              <a:gd name="connsiteX79" fmla="*/ 255167 w 694763"/>
              <a:gd name="connsiteY79" fmla="*/ 209071 h 762039"/>
              <a:gd name="connsiteX80" fmla="*/ 389374 w 694763"/>
              <a:gd name="connsiteY80" fmla="*/ 209071 h 762039"/>
              <a:gd name="connsiteX81" fmla="*/ 398490 w 694763"/>
              <a:gd name="connsiteY81" fmla="*/ 218187 h 762039"/>
              <a:gd name="connsiteX82" fmla="*/ 389374 w 694763"/>
              <a:gd name="connsiteY82" fmla="*/ 227303 h 762039"/>
              <a:gd name="connsiteX83" fmla="*/ 255167 w 694763"/>
              <a:gd name="connsiteY83" fmla="*/ 227303 h 762039"/>
              <a:gd name="connsiteX84" fmla="*/ 246051 w 694763"/>
              <a:gd name="connsiteY84" fmla="*/ 218187 h 762039"/>
              <a:gd name="connsiteX85" fmla="*/ 246051 w 694763"/>
              <a:gd name="connsiteY85" fmla="*/ 359462 h 762039"/>
              <a:gd name="connsiteX86" fmla="*/ 255167 w 694763"/>
              <a:gd name="connsiteY86" fmla="*/ 350346 h 762039"/>
              <a:gd name="connsiteX87" fmla="*/ 427808 w 694763"/>
              <a:gd name="connsiteY87" fmla="*/ 350346 h 762039"/>
              <a:gd name="connsiteX88" fmla="*/ 436923 w 694763"/>
              <a:gd name="connsiteY88" fmla="*/ 359462 h 762039"/>
              <a:gd name="connsiteX89" fmla="*/ 427808 w 694763"/>
              <a:gd name="connsiteY89" fmla="*/ 368577 h 762039"/>
              <a:gd name="connsiteX90" fmla="*/ 255167 w 694763"/>
              <a:gd name="connsiteY90" fmla="*/ 368577 h 762039"/>
              <a:gd name="connsiteX91" fmla="*/ 246051 w 694763"/>
              <a:gd name="connsiteY91" fmla="*/ 359462 h 762039"/>
              <a:gd name="connsiteX92" fmla="*/ 246051 w 694763"/>
              <a:gd name="connsiteY92" fmla="*/ 413709 h 762039"/>
              <a:gd name="connsiteX93" fmla="*/ 255167 w 694763"/>
              <a:gd name="connsiteY93" fmla="*/ 404594 h 762039"/>
              <a:gd name="connsiteX94" fmla="*/ 389374 w 694763"/>
              <a:gd name="connsiteY94" fmla="*/ 404594 h 762039"/>
              <a:gd name="connsiteX95" fmla="*/ 398490 w 694763"/>
              <a:gd name="connsiteY95" fmla="*/ 413709 h 762039"/>
              <a:gd name="connsiteX96" fmla="*/ 389374 w 694763"/>
              <a:gd name="connsiteY96" fmla="*/ 422825 h 762039"/>
              <a:gd name="connsiteX97" fmla="*/ 255167 w 694763"/>
              <a:gd name="connsiteY97" fmla="*/ 422825 h 762039"/>
              <a:gd name="connsiteX98" fmla="*/ 246051 w 694763"/>
              <a:gd name="connsiteY98" fmla="*/ 413709 h 762039"/>
              <a:gd name="connsiteX99" fmla="*/ 246051 w 694763"/>
              <a:gd name="connsiteY99" fmla="*/ 554984 h 762039"/>
              <a:gd name="connsiteX100" fmla="*/ 255167 w 694763"/>
              <a:gd name="connsiteY100" fmla="*/ 545869 h 762039"/>
              <a:gd name="connsiteX101" fmla="*/ 427808 w 694763"/>
              <a:gd name="connsiteY101" fmla="*/ 545869 h 762039"/>
              <a:gd name="connsiteX102" fmla="*/ 436923 w 694763"/>
              <a:gd name="connsiteY102" fmla="*/ 554984 h 762039"/>
              <a:gd name="connsiteX103" fmla="*/ 427808 w 694763"/>
              <a:gd name="connsiteY103" fmla="*/ 564100 h 762039"/>
              <a:gd name="connsiteX104" fmla="*/ 255167 w 694763"/>
              <a:gd name="connsiteY104" fmla="*/ 564100 h 762039"/>
              <a:gd name="connsiteX105" fmla="*/ 246051 w 694763"/>
              <a:gd name="connsiteY105" fmla="*/ 554984 h 762039"/>
              <a:gd name="connsiteX106" fmla="*/ 398489 w 694763"/>
              <a:gd name="connsiteY106" fmla="*/ 609232 h 762039"/>
              <a:gd name="connsiteX107" fmla="*/ 389374 w 694763"/>
              <a:gd name="connsiteY107" fmla="*/ 618348 h 762039"/>
              <a:gd name="connsiteX108" fmla="*/ 255167 w 694763"/>
              <a:gd name="connsiteY108" fmla="*/ 618348 h 762039"/>
              <a:gd name="connsiteX109" fmla="*/ 246051 w 694763"/>
              <a:gd name="connsiteY109" fmla="*/ 609232 h 762039"/>
              <a:gd name="connsiteX110" fmla="*/ 255167 w 694763"/>
              <a:gd name="connsiteY110" fmla="*/ 600116 h 762039"/>
              <a:gd name="connsiteX111" fmla="*/ 389374 w 694763"/>
              <a:gd name="connsiteY111" fmla="*/ 600116 h 762039"/>
              <a:gd name="connsiteX112" fmla="*/ 398489 w 694763"/>
              <a:gd name="connsiteY112" fmla="*/ 609232 h 762039"/>
              <a:gd name="connsiteX113" fmla="*/ 685649 w 694763"/>
              <a:gd name="connsiteY113" fmla="*/ 691645 h 762039"/>
              <a:gd name="connsiteX114" fmla="*/ 681891 w 694763"/>
              <a:gd name="connsiteY114" fmla="*/ 691645 h 762039"/>
              <a:gd name="connsiteX115" fmla="*/ 681891 w 694763"/>
              <a:gd name="connsiteY115" fmla="*/ 648597 h 762039"/>
              <a:gd name="connsiteX116" fmla="*/ 672776 w 694763"/>
              <a:gd name="connsiteY116" fmla="*/ 639481 h 762039"/>
              <a:gd name="connsiteX117" fmla="*/ 657075 w 694763"/>
              <a:gd name="connsiteY117" fmla="*/ 639481 h 762039"/>
              <a:gd name="connsiteX118" fmla="*/ 644536 w 694763"/>
              <a:gd name="connsiteY118" fmla="*/ 560863 h 762039"/>
              <a:gd name="connsiteX119" fmla="*/ 667902 w 694763"/>
              <a:gd name="connsiteY119" fmla="*/ 403919 h 762039"/>
              <a:gd name="connsiteX120" fmla="*/ 666637 w 694763"/>
              <a:gd name="connsiteY120" fmla="*/ 397780 h 762039"/>
              <a:gd name="connsiteX121" fmla="*/ 614286 w 694763"/>
              <a:gd name="connsiteY121" fmla="*/ 313581 h 762039"/>
              <a:gd name="connsiteX122" fmla="*/ 610193 w 694763"/>
              <a:gd name="connsiteY122" fmla="*/ 251966 h 762039"/>
              <a:gd name="connsiteX123" fmla="*/ 610156 w 694763"/>
              <a:gd name="connsiteY123" fmla="*/ 251854 h 762039"/>
              <a:gd name="connsiteX124" fmla="*/ 610082 w 694763"/>
              <a:gd name="connsiteY124" fmla="*/ 251333 h 762039"/>
              <a:gd name="connsiteX125" fmla="*/ 610007 w 694763"/>
              <a:gd name="connsiteY125" fmla="*/ 250961 h 762039"/>
              <a:gd name="connsiteX126" fmla="*/ 609896 w 694763"/>
              <a:gd name="connsiteY126" fmla="*/ 250478 h 762039"/>
              <a:gd name="connsiteX127" fmla="*/ 609784 w 694763"/>
              <a:gd name="connsiteY127" fmla="*/ 250105 h 762039"/>
              <a:gd name="connsiteX128" fmla="*/ 609635 w 694763"/>
              <a:gd name="connsiteY128" fmla="*/ 249659 h 762039"/>
              <a:gd name="connsiteX129" fmla="*/ 609487 w 694763"/>
              <a:gd name="connsiteY129" fmla="*/ 249250 h 762039"/>
              <a:gd name="connsiteX130" fmla="*/ 609300 w 694763"/>
              <a:gd name="connsiteY130" fmla="*/ 248878 h 762039"/>
              <a:gd name="connsiteX131" fmla="*/ 609114 w 694763"/>
              <a:gd name="connsiteY131" fmla="*/ 248431 h 762039"/>
              <a:gd name="connsiteX132" fmla="*/ 608928 w 694763"/>
              <a:gd name="connsiteY132" fmla="*/ 248096 h 762039"/>
              <a:gd name="connsiteX133" fmla="*/ 608668 w 694763"/>
              <a:gd name="connsiteY133" fmla="*/ 247650 h 762039"/>
              <a:gd name="connsiteX134" fmla="*/ 608445 w 694763"/>
              <a:gd name="connsiteY134" fmla="*/ 247315 h 762039"/>
              <a:gd name="connsiteX135" fmla="*/ 608147 w 694763"/>
              <a:gd name="connsiteY135" fmla="*/ 246906 h 762039"/>
              <a:gd name="connsiteX136" fmla="*/ 608073 w 694763"/>
              <a:gd name="connsiteY136" fmla="*/ 246794 h 762039"/>
              <a:gd name="connsiteX137" fmla="*/ 607887 w 694763"/>
              <a:gd name="connsiteY137" fmla="*/ 246571 h 762039"/>
              <a:gd name="connsiteX138" fmla="*/ 607589 w 694763"/>
              <a:gd name="connsiteY138" fmla="*/ 246236 h 762039"/>
              <a:gd name="connsiteX139" fmla="*/ 607217 w 694763"/>
              <a:gd name="connsiteY139" fmla="*/ 245864 h 762039"/>
              <a:gd name="connsiteX140" fmla="*/ 606956 w 694763"/>
              <a:gd name="connsiteY140" fmla="*/ 245641 h 762039"/>
              <a:gd name="connsiteX141" fmla="*/ 606473 w 694763"/>
              <a:gd name="connsiteY141" fmla="*/ 245269 h 762039"/>
              <a:gd name="connsiteX142" fmla="*/ 606249 w 694763"/>
              <a:gd name="connsiteY142" fmla="*/ 245120 h 762039"/>
              <a:gd name="connsiteX143" fmla="*/ 605729 w 694763"/>
              <a:gd name="connsiteY143" fmla="*/ 244785 h 762039"/>
              <a:gd name="connsiteX144" fmla="*/ 605505 w 694763"/>
              <a:gd name="connsiteY144" fmla="*/ 244673 h 762039"/>
              <a:gd name="connsiteX145" fmla="*/ 604947 w 694763"/>
              <a:gd name="connsiteY145" fmla="*/ 244376 h 762039"/>
              <a:gd name="connsiteX146" fmla="*/ 604687 w 694763"/>
              <a:gd name="connsiteY146" fmla="*/ 244264 h 762039"/>
              <a:gd name="connsiteX147" fmla="*/ 604166 w 694763"/>
              <a:gd name="connsiteY147" fmla="*/ 244041 h 762039"/>
              <a:gd name="connsiteX148" fmla="*/ 603868 w 694763"/>
              <a:gd name="connsiteY148" fmla="*/ 243929 h 762039"/>
              <a:gd name="connsiteX149" fmla="*/ 603347 w 694763"/>
              <a:gd name="connsiteY149" fmla="*/ 243780 h 762039"/>
              <a:gd name="connsiteX150" fmla="*/ 602975 w 694763"/>
              <a:gd name="connsiteY150" fmla="*/ 243706 h 762039"/>
              <a:gd name="connsiteX151" fmla="*/ 602492 w 694763"/>
              <a:gd name="connsiteY151" fmla="*/ 243594 h 762039"/>
              <a:gd name="connsiteX152" fmla="*/ 602120 w 694763"/>
              <a:gd name="connsiteY152" fmla="*/ 243520 h 762039"/>
              <a:gd name="connsiteX153" fmla="*/ 601636 w 694763"/>
              <a:gd name="connsiteY153" fmla="*/ 243483 h 762039"/>
              <a:gd name="connsiteX154" fmla="*/ 601227 w 694763"/>
              <a:gd name="connsiteY154" fmla="*/ 243445 h 762039"/>
              <a:gd name="connsiteX155" fmla="*/ 600706 w 694763"/>
              <a:gd name="connsiteY155" fmla="*/ 243445 h 762039"/>
              <a:gd name="connsiteX156" fmla="*/ 600445 w 694763"/>
              <a:gd name="connsiteY156" fmla="*/ 243445 h 762039"/>
              <a:gd name="connsiteX157" fmla="*/ 600296 w 694763"/>
              <a:gd name="connsiteY157" fmla="*/ 243483 h 762039"/>
              <a:gd name="connsiteX158" fmla="*/ 599813 w 694763"/>
              <a:gd name="connsiteY158" fmla="*/ 243557 h 762039"/>
              <a:gd name="connsiteX159" fmla="*/ 599403 w 694763"/>
              <a:gd name="connsiteY159" fmla="*/ 243631 h 762039"/>
              <a:gd name="connsiteX160" fmla="*/ 598957 w 694763"/>
              <a:gd name="connsiteY160" fmla="*/ 243743 h 762039"/>
              <a:gd name="connsiteX161" fmla="*/ 598510 w 694763"/>
              <a:gd name="connsiteY161" fmla="*/ 243855 h 762039"/>
              <a:gd name="connsiteX162" fmla="*/ 598101 w 694763"/>
              <a:gd name="connsiteY162" fmla="*/ 244003 h 762039"/>
              <a:gd name="connsiteX163" fmla="*/ 597655 w 694763"/>
              <a:gd name="connsiteY163" fmla="*/ 244152 h 762039"/>
              <a:gd name="connsiteX164" fmla="*/ 597320 w 694763"/>
              <a:gd name="connsiteY164" fmla="*/ 244301 h 762039"/>
              <a:gd name="connsiteX165" fmla="*/ 596836 w 694763"/>
              <a:gd name="connsiteY165" fmla="*/ 244524 h 762039"/>
              <a:gd name="connsiteX166" fmla="*/ 596538 w 694763"/>
              <a:gd name="connsiteY166" fmla="*/ 244710 h 762039"/>
              <a:gd name="connsiteX167" fmla="*/ 596055 w 694763"/>
              <a:gd name="connsiteY167" fmla="*/ 245008 h 762039"/>
              <a:gd name="connsiteX168" fmla="*/ 595757 w 694763"/>
              <a:gd name="connsiteY168" fmla="*/ 245194 h 762039"/>
              <a:gd name="connsiteX169" fmla="*/ 595311 w 694763"/>
              <a:gd name="connsiteY169" fmla="*/ 245529 h 762039"/>
              <a:gd name="connsiteX170" fmla="*/ 595199 w 694763"/>
              <a:gd name="connsiteY170" fmla="*/ 245603 h 762039"/>
              <a:gd name="connsiteX171" fmla="*/ 560559 w 694763"/>
              <a:gd name="connsiteY171" fmla="*/ 274216 h 762039"/>
              <a:gd name="connsiteX172" fmla="*/ 560597 w 694763"/>
              <a:gd name="connsiteY172" fmla="*/ 9116 h 762039"/>
              <a:gd name="connsiteX173" fmla="*/ 551481 w 694763"/>
              <a:gd name="connsiteY173" fmla="*/ 0 h 762039"/>
              <a:gd name="connsiteX174" fmla="*/ 76907 w 694763"/>
              <a:gd name="connsiteY174" fmla="*/ 0 h 762039"/>
              <a:gd name="connsiteX175" fmla="*/ 67792 w 694763"/>
              <a:gd name="connsiteY175" fmla="*/ 9116 h 762039"/>
              <a:gd name="connsiteX176" fmla="*/ 67792 w 694763"/>
              <a:gd name="connsiteY176" fmla="*/ 63289 h 762039"/>
              <a:gd name="connsiteX177" fmla="*/ 9116 w 694763"/>
              <a:gd name="connsiteY177" fmla="*/ 63289 h 762039"/>
              <a:gd name="connsiteX178" fmla="*/ 0 w 694763"/>
              <a:gd name="connsiteY178" fmla="*/ 72405 h 762039"/>
              <a:gd name="connsiteX179" fmla="*/ 0 w 694763"/>
              <a:gd name="connsiteY179" fmla="*/ 700760 h 762039"/>
              <a:gd name="connsiteX180" fmla="*/ 9116 w 694763"/>
              <a:gd name="connsiteY180" fmla="*/ 709875 h 762039"/>
              <a:gd name="connsiteX181" fmla="*/ 417310 w 694763"/>
              <a:gd name="connsiteY181" fmla="*/ 709875 h 762039"/>
              <a:gd name="connsiteX182" fmla="*/ 417310 w 694763"/>
              <a:gd name="connsiteY182" fmla="*/ 752924 h 762039"/>
              <a:gd name="connsiteX183" fmla="*/ 426425 w 694763"/>
              <a:gd name="connsiteY183" fmla="*/ 762039 h 762039"/>
              <a:gd name="connsiteX184" fmla="*/ 685648 w 694763"/>
              <a:gd name="connsiteY184" fmla="*/ 762039 h 762039"/>
              <a:gd name="connsiteX185" fmla="*/ 694764 w 694763"/>
              <a:gd name="connsiteY185" fmla="*/ 752924 h 762039"/>
              <a:gd name="connsiteX186" fmla="*/ 694764 w 694763"/>
              <a:gd name="connsiteY186" fmla="*/ 700759 h 762039"/>
              <a:gd name="connsiteX187" fmla="*/ 685648 w 694763"/>
              <a:gd name="connsiteY187" fmla="*/ 691643 h 762039"/>
              <a:gd name="connsiteX188" fmla="*/ 663697 w 694763"/>
              <a:gd name="connsiteY188" fmla="*/ 691645 h 762039"/>
              <a:gd name="connsiteX189" fmla="*/ 448384 w 694763"/>
              <a:gd name="connsiteY189" fmla="*/ 691645 h 762039"/>
              <a:gd name="connsiteX190" fmla="*/ 448384 w 694763"/>
              <a:gd name="connsiteY190" fmla="*/ 657712 h 762039"/>
              <a:gd name="connsiteX191" fmla="*/ 462820 w 694763"/>
              <a:gd name="connsiteY191" fmla="*/ 657712 h 762039"/>
              <a:gd name="connsiteX192" fmla="*/ 462858 w 694763"/>
              <a:gd name="connsiteY192" fmla="*/ 657712 h 762039"/>
              <a:gd name="connsiteX193" fmla="*/ 663702 w 694763"/>
              <a:gd name="connsiteY193" fmla="*/ 657712 h 762039"/>
              <a:gd name="connsiteX194" fmla="*/ 649409 w 694763"/>
              <a:gd name="connsiteY194" fmla="*/ 404552 h 762039"/>
              <a:gd name="connsiteX195" fmla="*/ 626341 w 694763"/>
              <a:gd name="connsiteY195" fmla="*/ 559552 h 762039"/>
              <a:gd name="connsiteX196" fmla="*/ 626378 w 694763"/>
              <a:gd name="connsiteY196" fmla="*/ 562306 h 762039"/>
              <a:gd name="connsiteX197" fmla="*/ 638694 w 694763"/>
              <a:gd name="connsiteY197" fmla="*/ 639436 h 762039"/>
              <a:gd name="connsiteX198" fmla="*/ 471187 w 694763"/>
              <a:gd name="connsiteY198" fmla="*/ 639436 h 762039"/>
              <a:gd name="connsiteX199" fmla="*/ 466871 w 694763"/>
              <a:gd name="connsiteY199" fmla="*/ 593412 h 762039"/>
              <a:gd name="connsiteX200" fmla="*/ 517957 w 694763"/>
              <a:gd name="connsiteY200" fmla="*/ 492285 h 762039"/>
              <a:gd name="connsiteX201" fmla="*/ 538494 w 694763"/>
              <a:gd name="connsiteY201" fmla="*/ 498424 h 762039"/>
              <a:gd name="connsiteX202" fmla="*/ 541099 w 694763"/>
              <a:gd name="connsiteY202" fmla="*/ 498796 h 762039"/>
              <a:gd name="connsiteX203" fmla="*/ 548466 w 694763"/>
              <a:gd name="connsiteY203" fmla="*/ 495038 h 762039"/>
              <a:gd name="connsiteX204" fmla="*/ 582734 w 694763"/>
              <a:gd name="connsiteY204" fmla="*/ 447599 h 762039"/>
              <a:gd name="connsiteX205" fmla="*/ 580688 w 694763"/>
              <a:gd name="connsiteY205" fmla="*/ 434874 h 762039"/>
              <a:gd name="connsiteX206" fmla="*/ 567963 w 694763"/>
              <a:gd name="connsiteY206" fmla="*/ 436921 h 762039"/>
              <a:gd name="connsiteX207" fmla="*/ 537491 w 694763"/>
              <a:gd name="connsiteY207" fmla="*/ 479113 h 762039"/>
              <a:gd name="connsiteX208" fmla="*/ 488006 w 694763"/>
              <a:gd name="connsiteY208" fmla="*/ 464342 h 762039"/>
              <a:gd name="connsiteX209" fmla="*/ 481978 w 694763"/>
              <a:gd name="connsiteY209" fmla="*/ 464640 h 762039"/>
              <a:gd name="connsiteX210" fmla="*/ 444027 w 694763"/>
              <a:gd name="connsiteY210" fmla="*/ 480118 h 762039"/>
              <a:gd name="connsiteX211" fmla="*/ 417647 w 694763"/>
              <a:gd name="connsiteY211" fmla="*/ 473644 h 762039"/>
              <a:gd name="connsiteX212" fmla="*/ 440790 w 694763"/>
              <a:gd name="connsiteY212" fmla="*/ 396774 h 762039"/>
              <a:gd name="connsiteX213" fmla="*/ 489569 w 694763"/>
              <a:gd name="connsiteY213" fmla="*/ 356479 h 762039"/>
              <a:gd name="connsiteX214" fmla="*/ 489606 w 694763"/>
              <a:gd name="connsiteY214" fmla="*/ 356441 h 762039"/>
              <a:gd name="connsiteX215" fmla="*/ 557397 w 694763"/>
              <a:gd name="connsiteY215" fmla="*/ 300482 h 762039"/>
              <a:gd name="connsiteX216" fmla="*/ 593227 w 694763"/>
              <a:gd name="connsiteY216" fmla="*/ 270902 h 762039"/>
              <a:gd name="connsiteX217" fmla="*/ 596316 w 694763"/>
              <a:gd name="connsiteY217" fmla="*/ 317077 h 762039"/>
              <a:gd name="connsiteX218" fmla="*/ 597655 w 694763"/>
              <a:gd name="connsiteY218" fmla="*/ 321281 h 762039"/>
              <a:gd name="connsiteX219" fmla="*/ 649447 w 694763"/>
              <a:gd name="connsiteY219" fmla="*/ 404550 h 762039"/>
              <a:gd name="connsiteX220" fmla="*/ 86025 w 694763"/>
              <a:gd name="connsiteY220" fmla="*/ 18199 h 762039"/>
              <a:gd name="connsiteX221" fmla="*/ 542444 w 694763"/>
              <a:gd name="connsiteY221" fmla="*/ 18199 h 762039"/>
              <a:gd name="connsiteX222" fmla="*/ 542444 w 694763"/>
              <a:gd name="connsiteY222" fmla="*/ 289138 h 762039"/>
              <a:gd name="connsiteX223" fmla="*/ 492847 w 694763"/>
              <a:gd name="connsiteY223" fmla="*/ 330103 h 762039"/>
              <a:gd name="connsiteX224" fmla="*/ 492847 w 694763"/>
              <a:gd name="connsiteY224" fmla="*/ 72366 h 762039"/>
              <a:gd name="connsiteX225" fmla="*/ 483731 w 694763"/>
              <a:gd name="connsiteY225" fmla="*/ 63250 h 762039"/>
              <a:gd name="connsiteX226" fmla="*/ 86024 w 694763"/>
              <a:gd name="connsiteY226" fmla="*/ 63287 h 762039"/>
              <a:gd name="connsiteX227" fmla="*/ 18233 w 694763"/>
              <a:gd name="connsiteY227" fmla="*/ 81488 h 762039"/>
              <a:gd name="connsiteX228" fmla="*/ 474652 w 694763"/>
              <a:gd name="connsiteY228" fmla="*/ 81488 h 762039"/>
              <a:gd name="connsiteX229" fmla="*/ 474652 w 694763"/>
              <a:gd name="connsiteY229" fmla="*/ 345140 h 762039"/>
              <a:gd name="connsiteX230" fmla="*/ 427027 w 694763"/>
              <a:gd name="connsiteY230" fmla="*/ 384468 h 762039"/>
              <a:gd name="connsiteX231" fmla="*/ 424088 w 694763"/>
              <a:gd name="connsiteY231" fmla="*/ 388858 h 762039"/>
              <a:gd name="connsiteX232" fmla="*/ 397373 w 694763"/>
              <a:gd name="connsiteY232" fmla="*/ 477560 h 762039"/>
              <a:gd name="connsiteX233" fmla="*/ 397299 w 694763"/>
              <a:gd name="connsiteY233" fmla="*/ 477783 h 762039"/>
              <a:gd name="connsiteX234" fmla="*/ 397224 w 694763"/>
              <a:gd name="connsiteY234" fmla="*/ 478006 h 762039"/>
              <a:gd name="connsiteX235" fmla="*/ 397187 w 694763"/>
              <a:gd name="connsiteY235" fmla="*/ 478229 h 762039"/>
              <a:gd name="connsiteX236" fmla="*/ 397076 w 694763"/>
              <a:gd name="connsiteY236" fmla="*/ 478713 h 762039"/>
              <a:gd name="connsiteX237" fmla="*/ 397001 w 694763"/>
              <a:gd name="connsiteY237" fmla="*/ 479122 h 762039"/>
              <a:gd name="connsiteX238" fmla="*/ 396964 w 694763"/>
              <a:gd name="connsiteY238" fmla="*/ 479606 h 762039"/>
              <a:gd name="connsiteX239" fmla="*/ 396927 w 694763"/>
              <a:gd name="connsiteY239" fmla="*/ 480015 h 762039"/>
              <a:gd name="connsiteX240" fmla="*/ 396927 w 694763"/>
              <a:gd name="connsiteY240" fmla="*/ 480499 h 762039"/>
              <a:gd name="connsiteX241" fmla="*/ 396964 w 694763"/>
              <a:gd name="connsiteY241" fmla="*/ 480946 h 762039"/>
              <a:gd name="connsiteX242" fmla="*/ 397001 w 694763"/>
              <a:gd name="connsiteY242" fmla="*/ 481392 h 762039"/>
              <a:gd name="connsiteX243" fmla="*/ 397076 w 694763"/>
              <a:gd name="connsiteY243" fmla="*/ 481839 h 762039"/>
              <a:gd name="connsiteX244" fmla="*/ 397187 w 694763"/>
              <a:gd name="connsiteY244" fmla="*/ 482285 h 762039"/>
              <a:gd name="connsiteX245" fmla="*/ 397299 w 694763"/>
              <a:gd name="connsiteY245" fmla="*/ 482731 h 762039"/>
              <a:gd name="connsiteX246" fmla="*/ 397448 w 694763"/>
              <a:gd name="connsiteY246" fmla="*/ 483141 h 762039"/>
              <a:gd name="connsiteX247" fmla="*/ 397596 w 694763"/>
              <a:gd name="connsiteY247" fmla="*/ 483550 h 762039"/>
              <a:gd name="connsiteX248" fmla="*/ 397783 w 694763"/>
              <a:gd name="connsiteY248" fmla="*/ 483959 h 762039"/>
              <a:gd name="connsiteX249" fmla="*/ 397969 w 694763"/>
              <a:gd name="connsiteY249" fmla="*/ 484331 h 762039"/>
              <a:gd name="connsiteX250" fmla="*/ 398192 w 694763"/>
              <a:gd name="connsiteY250" fmla="*/ 484703 h 762039"/>
              <a:gd name="connsiteX251" fmla="*/ 398415 w 694763"/>
              <a:gd name="connsiteY251" fmla="*/ 485076 h 762039"/>
              <a:gd name="connsiteX252" fmla="*/ 398675 w 694763"/>
              <a:gd name="connsiteY252" fmla="*/ 485448 h 762039"/>
              <a:gd name="connsiteX253" fmla="*/ 398936 w 694763"/>
              <a:gd name="connsiteY253" fmla="*/ 485782 h 762039"/>
              <a:gd name="connsiteX254" fmla="*/ 399234 w 694763"/>
              <a:gd name="connsiteY254" fmla="*/ 486155 h 762039"/>
              <a:gd name="connsiteX255" fmla="*/ 399494 w 694763"/>
              <a:gd name="connsiteY255" fmla="*/ 486452 h 762039"/>
              <a:gd name="connsiteX256" fmla="*/ 399829 w 694763"/>
              <a:gd name="connsiteY256" fmla="*/ 486787 h 762039"/>
              <a:gd name="connsiteX257" fmla="*/ 400127 w 694763"/>
              <a:gd name="connsiteY257" fmla="*/ 487085 h 762039"/>
              <a:gd name="connsiteX258" fmla="*/ 400461 w 694763"/>
              <a:gd name="connsiteY258" fmla="*/ 487382 h 762039"/>
              <a:gd name="connsiteX259" fmla="*/ 400796 w 694763"/>
              <a:gd name="connsiteY259" fmla="*/ 487643 h 762039"/>
              <a:gd name="connsiteX260" fmla="*/ 401168 w 694763"/>
              <a:gd name="connsiteY260" fmla="*/ 487903 h 762039"/>
              <a:gd name="connsiteX261" fmla="*/ 401540 w 694763"/>
              <a:gd name="connsiteY261" fmla="*/ 488126 h 762039"/>
              <a:gd name="connsiteX262" fmla="*/ 401912 w 694763"/>
              <a:gd name="connsiteY262" fmla="*/ 488350 h 762039"/>
              <a:gd name="connsiteX263" fmla="*/ 402359 w 694763"/>
              <a:gd name="connsiteY263" fmla="*/ 488536 h 762039"/>
              <a:gd name="connsiteX264" fmla="*/ 402768 w 694763"/>
              <a:gd name="connsiteY264" fmla="*/ 488722 h 762039"/>
              <a:gd name="connsiteX265" fmla="*/ 403215 w 694763"/>
              <a:gd name="connsiteY265" fmla="*/ 488871 h 762039"/>
              <a:gd name="connsiteX266" fmla="*/ 403438 w 694763"/>
              <a:gd name="connsiteY266" fmla="*/ 488945 h 762039"/>
              <a:gd name="connsiteX267" fmla="*/ 403587 w 694763"/>
              <a:gd name="connsiteY267" fmla="*/ 488982 h 762039"/>
              <a:gd name="connsiteX268" fmla="*/ 403884 w 694763"/>
              <a:gd name="connsiteY268" fmla="*/ 489057 h 762039"/>
              <a:gd name="connsiteX269" fmla="*/ 442468 w 694763"/>
              <a:gd name="connsiteY269" fmla="*/ 498544 h 762039"/>
              <a:gd name="connsiteX270" fmla="*/ 448087 w 694763"/>
              <a:gd name="connsiteY270" fmla="*/ 498135 h 762039"/>
              <a:gd name="connsiteX271" fmla="*/ 485814 w 694763"/>
              <a:gd name="connsiteY271" fmla="*/ 482731 h 762039"/>
              <a:gd name="connsiteX272" fmla="*/ 500139 w 694763"/>
              <a:gd name="connsiteY272" fmla="*/ 487010 h 762039"/>
              <a:gd name="connsiteX273" fmla="*/ 449351 w 694763"/>
              <a:gd name="connsiteY273" fmla="*/ 587546 h 762039"/>
              <a:gd name="connsiteX274" fmla="*/ 448421 w 694763"/>
              <a:gd name="connsiteY274" fmla="*/ 592495 h 762039"/>
              <a:gd name="connsiteX275" fmla="*/ 452812 w 694763"/>
              <a:gd name="connsiteY275" fmla="*/ 639450 h 762039"/>
              <a:gd name="connsiteX276" fmla="*/ 439231 w 694763"/>
              <a:gd name="connsiteY276" fmla="*/ 639450 h 762039"/>
              <a:gd name="connsiteX277" fmla="*/ 430115 w 694763"/>
              <a:gd name="connsiteY277" fmla="*/ 648566 h 762039"/>
              <a:gd name="connsiteX278" fmla="*/ 430115 w 694763"/>
              <a:gd name="connsiteY278" fmla="*/ 691614 h 762039"/>
              <a:gd name="connsiteX279" fmla="*/ 426357 w 694763"/>
              <a:gd name="connsiteY279" fmla="*/ 691614 h 762039"/>
              <a:gd name="connsiteX280" fmla="*/ 426320 w 694763"/>
              <a:gd name="connsiteY280" fmla="*/ 691614 h 762039"/>
              <a:gd name="connsiteX281" fmla="*/ 18193 w 694763"/>
              <a:gd name="connsiteY281" fmla="*/ 691614 h 762039"/>
              <a:gd name="connsiteX282" fmla="*/ 18193 w 694763"/>
              <a:gd name="connsiteY282" fmla="*/ 81490 h 762039"/>
              <a:gd name="connsiteX283" fmla="*/ 676535 w 694763"/>
              <a:gd name="connsiteY283" fmla="*/ 743771 h 762039"/>
              <a:gd name="connsiteX284" fmla="*/ 435505 w 694763"/>
              <a:gd name="connsiteY284" fmla="*/ 743771 h 762039"/>
              <a:gd name="connsiteX285" fmla="*/ 435505 w 694763"/>
              <a:gd name="connsiteY285" fmla="*/ 709838 h 762039"/>
              <a:gd name="connsiteX286" fmla="*/ 483725 w 694763"/>
              <a:gd name="connsiteY286" fmla="*/ 709838 h 762039"/>
              <a:gd name="connsiteX287" fmla="*/ 483762 w 694763"/>
              <a:gd name="connsiteY287" fmla="*/ 709838 h 762039"/>
              <a:gd name="connsiteX288" fmla="*/ 676529 w 694763"/>
              <a:gd name="connsiteY288" fmla="*/ 709838 h 762039"/>
              <a:gd name="connsiteX289" fmla="*/ 676529 w 694763"/>
              <a:gd name="connsiteY289" fmla="*/ 743808 h 762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</a:cxnLst>
            <a:rect l="l" t="t" r="r" b="b"/>
            <a:pathLst>
              <a:path w="694763" h="762039">
                <a:moveTo>
                  <a:pt x="127212" y="119769"/>
                </a:moveTo>
                <a:cubicBezTo>
                  <a:pt x="87921" y="119769"/>
                  <a:pt x="55960" y="151730"/>
                  <a:pt x="55960" y="191021"/>
                </a:cubicBezTo>
                <a:cubicBezTo>
                  <a:pt x="55960" y="230311"/>
                  <a:pt x="87921" y="262272"/>
                  <a:pt x="127212" y="262272"/>
                </a:cubicBezTo>
                <a:cubicBezTo>
                  <a:pt x="166502" y="262272"/>
                  <a:pt x="198463" y="230311"/>
                  <a:pt x="198463" y="191021"/>
                </a:cubicBezTo>
                <a:cubicBezTo>
                  <a:pt x="198463" y="151730"/>
                  <a:pt x="166502" y="119769"/>
                  <a:pt x="127212" y="119769"/>
                </a:cubicBezTo>
                <a:close/>
                <a:moveTo>
                  <a:pt x="127212" y="244080"/>
                </a:moveTo>
                <a:cubicBezTo>
                  <a:pt x="97967" y="244080"/>
                  <a:pt x="74154" y="220304"/>
                  <a:pt x="74154" y="191023"/>
                </a:cubicBezTo>
                <a:cubicBezTo>
                  <a:pt x="74154" y="161778"/>
                  <a:pt x="97930" y="137965"/>
                  <a:pt x="127212" y="137965"/>
                </a:cubicBezTo>
                <a:cubicBezTo>
                  <a:pt x="156456" y="137965"/>
                  <a:pt x="180269" y="161741"/>
                  <a:pt x="180269" y="191023"/>
                </a:cubicBezTo>
                <a:cubicBezTo>
                  <a:pt x="180269" y="220267"/>
                  <a:pt x="156493" y="244080"/>
                  <a:pt x="127212" y="244080"/>
                </a:cubicBezTo>
                <a:close/>
                <a:moveTo>
                  <a:pt x="158503" y="167210"/>
                </a:moveTo>
                <a:cubicBezTo>
                  <a:pt x="162038" y="170745"/>
                  <a:pt x="162038" y="176549"/>
                  <a:pt x="158503" y="180084"/>
                </a:cubicBezTo>
                <a:lnTo>
                  <a:pt x="123715" y="214872"/>
                </a:lnTo>
                <a:cubicBezTo>
                  <a:pt x="121929" y="216658"/>
                  <a:pt x="119622" y="217551"/>
                  <a:pt x="117278" y="217551"/>
                </a:cubicBezTo>
                <a:cubicBezTo>
                  <a:pt x="114934" y="217551"/>
                  <a:pt x="112627" y="216658"/>
                  <a:pt x="110841" y="214872"/>
                </a:cubicBezTo>
                <a:lnTo>
                  <a:pt x="95921" y="199952"/>
                </a:lnTo>
                <a:cubicBezTo>
                  <a:pt x="92387" y="196418"/>
                  <a:pt x="92387" y="190613"/>
                  <a:pt x="95921" y="187078"/>
                </a:cubicBezTo>
                <a:cubicBezTo>
                  <a:pt x="99493" y="183544"/>
                  <a:pt x="105260" y="183544"/>
                  <a:pt x="108795" y="187078"/>
                </a:cubicBezTo>
                <a:lnTo>
                  <a:pt x="117278" y="195561"/>
                </a:lnTo>
                <a:lnTo>
                  <a:pt x="145631" y="167209"/>
                </a:lnTo>
                <a:cubicBezTo>
                  <a:pt x="149202" y="163675"/>
                  <a:pt x="154970" y="163675"/>
                  <a:pt x="158505" y="167209"/>
                </a:cubicBezTo>
                <a:close/>
                <a:moveTo>
                  <a:pt x="127212" y="315295"/>
                </a:moveTo>
                <a:cubicBezTo>
                  <a:pt x="87921" y="315295"/>
                  <a:pt x="55960" y="347256"/>
                  <a:pt x="55960" y="386547"/>
                </a:cubicBezTo>
                <a:cubicBezTo>
                  <a:pt x="55960" y="425838"/>
                  <a:pt x="87921" y="457799"/>
                  <a:pt x="127212" y="457799"/>
                </a:cubicBezTo>
                <a:cubicBezTo>
                  <a:pt x="166502" y="457799"/>
                  <a:pt x="198463" y="425838"/>
                  <a:pt x="198463" y="386547"/>
                </a:cubicBezTo>
                <a:cubicBezTo>
                  <a:pt x="198463" y="347256"/>
                  <a:pt x="166502" y="315295"/>
                  <a:pt x="127212" y="315295"/>
                </a:cubicBezTo>
                <a:close/>
                <a:moveTo>
                  <a:pt x="127212" y="439606"/>
                </a:moveTo>
                <a:cubicBezTo>
                  <a:pt x="97967" y="439606"/>
                  <a:pt x="74154" y="415831"/>
                  <a:pt x="74154" y="386549"/>
                </a:cubicBezTo>
                <a:cubicBezTo>
                  <a:pt x="74154" y="357304"/>
                  <a:pt x="97930" y="333492"/>
                  <a:pt x="127212" y="333492"/>
                </a:cubicBezTo>
                <a:cubicBezTo>
                  <a:pt x="156456" y="333492"/>
                  <a:pt x="180269" y="357267"/>
                  <a:pt x="180269" y="386549"/>
                </a:cubicBezTo>
                <a:cubicBezTo>
                  <a:pt x="180269" y="415793"/>
                  <a:pt x="156493" y="439606"/>
                  <a:pt x="127212" y="439606"/>
                </a:cubicBezTo>
                <a:close/>
                <a:moveTo>
                  <a:pt x="127212" y="510821"/>
                </a:moveTo>
                <a:cubicBezTo>
                  <a:pt x="87921" y="510821"/>
                  <a:pt x="55960" y="542782"/>
                  <a:pt x="55960" y="582072"/>
                </a:cubicBezTo>
                <a:cubicBezTo>
                  <a:pt x="55960" y="621363"/>
                  <a:pt x="87921" y="653324"/>
                  <a:pt x="127212" y="653324"/>
                </a:cubicBezTo>
                <a:cubicBezTo>
                  <a:pt x="166502" y="653324"/>
                  <a:pt x="198463" y="621363"/>
                  <a:pt x="198463" y="582072"/>
                </a:cubicBezTo>
                <a:cubicBezTo>
                  <a:pt x="198463" y="542782"/>
                  <a:pt x="166502" y="510821"/>
                  <a:pt x="127212" y="510821"/>
                </a:cubicBezTo>
                <a:close/>
                <a:moveTo>
                  <a:pt x="127212" y="635131"/>
                </a:moveTo>
                <a:cubicBezTo>
                  <a:pt x="97967" y="635131"/>
                  <a:pt x="74154" y="611356"/>
                  <a:pt x="74154" y="582074"/>
                </a:cubicBezTo>
                <a:cubicBezTo>
                  <a:pt x="74154" y="552830"/>
                  <a:pt x="97930" y="529017"/>
                  <a:pt x="127212" y="529017"/>
                </a:cubicBezTo>
                <a:cubicBezTo>
                  <a:pt x="156456" y="529017"/>
                  <a:pt x="180269" y="552793"/>
                  <a:pt x="180269" y="582074"/>
                </a:cubicBezTo>
                <a:cubicBezTo>
                  <a:pt x="180269" y="611319"/>
                  <a:pt x="156493" y="635131"/>
                  <a:pt x="127212" y="635131"/>
                </a:cubicBezTo>
                <a:close/>
                <a:moveTo>
                  <a:pt x="158503" y="362735"/>
                </a:moveTo>
                <a:cubicBezTo>
                  <a:pt x="162038" y="366270"/>
                  <a:pt x="162038" y="372074"/>
                  <a:pt x="158503" y="375609"/>
                </a:cubicBezTo>
                <a:lnTo>
                  <a:pt x="123715" y="410398"/>
                </a:lnTo>
                <a:cubicBezTo>
                  <a:pt x="121929" y="412184"/>
                  <a:pt x="119622" y="413077"/>
                  <a:pt x="117278" y="413077"/>
                </a:cubicBezTo>
                <a:cubicBezTo>
                  <a:pt x="114934" y="413077"/>
                  <a:pt x="112627" y="412184"/>
                  <a:pt x="110841" y="410398"/>
                </a:cubicBezTo>
                <a:lnTo>
                  <a:pt x="95921" y="395478"/>
                </a:lnTo>
                <a:cubicBezTo>
                  <a:pt x="92387" y="391943"/>
                  <a:pt x="92387" y="386139"/>
                  <a:pt x="95921" y="382604"/>
                </a:cubicBezTo>
                <a:cubicBezTo>
                  <a:pt x="99456" y="379069"/>
                  <a:pt x="105260" y="379069"/>
                  <a:pt x="108795" y="382604"/>
                </a:cubicBezTo>
                <a:lnTo>
                  <a:pt x="117278" y="391087"/>
                </a:lnTo>
                <a:lnTo>
                  <a:pt x="145631" y="362735"/>
                </a:lnTo>
                <a:cubicBezTo>
                  <a:pt x="149202" y="359200"/>
                  <a:pt x="154970" y="359200"/>
                  <a:pt x="158505" y="362735"/>
                </a:cubicBezTo>
                <a:close/>
                <a:moveTo>
                  <a:pt x="152699" y="569457"/>
                </a:moveTo>
                <a:lnTo>
                  <a:pt x="140086" y="582070"/>
                </a:lnTo>
                <a:lnTo>
                  <a:pt x="152699" y="594683"/>
                </a:lnTo>
                <a:cubicBezTo>
                  <a:pt x="156233" y="598217"/>
                  <a:pt x="156233" y="604022"/>
                  <a:pt x="152699" y="607557"/>
                </a:cubicBezTo>
                <a:cubicBezTo>
                  <a:pt x="150913" y="609342"/>
                  <a:pt x="148606" y="610235"/>
                  <a:pt x="146262" y="610235"/>
                </a:cubicBezTo>
                <a:cubicBezTo>
                  <a:pt x="143918" y="610235"/>
                  <a:pt x="141611" y="609342"/>
                  <a:pt x="139825" y="607557"/>
                </a:cubicBezTo>
                <a:lnTo>
                  <a:pt x="127212" y="594944"/>
                </a:lnTo>
                <a:lnTo>
                  <a:pt x="114599" y="607557"/>
                </a:lnTo>
                <a:cubicBezTo>
                  <a:pt x="112813" y="609342"/>
                  <a:pt x="110506" y="610235"/>
                  <a:pt x="108162" y="610235"/>
                </a:cubicBezTo>
                <a:cubicBezTo>
                  <a:pt x="105818" y="610235"/>
                  <a:pt x="103511" y="609342"/>
                  <a:pt x="101725" y="607557"/>
                </a:cubicBezTo>
                <a:cubicBezTo>
                  <a:pt x="98191" y="604022"/>
                  <a:pt x="98191" y="598218"/>
                  <a:pt x="101725" y="594683"/>
                </a:cubicBezTo>
                <a:lnTo>
                  <a:pt x="114339" y="582070"/>
                </a:lnTo>
                <a:lnTo>
                  <a:pt x="101725" y="569457"/>
                </a:lnTo>
                <a:cubicBezTo>
                  <a:pt x="98191" y="565922"/>
                  <a:pt x="98191" y="560118"/>
                  <a:pt x="101725" y="556583"/>
                </a:cubicBezTo>
                <a:cubicBezTo>
                  <a:pt x="105297" y="553048"/>
                  <a:pt x="111064" y="553048"/>
                  <a:pt x="114599" y="556583"/>
                </a:cubicBezTo>
                <a:lnTo>
                  <a:pt x="127212" y="569196"/>
                </a:lnTo>
                <a:lnTo>
                  <a:pt x="139826" y="556583"/>
                </a:lnTo>
                <a:cubicBezTo>
                  <a:pt x="143397" y="553048"/>
                  <a:pt x="149164" y="553048"/>
                  <a:pt x="152699" y="556583"/>
                </a:cubicBezTo>
                <a:cubicBezTo>
                  <a:pt x="156235" y="560117"/>
                  <a:pt x="156234" y="565922"/>
                  <a:pt x="152699" y="569457"/>
                </a:cubicBezTo>
                <a:close/>
                <a:moveTo>
                  <a:pt x="246051" y="163939"/>
                </a:moveTo>
                <a:cubicBezTo>
                  <a:pt x="246051" y="158916"/>
                  <a:pt x="250144" y="154823"/>
                  <a:pt x="255167" y="154823"/>
                </a:cubicBezTo>
                <a:lnTo>
                  <a:pt x="427808" y="154823"/>
                </a:lnTo>
                <a:cubicBezTo>
                  <a:pt x="432831" y="154823"/>
                  <a:pt x="436923" y="158916"/>
                  <a:pt x="436923" y="163939"/>
                </a:cubicBezTo>
                <a:cubicBezTo>
                  <a:pt x="436923" y="168962"/>
                  <a:pt x="432831" y="173055"/>
                  <a:pt x="427808" y="173055"/>
                </a:cubicBezTo>
                <a:lnTo>
                  <a:pt x="255167" y="173055"/>
                </a:lnTo>
                <a:cubicBezTo>
                  <a:pt x="250144" y="173055"/>
                  <a:pt x="246051" y="168962"/>
                  <a:pt x="246051" y="163939"/>
                </a:cubicBezTo>
                <a:close/>
                <a:moveTo>
                  <a:pt x="246051" y="218187"/>
                </a:moveTo>
                <a:cubicBezTo>
                  <a:pt x="246051" y="213164"/>
                  <a:pt x="250144" y="209071"/>
                  <a:pt x="255167" y="209071"/>
                </a:cubicBezTo>
                <a:lnTo>
                  <a:pt x="389374" y="209071"/>
                </a:lnTo>
                <a:cubicBezTo>
                  <a:pt x="394397" y="209071"/>
                  <a:pt x="398490" y="213164"/>
                  <a:pt x="398490" y="218187"/>
                </a:cubicBezTo>
                <a:cubicBezTo>
                  <a:pt x="398490" y="223210"/>
                  <a:pt x="394397" y="227303"/>
                  <a:pt x="389374" y="227303"/>
                </a:cubicBezTo>
                <a:lnTo>
                  <a:pt x="255167" y="227303"/>
                </a:lnTo>
                <a:cubicBezTo>
                  <a:pt x="250144" y="227303"/>
                  <a:pt x="246051" y="223210"/>
                  <a:pt x="246051" y="218187"/>
                </a:cubicBezTo>
                <a:close/>
                <a:moveTo>
                  <a:pt x="246051" y="359462"/>
                </a:moveTo>
                <a:cubicBezTo>
                  <a:pt x="246051" y="354439"/>
                  <a:pt x="250144" y="350346"/>
                  <a:pt x="255167" y="350346"/>
                </a:cubicBezTo>
                <a:lnTo>
                  <a:pt x="427808" y="350346"/>
                </a:lnTo>
                <a:cubicBezTo>
                  <a:pt x="432831" y="350346"/>
                  <a:pt x="436923" y="354439"/>
                  <a:pt x="436923" y="359462"/>
                </a:cubicBezTo>
                <a:cubicBezTo>
                  <a:pt x="436923" y="364485"/>
                  <a:pt x="432831" y="368577"/>
                  <a:pt x="427808" y="368577"/>
                </a:cubicBezTo>
                <a:lnTo>
                  <a:pt x="255167" y="368577"/>
                </a:lnTo>
                <a:cubicBezTo>
                  <a:pt x="250144" y="368577"/>
                  <a:pt x="246051" y="364485"/>
                  <a:pt x="246051" y="359462"/>
                </a:cubicBezTo>
                <a:close/>
                <a:moveTo>
                  <a:pt x="246051" y="413709"/>
                </a:moveTo>
                <a:cubicBezTo>
                  <a:pt x="246051" y="408687"/>
                  <a:pt x="250144" y="404594"/>
                  <a:pt x="255167" y="404594"/>
                </a:cubicBezTo>
                <a:lnTo>
                  <a:pt x="389374" y="404594"/>
                </a:lnTo>
                <a:cubicBezTo>
                  <a:pt x="394397" y="404594"/>
                  <a:pt x="398490" y="408687"/>
                  <a:pt x="398490" y="413709"/>
                </a:cubicBezTo>
                <a:cubicBezTo>
                  <a:pt x="398490" y="418732"/>
                  <a:pt x="394397" y="422825"/>
                  <a:pt x="389374" y="422825"/>
                </a:cubicBezTo>
                <a:lnTo>
                  <a:pt x="255167" y="422825"/>
                </a:lnTo>
                <a:cubicBezTo>
                  <a:pt x="250144" y="422825"/>
                  <a:pt x="246051" y="418732"/>
                  <a:pt x="246051" y="413709"/>
                </a:cubicBezTo>
                <a:close/>
                <a:moveTo>
                  <a:pt x="246051" y="554984"/>
                </a:moveTo>
                <a:cubicBezTo>
                  <a:pt x="246051" y="549961"/>
                  <a:pt x="250144" y="545869"/>
                  <a:pt x="255167" y="545869"/>
                </a:cubicBezTo>
                <a:lnTo>
                  <a:pt x="427808" y="545869"/>
                </a:lnTo>
                <a:cubicBezTo>
                  <a:pt x="432831" y="545869"/>
                  <a:pt x="436923" y="549961"/>
                  <a:pt x="436923" y="554984"/>
                </a:cubicBezTo>
                <a:cubicBezTo>
                  <a:pt x="436923" y="560007"/>
                  <a:pt x="432831" y="564100"/>
                  <a:pt x="427808" y="564100"/>
                </a:cubicBezTo>
                <a:lnTo>
                  <a:pt x="255167" y="564100"/>
                </a:lnTo>
                <a:cubicBezTo>
                  <a:pt x="250144" y="564100"/>
                  <a:pt x="246051" y="560007"/>
                  <a:pt x="246051" y="554984"/>
                </a:cubicBezTo>
                <a:close/>
                <a:moveTo>
                  <a:pt x="398489" y="609232"/>
                </a:moveTo>
                <a:cubicBezTo>
                  <a:pt x="398489" y="614255"/>
                  <a:pt x="394397" y="618348"/>
                  <a:pt x="389374" y="618348"/>
                </a:cubicBezTo>
                <a:lnTo>
                  <a:pt x="255167" y="618348"/>
                </a:lnTo>
                <a:cubicBezTo>
                  <a:pt x="250144" y="618348"/>
                  <a:pt x="246051" y="614255"/>
                  <a:pt x="246051" y="609232"/>
                </a:cubicBezTo>
                <a:cubicBezTo>
                  <a:pt x="246051" y="604209"/>
                  <a:pt x="250144" y="600116"/>
                  <a:pt x="255167" y="600116"/>
                </a:cubicBezTo>
                <a:lnTo>
                  <a:pt x="389374" y="600116"/>
                </a:lnTo>
                <a:cubicBezTo>
                  <a:pt x="394397" y="600116"/>
                  <a:pt x="398489" y="604209"/>
                  <a:pt x="398489" y="609232"/>
                </a:cubicBezTo>
                <a:close/>
                <a:moveTo>
                  <a:pt x="685649" y="691645"/>
                </a:moveTo>
                <a:lnTo>
                  <a:pt x="681891" y="691645"/>
                </a:lnTo>
                <a:lnTo>
                  <a:pt x="681891" y="648597"/>
                </a:lnTo>
                <a:cubicBezTo>
                  <a:pt x="681891" y="643574"/>
                  <a:pt x="677798" y="639481"/>
                  <a:pt x="672776" y="639481"/>
                </a:cubicBezTo>
                <a:lnTo>
                  <a:pt x="657075" y="639481"/>
                </a:lnTo>
                <a:lnTo>
                  <a:pt x="644536" y="560863"/>
                </a:lnTo>
                <a:lnTo>
                  <a:pt x="667902" y="403919"/>
                </a:lnTo>
                <a:cubicBezTo>
                  <a:pt x="668199" y="401799"/>
                  <a:pt x="667753" y="399603"/>
                  <a:pt x="666637" y="397780"/>
                </a:cubicBezTo>
                <a:lnTo>
                  <a:pt x="614286" y="313581"/>
                </a:lnTo>
                <a:lnTo>
                  <a:pt x="610193" y="251966"/>
                </a:lnTo>
                <a:cubicBezTo>
                  <a:pt x="610193" y="251966"/>
                  <a:pt x="610193" y="251891"/>
                  <a:pt x="610156" y="251854"/>
                </a:cubicBezTo>
                <a:cubicBezTo>
                  <a:pt x="610156" y="251668"/>
                  <a:pt x="610119" y="251519"/>
                  <a:pt x="610082" y="251333"/>
                </a:cubicBezTo>
                <a:cubicBezTo>
                  <a:pt x="610045" y="251222"/>
                  <a:pt x="610045" y="251073"/>
                  <a:pt x="610007" y="250961"/>
                </a:cubicBezTo>
                <a:cubicBezTo>
                  <a:pt x="609970" y="250812"/>
                  <a:pt x="609933" y="250626"/>
                  <a:pt x="609896" y="250478"/>
                </a:cubicBezTo>
                <a:cubicBezTo>
                  <a:pt x="609859" y="250329"/>
                  <a:pt x="609821" y="250217"/>
                  <a:pt x="609784" y="250105"/>
                </a:cubicBezTo>
                <a:cubicBezTo>
                  <a:pt x="609747" y="249957"/>
                  <a:pt x="609673" y="249808"/>
                  <a:pt x="609635" y="249659"/>
                </a:cubicBezTo>
                <a:cubicBezTo>
                  <a:pt x="609598" y="249510"/>
                  <a:pt x="609561" y="249399"/>
                  <a:pt x="609487" y="249250"/>
                </a:cubicBezTo>
                <a:cubicBezTo>
                  <a:pt x="609412" y="249101"/>
                  <a:pt x="609375" y="248989"/>
                  <a:pt x="609300" y="248878"/>
                </a:cubicBezTo>
                <a:cubicBezTo>
                  <a:pt x="609226" y="248729"/>
                  <a:pt x="609189" y="248580"/>
                  <a:pt x="609114" y="248431"/>
                </a:cubicBezTo>
                <a:cubicBezTo>
                  <a:pt x="609040" y="248319"/>
                  <a:pt x="608966" y="248208"/>
                  <a:pt x="608928" y="248096"/>
                </a:cubicBezTo>
                <a:cubicBezTo>
                  <a:pt x="608854" y="247947"/>
                  <a:pt x="608780" y="247799"/>
                  <a:pt x="608668" y="247650"/>
                </a:cubicBezTo>
                <a:cubicBezTo>
                  <a:pt x="608594" y="247538"/>
                  <a:pt x="608519" y="247427"/>
                  <a:pt x="608445" y="247315"/>
                </a:cubicBezTo>
                <a:cubicBezTo>
                  <a:pt x="608333" y="247166"/>
                  <a:pt x="608259" y="247054"/>
                  <a:pt x="608147" y="246906"/>
                </a:cubicBezTo>
                <a:cubicBezTo>
                  <a:pt x="608110" y="246868"/>
                  <a:pt x="608073" y="246831"/>
                  <a:pt x="608073" y="246794"/>
                </a:cubicBezTo>
                <a:cubicBezTo>
                  <a:pt x="607998" y="246720"/>
                  <a:pt x="607924" y="246645"/>
                  <a:pt x="607887" y="246571"/>
                </a:cubicBezTo>
                <a:cubicBezTo>
                  <a:pt x="607775" y="246459"/>
                  <a:pt x="607701" y="246347"/>
                  <a:pt x="607589" y="246236"/>
                </a:cubicBezTo>
                <a:lnTo>
                  <a:pt x="607217" y="245864"/>
                </a:lnTo>
                <a:cubicBezTo>
                  <a:pt x="607142" y="245789"/>
                  <a:pt x="607068" y="245715"/>
                  <a:pt x="606956" y="245641"/>
                </a:cubicBezTo>
                <a:cubicBezTo>
                  <a:pt x="606808" y="245492"/>
                  <a:pt x="606659" y="245380"/>
                  <a:pt x="606473" y="245269"/>
                </a:cubicBezTo>
                <a:cubicBezTo>
                  <a:pt x="606398" y="245194"/>
                  <a:pt x="606324" y="245157"/>
                  <a:pt x="606249" y="245120"/>
                </a:cubicBezTo>
                <a:cubicBezTo>
                  <a:pt x="606063" y="245008"/>
                  <a:pt x="605915" y="244896"/>
                  <a:pt x="605729" y="244785"/>
                </a:cubicBezTo>
                <a:cubicBezTo>
                  <a:pt x="605654" y="244748"/>
                  <a:pt x="605580" y="244710"/>
                  <a:pt x="605505" y="244673"/>
                </a:cubicBezTo>
                <a:cubicBezTo>
                  <a:pt x="605319" y="244562"/>
                  <a:pt x="605133" y="244487"/>
                  <a:pt x="604947" y="244376"/>
                </a:cubicBezTo>
                <a:cubicBezTo>
                  <a:pt x="604873" y="244338"/>
                  <a:pt x="604761" y="244301"/>
                  <a:pt x="604687" y="244264"/>
                </a:cubicBezTo>
                <a:cubicBezTo>
                  <a:pt x="604501" y="244190"/>
                  <a:pt x="604352" y="244115"/>
                  <a:pt x="604166" y="244041"/>
                </a:cubicBezTo>
                <a:cubicBezTo>
                  <a:pt x="604054" y="244003"/>
                  <a:pt x="603943" y="243966"/>
                  <a:pt x="603868" y="243929"/>
                </a:cubicBezTo>
                <a:cubicBezTo>
                  <a:pt x="603682" y="243855"/>
                  <a:pt x="603533" y="243817"/>
                  <a:pt x="603347" y="243780"/>
                </a:cubicBezTo>
                <a:cubicBezTo>
                  <a:pt x="603236" y="243743"/>
                  <a:pt x="603124" y="243706"/>
                  <a:pt x="602975" y="243706"/>
                </a:cubicBezTo>
                <a:cubicBezTo>
                  <a:pt x="602826" y="243669"/>
                  <a:pt x="602640" y="243631"/>
                  <a:pt x="602492" y="243594"/>
                </a:cubicBezTo>
                <a:cubicBezTo>
                  <a:pt x="602343" y="243557"/>
                  <a:pt x="602231" y="243557"/>
                  <a:pt x="602120" y="243520"/>
                </a:cubicBezTo>
                <a:cubicBezTo>
                  <a:pt x="601971" y="243483"/>
                  <a:pt x="601785" y="243483"/>
                  <a:pt x="601636" y="243483"/>
                </a:cubicBezTo>
                <a:cubicBezTo>
                  <a:pt x="601487" y="243483"/>
                  <a:pt x="601375" y="243445"/>
                  <a:pt x="601227" y="243445"/>
                </a:cubicBezTo>
                <a:lnTo>
                  <a:pt x="600706" y="243445"/>
                </a:lnTo>
                <a:lnTo>
                  <a:pt x="600445" y="243445"/>
                </a:lnTo>
                <a:cubicBezTo>
                  <a:pt x="600408" y="243445"/>
                  <a:pt x="600371" y="243445"/>
                  <a:pt x="600296" y="243483"/>
                </a:cubicBezTo>
                <a:cubicBezTo>
                  <a:pt x="600148" y="243483"/>
                  <a:pt x="599962" y="243520"/>
                  <a:pt x="599813" y="243557"/>
                </a:cubicBezTo>
                <a:cubicBezTo>
                  <a:pt x="599664" y="243594"/>
                  <a:pt x="599552" y="243594"/>
                  <a:pt x="599403" y="243631"/>
                </a:cubicBezTo>
                <a:cubicBezTo>
                  <a:pt x="599255" y="243669"/>
                  <a:pt x="599106" y="243706"/>
                  <a:pt x="598957" y="243743"/>
                </a:cubicBezTo>
                <a:cubicBezTo>
                  <a:pt x="598808" y="243780"/>
                  <a:pt x="598659" y="243817"/>
                  <a:pt x="598510" y="243855"/>
                </a:cubicBezTo>
                <a:cubicBezTo>
                  <a:pt x="598362" y="243892"/>
                  <a:pt x="598250" y="243929"/>
                  <a:pt x="598101" y="244003"/>
                </a:cubicBezTo>
                <a:cubicBezTo>
                  <a:pt x="597952" y="244041"/>
                  <a:pt x="597803" y="244115"/>
                  <a:pt x="597655" y="244152"/>
                </a:cubicBezTo>
                <a:cubicBezTo>
                  <a:pt x="597543" y="244190"/>
                  <a:pt x="597431" y="244264"/>
                  <a:pt x="597320" y="244301"/>
                </a:cubicBezTo>
                <a:cubicBezTo>
                  <a:pt x="597171" y="244376"/>
                  <a:pt x="597022" y="244450"/>
                  <a:pt x="596836" y="244524"/>
                </a:cubicBezTo>
                <a:cubicBezTo>
                  <a:pt x="596724" y="244599"/>
                  <a:pt x="596650" y="244636"/>
                  <a:pt x="596538" y="244710"/>
                </a:cubicBezTo>
                <a:cubicBezTo>
                  <a:pt x="596390" y="244822"/>
                  <a:pt x="596204" y="244896"/>
                  <a:pt x="596055" y="245008"/>
                </a:cubicBezTo>
                <a:cubicBezTo>
                  <a:pt x="595943" y="245082"/>
                  <a:pt x="595869" y="245157"/>
                  <a:pt x="595757" y="245194"/>
                </a:cubicBezTo>
                <a:cubicBezTo>
                  <a:pt x="595608" y="245306"/>
                  <a:pt x="595459" y="245417"/>
                  <a:pt x="595311" y="245529"/>
                </a:cubicBezTo>
                <a:cubicBezTo>
                  <a:pt x="595273" y="245566"/>
                  <a:pt x="595236" y="245566"/>
                  <a:pt x="595199" y="245603"/>
                </a:cubicBezTo>
                <a:lnTo>
                  <a:pt x="560559" y="274216"/>
                </a:lnTo>
                <a:lnTo>
                  <a:pt x="560597" y="9116"/>
                </a:lnTo>
                <a:cubicBezTo>
                  <a:pt x="560597" y="4093"/>
                  <a:pt x="556504" y="0"/>
                  <a:pt x="551481" y="0"/>
                </a:cubicBezTo>
                <a:lnTo>
                  <a:pt x="76907" y="0"/>
                </a:lnTo>
                <a:cubicBezTo>
                  <a:pt x="71884" y="0"/>
                  <a:pt x="67792" y="4093"/>
                  <a:pt x="67792" y="9116"/>
                </a:cubicBezTo>
                <a:lnTo>
                  <a:pt x="67792" y="63289"/>
                </a:lnTo>
                <a:lnTo>
                  <a:pt x="9116" y="63289"/>
                </a:lnTo>
                <a:cubicBezTo>
                  <a:pt x="4093" y="63289"/>
                  <a:pt x="0" y="67382"/>
                  <a:pt x="0" y="72405"/>
                </a:cubicBezTo>
                <a:lnTo>
                  <a:pt x="0" y="700760"/>
                </a:lnTo>
                <a:cubicBezTo>
                  <a:pt x="0" y="705783"/>
                  <a:pt x="4093" y="709875"/>
                  <a:pt x="9116" y="709875"/>
                </a:cubicBezTo>
                <a:lnTo>
                  <a:pt x="417310" y="709875"/>
                </a:lnTo>
                <a:lnTo>
                  <a:pt x="417310" y="752924"/>
                </a:lnTo>
                <a:cubicBezTo>
                  <a:pt x="417310" y="757946"/>
                  <a:pt x="421402" y="762039"/>
                  <a:pt x="426425" y="762039"/>
                </a:cubicBezTo>
                <a:lnTo>
                  <a:pt x="685648" y="762039"/>
                </a:lnTo>
                <a:cubicBezTo>
                  <a:pt x="690671" y="762039"/>
                  <a:pt x="694764" y="757946"/>
                  <a:pt x="694764" y="752924"/>
                </a:cubicBezTo>
                <a:lnTo>
                  <a:pt x="694764" y="700759"/>
                </a:lnTo>
                <a:cubicBezTo>
                  <a:pt x="694764" y="695736"/>
                  <a:pt x="690671" y="691643"/>
                  <a:pt x="685648" y="691643"/>
                </a:cubicBezTo>
                <a:close/>
                <a:moveTo>
                  <a:pt x="663697" y="691645"/>
                </a:moveTo>
                <a:lnTo>
                  <a:pt x="448384" y="691645"/>
                </a:lnTo>
                <a:lnTo>
                  <a:pt x="448384" y="657712"/>
                </a:lnTo>
                <a:lnTo>
                  <a:pt x="462820" y="657712"/>
                </a:lnTo>
                <a:lnTo>
                  <a:pt x="462858" y="657712"/>
                </a:lnTo>
                <a:lnTo>
                  <a:pt x="663702" y="657712"/>
                </a:lnTo>
                <a:close/>
                <a:moveTo>
                  <a:pt x="649409" y="404552"/>
                </a:moveTo>
                <a:lnTo>
                  <a:pt x="626341" y="559552"/>
                </a:lnTo>
                <a:cubicBezTo>
                  <a:pt x="626192" y="560483"/>
                  <a:pt x="626192" y="561413"/>
                  <a:pt x="626378" y="562306"/>
                </a:cubicBezTo>
                <a:lnTo>
                  <a:pt x="638694" y="639436"/>
                </a:lnTo>
                <a:lnTo>
                  <a:pt x="471187" y="639436"/>
                </a:lnTo>
                <a:lnTo>
                  <a:pt x="466871" y="593412"/>
                </a:lnTo>
                <a:lnTo>
                  <a:pt x="517957" y="492285"/>
                </a:lnTo>
                <a:lnTo>
                  <a:pt x="538494" y="498424"/>
                </a:lnTo>
                <a:cubicBezTo>
                  <a:pt x="539350" y="498684"/>
                  <a:pt x="540243" y="498796"/>
                  <a:pt x="541099" y="498796"/>
                </a:cubicBezTo>
                <a:cubicBezTo>
                  <a:pt x="543964" y="498796"/>
                  <a:pt x="546754" y="497419"/>
                  <a:pt x="548466" y="495038"/>
                </a:cubicBezTo>
                <a:lnTo>
                  <a:pt x="582734" y="447599"/>
                </a:lnTo>
                <a:cubicBezTo>
                  <a:pt x="585673" y="443506"/>
                  <a:pt x="584780" y="437814"/>
                  <a:pt x="580688" y="434874"/>
                </a:cubicBezTo>
                <a:cubicBezTo>
                  <a:pt x="576595" y="431935"/>
                  <a:pt x="570903" y="432828"/>
                  <a:pt x="567963" y="436921"/>
                </a:cubicBezTo>
                <a:lnTo>
                  <a:pt x="537491" y="479113"/>
                </a:lnTo>
                <a:lnTo>
                  <a:pt x="488006" y="464342"/>
                </a:lnTo>
                <a:cubicBezTo>
                  <a:pt x="485996" y="463747"/>
                  <a:pt x="483876" y="463858"/>
                  <a:pt x="481978" y="464640"/>
                </a:cubicBezTo>
                <a:lnTo>
                  <a:pt x="444027" y="480118"/>
                </a:lnTo>
                <a:lnTo>
                  <a:pt x="417647" y="473644"/>
                </a:lnTo>
                <a:lnTo>
                  <a:pt x="440790" y="396774"/>
                </a:lnTo>
                <a:lnTo>
                  <a:pt x="489569" y="356479"/>
                </a:lnTo>
                <a:lnTo>
                  <a:pt x="489606" y="356441"/>
                </a:lnTo>
                <a:lnTo>
                  <a:pt x="557397" y="300482"/>
                </a:lnTo>
                <a:lnTo>
                  <a:pt x="593227" y="270902"/>
                </a:lnTo>
                <a:lnTo>
                  <a:pt x="596316" y="317077"/>
                </a:lnTo>
                <a:cubicBezTo>
                  <a:pt x="596427" y="318565"/>
                  <a:pt x="596874" y="320016"/>
                  <a:pt x="597655" y="321281"/>
                </a:cubicBezTo>
                <a:lnTo>
                  <a:pt x="649447" y="404550"/>
                </a:lnTo>
                <a:close/>
                <a:moveTo>
                  <a:pt x="86025" y="18199"/>
                </a:moveTo>
                <a:lnTo>
                  <a:pt x="542444" y="18199"/>
                </a:lnTo>
                <a:lnTo>
                  <a:pt x="542444" y="289138"/>
                </a:lnTo>
                <a:lnTo>
                  <a:pt x="492847" y="330103"/>
                </a:lnTo>
                <a:lnTo>
                  <a:pt x="492847" y="72366"/>
                </a:lnTo>
                <a:cubicBezTo>
                  <a:pt x="492847" y="67343"/>
                  <a:pt x="488754" y="63250"/>
                  <a:pt x="483731" y="63250"/>
                </a:cubicBezTo>
                <a:lnTo>
                  <a:pt x="86024" y="63287"/>
                </a:lnTo>
                <a:close/>
                <a:moveTo>
                  <a:pt x="18233" y="81488"/>
                </a:moveTo>
                <a:lnTo>
                  <a:pt x="474652" y="81488"/>
                </a:lnTo>
                <a:lnTo>
                  <a:pt x="474652" y="345140"/>
                </a:lnTo>
                <a:lnTo>
                  <a:pt x="427027" y="384468"/>
                </a:lnTo>
                <a:cubicBezTo>
                  <a:pt x="425651" y="385621"/>
                  <a:pt x="424609" y="387147"/>
                  <a:pt x="424088" y="388858"/>
                </a:cubicBezTo>
                <a:lnTo>
                  <a:pt x="397373" y="477560"/>
                </a:lnTo>
                <a:cubicBezTo>
                  <a:pt x="397336" y="477634"/>
                  <a:pt x="397336" y="477709"/>
                  <a:pt x="397299" y="477783"/>
                </a:cubicBezTo>
                <a:cubicBezTo>
                  <a:pt x="397262" y="477857"/>
                  <a:pt x="397262" y="477932"/>
                  <a:pt x="397224" y="478006"/>
                </a:cubicBezTo>
                <a:cubicBezTo>
                  <a:pt x="397187" y="478081"/>
                  <a:pt x="397187" y="478155"/>
                  <a:pt x="397187" y="478229"/>
                </a:cubicBezTo>
                <a:cubicBezTo>
                  <a:pt x="397150" y="478378"/>
                  <a:pt x="397113" y="478564"/>
                  <a:pt x="397076" y="478713"/>
                </a:cubicBezTo>
                <a:cubicBezTo>
                  <a:pt x="397038" y="478862"/>
                  <a:pt x="397038" y="478974"/>
                  <a:pt x="397001" y="479122"/>
                </a:cubicBezTo>
                <a:cubicBezTo>
                  <a:pt x="396964" y="479271"/>
                  <a:pt x="396964" y="479457"/>
                  <a:pt x="396964" y="479606"/>
                </a:cubicBezTo>
                <a:cubicBezTo>
                  <a:pt x="396964" y="479755"/>
                  <a:pt x="396927" y="479904"/>
                  <a:pt x="396927" y="480015"/>
                </a:cubicBezTo>
                <a:lnTo>
                  <a:pt x="396927" y="480499"/>
                </a:lnTo>
                <a:cubicBezTo>
                  <a:pt x="396927" y="480648"/>
                  <a:pt x="396927" y="480797"/>
                  <a:pt x="396964" y="480946"/>
                </a:cubicBezTo>
                <a:cubicBezTo>
                  <a:pt x="396964" y="481094"/>
                  <a:pt x="397001" y="481243"/>
                  <a:pt x="397001" y="481392"/>
                </a:cubicBezTo>
                <a:cubicBezTo>
                  <a:pt x="397038" y="481541"/>
                  <a:pt x="397038" y="481690"/>
                  <a:pt x="397076" y="481839"/>
                </a:cubicBezTo>
                <a:cubicBezTo>
                  <a:pt x="397113" y="481987"/>
                  <a:pt x="397150" y="482136"/>
                  <a:pt x="397187" y="482285"/>
                </a:cubicBezTo>
                <a:cubicBezTo>
                  <a:pt x="397224" y="482434"/>
                  <a:pt x="397262" y="482583"/>
                  <a:pt x="397299" y="482731"/>
                </a:cubicBezTo>
                <a:cubicBezTo>
                  <a:pt x="397336" y="482880"/>
                  <a:pt x="397373" y="482992"/>
                  <a:pt x="397448" y="483141"/>
                </a:cubicBezTo>
                <a:cubicBezTo>
                  <a:pt x="397485" y="483290"/>
                  <a:pt x="397559" y="483401"/>
                  <a:pt x="397596" y="483550"/>
                </a:cubicBezTo>
                <a:cubicBezTo>
                  <a:pt x="397671" y="483699"/>
                  <a:pt x="397708" y="483810"/>
                  <a:pt x="397783" y="483959"/>
                </a:cubicBezTo>
                <a:cubicBezTo>
                  <a:pt x="397857" y="484108"/>
                  <a:pt x="397894" y="484220"/>
                  <a:pt x="397969" y="484331"/>
                </a:cubicBezTo>
                <a:cubicBezTo>
                  <a:pt x="398043" y="484480"/>
                  <a:pt x="398117" y="484592"/>
                  <a:pt x="398192" y="484703"/>
                </a:cubicBezTo>
                <a:cubicBezTo>
                  <a:pt x="398266" y="484815"/>
                  <a:pt x="398341" y="484964"/>
                  <a:pt x="398415" y="485076"/>
                </a:cubicBezTo>
                <a:cubicBezTo>
                  <a:pt x="398489" y="485187"/>
                  <a:pt x="398564" y="485336"/>
                  <a:pt x="398675" y="485448"/>
                </a:cubicBezTo>
                <a:cubicBezTo>
                  <a:pt x="398750" y="485559"/>
                  <a:pt x="398824" y="485671"/>
                  <a:pt x="398936" y="485782"/>
                </a:cubicBezTo>
                <a:cubicBezTo>
                  <a:pt x="399048" y="485894"/>
                  <a:pt x="399122" y="486006"/>
                  <a:pt x="399234" y="486155"/>
                </a:cubicBezTo>
                <a:cubicBezTo>
                  <a:pt x="399308" y="486266"/>
                  <a:pt x="399420" y="486378"/>
                  <a:pt x="399494" y="486452"/>
                </a:cubicBezTo>
                <a:cubicBezTo>
                  <a:pt x="399606" y="486564"/>
                  <a:pt x="399717" y="486675"/>
                  <a:pt x="399829" y="486787"/>
                </a:cubicBezTo>
                <a:cubicBezTo>
                  <a:pt x="399941" y="486899"/>
                  <a:pt x="400015" y="486973"/>
                  <a:pt x="400127" y="487085"/>
                </a:cubicBezTo>
                <a:cubicBezTo>
                  <a:pt x="400238" y="487196"/>
                  <a:pt x="400350" y="487271"/>
                  <a:pt x="400461" y="487382"/>
                </a:cubicBezTo>
                <a:cubicBezTo>
                  <a:pt x="400573" y="487457"/>
                  <a:pt x="400685" y="487568"/>
                  <a:pt x="400796" y="487643"/>
                </a:cubicBezTo>
                <a:cubicBezTo>
                  <a:pt x="400908" y="487717"/>
                  <a:pt x="401057" y="487829"/>
                  <a:pt x="401168" y="487903"/>
                </a:cubicBezTo>
                <a:cubicBezTo>
                  <a:pt x="401280" y="487978"/>
                  <a:pt x="401429" y="488052"/>
                  <a:pt x="401540" y="488126"/>
                </a:cubicBezTo>
                <a:cubicBezTo>
                  <a:pt x="401652" y="488201"/>
                  <a:pt x="401801" y="488275"/>
                  <a:pt x="401912" y="488350"/>
                </a:cubicBezTo>
                <a:cubicBezTo>
                  <a:pt x="402061" y="488424"/>
                  <a:pt x="402210" y="488499"/>
                  <a:pt x="402359" y="488536"/>
                </a:cubicBezTo>
                <a:cubicBezTo>
                  <a:pt x="402508" y="488610"/>
                  <a:pt x="402619" y="488647"/>
                  <a:pt x="402768" y="488722"/>
                </a:cubicBezTo>
                <a:cubicBezTo>
                  <a:pt x="402917" y="488796"/>
                  <a:pt x="403066" y="488833"/>
                  <a:pt x="403215" y="488871"/>
                </a:cubicBezTo>
                <a:cubicBezTo>
                  <a:pt x="403289" y="488908"/>
                  <a:pt x="403364" y="488945"/>
                  <a:pt x="403438" y="488945"/>
                </a:cubicBezTo>
                <a:cubicBezTo>
                  <a:pt x="403512" y="488982"/>
                  <a:pt x="403550" y="488982"/>
                  <a:pt x="403587" y="488982"/>
                </a:cubicBezTo>
                <a:cubicBezTo>
                  <a:pt x="403698" y="489019"/>
                  <a:pt x="403773" y="489057"/>
                  <a:pt x="403884" y="489057"/>
                </a:cubicBezTo>
                <a:lnTo>
                  <a:pt x="442468" y="498544"/>
                </a:lnTo>
                <a:cubicBezTo>
                  <a:pt x="444329" y="498991"/>
                  <a:pt x="446301" y="498842"/>
                  <a:pt x="448087" y="498135"/>
                </a:cubicBezTo>
                <a:lnTo>
                  <a:pt x="485814" y="482731"/>
                </a:lnTo>
                <a:lnTo>
                  <a:pt x="500139" y="487010"/>
                </a:lnTo>
                <a:lnTo>
                  <a:pt x="449351" y="587546"/>
                </a:lnTo>
                <a:cubicBezTo>
                  <a:pt x="448570" y="589072"/>
                  <a:pt x="448272" y="590784"/>
                  <a:pt x="448421" y="592495"/>
                </a:cubicBezTo>
                <a:lnTo>
                  <a:pt x="452812" y="639450"/>
                </a:lnTo>
                <a:lnTo>
                  <a:pt x="439231" y="639450"/>
                </a:lnTo>
                <a:cubicBezTo>
                  <a:pt x="434208" y="639450"/>
                  <a:pt x="430115" y="643543"/>
                  <a:pt x="430115" y="648566"/>
                </a:cubicBezTo>
                <a:lnTo>
                  <a:pt x="430115" y="691614"/>
                </a:lnTo>
                <a:lnTo>
                  <a:pt x="426357" y="691614"/>
                </a:lnTo>
                <a:lnTo>
                  <a:pt x="426320" y="691614"/>
                </a:lnTo>
                <a:lnTo>
                  <a:pt x="18193" y="691614"/>
                </a:lnTo>
                <a:lnTo>
                  <a:pt x="18193" y="81490"/>
                </a:lnTo>
                <a:close/>
                <a:moveTo>
                  <a:pt x="676535" y="743771"/>
                </a:moveTo>
                <a:lnTo>
                  <a:pt x="435505" y="743771"/>
                </a:lnTo>
                <a:lnTo>
                  <a:pt x="435505" y="709838"/>
                </a:lnTo>
                <a:lnTo>
                  <a:pt x="483725" y="709838"/>
                </a:lnTo>
                <a:lnTo>
                  <a:pt x="483762" y="709838"/>
                </a:lnTo>
                <a:lnTo>
                  <a:pt x="676529" y="709838"/>
                </a:lnTo>
                <a:lnTo>
                  <a:pt x="676529" y="743808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A389AA0-335A-B486-2FA8-AA9F470674B9}"/>
              </a:ext>
            </a:extLst>
          </p:cNvPr>
          <p:cNvSpPr/>
          <p:nvPr/>
        </p:nvSpPr>
        <p:spPr>
          <a:xfrm>
            <a:off x="573029" y="2144076"/>
            <a:ext cx="230950" cy="272480"/>
          </a:xfrm>
          <a:custGeom>
            <a:avLst/>
            <a:gdLst>
              <a:gd name="connsiteX0" fmla="*/ 553358 w 679304"/>
              <a:gd name="connsiteY0" fmla="*/ 19617 h 801460"/>
              <a:gd name="connsiteX1" fmla="*/ 552908 w 679304"/>
              <a:gd name="connsiteY1" fmla="*/ 3559 h 801460"/>
              <a:gd name="connsiteX2" fmla="*/ 568961 w 679304"/>
              <a:gd name="connsiteY2" fmla="*/ 3107 h 801460"/>
              <a:gd name="connsiteX3" fmla="*/ 596521 w 679304"/>
              <a:gd name="connsiteY3" fmla="*/ 426756 h 801460"/>
              <a:gd name="connsiteX4" fmla="*/ 617501 w 679304"/>
              <a:gd name="connsiteY4" fmla="*/ 421065 h 801460"/>
              <a:gd name="connsiteX5" fmla="*/ 631440 w 679304"/>
              <a:gd name="connsiteY5" fmla="*/ 429027 h 801460"/>
              <a:gd name="connsiteX6" fmla="*/ 623458 w 679304"/>
              <a:gd name="connsiteY6" fmla="*/ 442979 h 801460"/>
              <a:gd name="connsiteX7" fmla="*/ 564141 w 679304"/>
              <a:gd name="connsiteY7" fmla="*/ 459089 h 801460"/>
              <a:gd name="connsiteX8" fmla="*/ 550135 w 679304"/>
              <a:gd name="connsiteY8" fmla="*/ 445414 h 801460"/>
              <a:gd name="connsiteX9" fmla="*/ 564851 w 679304"/>
              <a:gd name="connsiteY9" fmla="*/ 385722 h 801460"/>
              <a:gd name="connsiteX10" fmla="*/ 578593 w 679304"/>
              <a:gd name="connsiteY10" fmla="*/ 377421 h 801460"/>
              <a:gd name="connsiteX11" fmla="*/ 586900 w 679304"/>
              <a:gd name="connsiteY11" fmla="*/ 391177 h 801460"/>
              <a:gd name="connsiteX12" fmla="*/ 582892 w 679304"/>
              <a:gd name="connsiteY12" fmla="*/ 407451 h 801460"/>
              <a:gd name="connsiteX13" fmla="*/ 643910 w 679304"/>
              <a:gd name="connsiteY13" fmla="*/ 229752 h 801460"/>
              <a:gd name="connsiteX14" fmla="*/ 553358 w 679304"/>
              <a:gd name="connsiteY14" fmla="*/ 19617 h 801460"/>
              <a:gd name="connsiteX15" fmla="*/ 553358 w 679304"/>
              <a:gd name="connsiteY15" fmla="*/ 19617 h 801460"/>
              <a:gd name="connsiteX16" fmla="*/ 12687 w 679304"/>
              <a:gd name="connsiteY16" fmla="*/ 229752 h 801460"/>
              <a:gd name="connsiteX17" fmla="*/ 82775 w 679304"/>
              <a:gd name="connsiteY17" fmla="*/ 32747 h 801460"/>
              <a:gd name="connsiteX18" fmla="*/ 61805 w 679304"/>
              <a:gd name="connsiteY18" fmla="*/ 38439 h 801460"/>
              <a:gd name="connsiteX19" fmla="*/ 47867 w 679304"/>
              <a:gd name="connsiteY19" fmla="*/ 30456 h 801460"/>
              <a:gd name="connsiteX20" fmla="*/ 55850 w 679304"/>
              <a:gd name="connsiteY20" fmla="*/ 16515 h 801460"/>
              <a:gd name="connsiteX21" fmla="*/ 115166 w 679304"/>
              <a:gd name="connsiteY21" fmla="*/ 405 h 801460"/>
              <a:gd name="connsiteX22" fmla="*/ 129173 w 679304"/>
              <a:gd name="connsiteY22" fmla="*/ 14090 h 801460"/>
              <a:gd name="connsiteX23" fmla="*/ 114456 w 679304"/>
              <a:gd name="connsiteY23" fmla="*/ 73751 h 801460"/>
              <a:gd name="connsiteX24" fmla="*/ 100711 w 679304"/>
              <a:gd name="connsiteY24" fmla="*/ 82063 h 801460"/>
              <a:gd name="connsiteX25" fmla="*/ 92403 w 679304"/>
              <a:gd name="connsiteY25" fmla="*/ 68326 h 801460"/>
              <a:gd name="connsiteX26" fmla="*/ 96412 w 679304"/>
              <a:gd name="connsiteY26" fmla="*/ 52073 h 801460"/>
              <a:gd name="connsiteX27" fmla="*/ 35398 w 679304"/>
              <a:gd name="connsiteY27" fmla="*/ 229752 h 801460"/>
              <a:gd name="connsiteX28" fmla="*/ 125950 w 679304"/>
              <a:gd name="connsiteY28" fmla="*/ 439876 h 801460"/>
              <a:gd name="connsiteX29" fmla="*/ 118144 w 679304"/>
              <a:gd name="connsiteY29" fmla="*/ 459499 h 801460"/>
              <a:gd name="connsiteX30" fmla="*/ 110343 w 679304"/>
              <a:gd name="connsiteY30" fmla="*/ 456397 h 801460"/>
              <a:gd name="connsiteX31" fmla="*/ 12687 w 679304"/>
              <a:gd name="connsiteY31" fmla="*/ 229752 h 801460"/>
              <a:gd name="connsiteX32" fmla="*/ 12687 w 679304"/>
              <a:gd name="connsiteY32" fmla="*/ 229752 h 801460"/>
              <a:gd name="connsiteX33" fmla="*/ 328296 w 679304"/>
              <a:gd name="connsiteY33" fmla="*/ 24035 h 801460"/>
              <a:gd name="connsiteX34" fmla="*/ 328296 w 679304"/>
              <a:gd name="connsiteY34" fmla="*/ 75292 h 801460"/>
              <a:gd name="connsiteX35" fmla="*/ 320586 w 679304"/>
              <a:gd name="connsiteY35" fmla="*/ 71943 h 801460"/>
              <a:gd name="connsiteX36" fmla="*/ 247893 w 679304"/>
              <a:gd name="connsiteY36" fmla="*/ 106320 h 801460"/>
              <a:gd name="connsiteX37" fmla="*/ 320586 w 679304"/>
              <a:gd name="connsiteY37" fmla="*/ 140686 h 801460"/>
              <a:gd name="connsiteX38" fmla="*/ 328296 w 679304"/>
              <a:gd name="connsiteY38" fmla="*/ 137337 h 801460"/>
              <a:gd name="connsiteX39" fmla="*/ 328296 w 679304"/>
              <a:gd name="connsiteY39" fmla="*/ 218399 h 801460"/>
              <a:gd name="connsiteX40" fmla="*/ 244222 w 679304"/>
              <a:gd name="connsiteY40" fmla="*/ 218399 h 801460"/>
              <a:gd name="connsiteX41" fmla="*/ 224433 w 679304"/>
              <a:gd name="connsiteY41" fmla="*/ 238187 h 801460"/>
              <a:gd name="connsiteX42" fmla="*/ 237981 w 679304"/>
              <a:gd name="connsiteY42" fmla="*/ 277043 h 801460"/>
              <a:gd name="connsiteX43" fmla="*/ 216221 w 679304"/>
              <a:gd name="connsiteY43" fmla="*/ 298793 h 801460"/>
              <a:gd name="connsiteX44" fmla="*/ 199397 w 679304"/>
              <a:gd name="connsiteY44" fmla="*/ 263235 h 801460"/>
              <a:gd name="connsiteX45" fmla="*/ 208006 w 679304"/>
              <a:gd name="connsiteY45" fmla="*/ 238187 h 801460"/>
              <a:gd name="connsiteX46" fmla="*/ 188220 w 679304"/>
              <a:gd name="connsiteY46" fmla="*/ 218399 h 801460"/>
              <a:gd name="connsiteX47" fmla="*/ 133925 w 679304"/>
              <a:gd name="connsiteY47" fmla="*/ 218399 h 801460"/>
              <a:gd name="connsiteX48" fmla="*/ 328296 w 679304"/>
              <a:gd name="connsiteY48" fmla="*/ 24035 h 801460"/>
              <a:gd name="connsiteX49" fmla="*/ 328296 w 679304"/>
              <a:gd name="connsiteY49" fmla="*/ 24035 h 801460"/>
              <a:gd name="connsiteX50" fmla="*/ 351012 w 679304"/>
              <a:gd name="connsiteY50" fmla="*/ 78313 h 801460"/>
              <a:gd name="connsiteX51" fmla="*/ 331222 w 679304"/>
              <a:gd name="connsiteY51" fmla="*/ 98111 h 801460"/>
              <a:gd name="connsiteX52" fmla="*/ 306167 w 679304"/>
              <a:gd name="connsiteY52" fmla="*/ 89501 h 801460"/>
              <a:gd name="connsiteX53" fmla="*/ 270609 w 679304"/>
              <a:gd name="connsiteY53" fmla="*/ 106320 h 801460"/>
              <a:gd name="connsiteX54" fmla="*/ 292366 w 679304"/>
              <a:gd name="connsiteY54" fmla="*/ 128080 h 801460"/>
              <a:gd name="connsiteX55" fmla="*/ 331222 w 679304"/>
              <a:gd name="connsiteY55" fmla="*/ 114529 h 801460"/>
              <a:gd name="connsiteX56" fmla="*/ 351012 w 679304"/>
              <a:gd name="connsiteY56" fmla="*/ 134316 h 801460"/>
              <a:gd name="connsiteX57" fmla="*/ 351012 w 679304"/>
              <a:gd name="connsiteY57" fmla="*/ 218399 h 801460"/>
              <a:gd name="connsiteX58" fmla="*/ 432060 w 679304"/>
              <a:gd name="connsiteY58" fmla="*/ 218399 h 801460"/>
              <a:gd name="connsiteX59" fmla="*/ 428716 w 679304"/>
              <a:gd name="connsiteY59" fmla="*/ 210683 h 801460"/>
              <a:gd name="connsiteX60" fmla="*/ 463087 w 679304"/>
              <a:gd name="connsiteY60" fmla="*/ 137984 h 801460"/>
              <a:gd name="connsiteX61" fmla="*/ 497457 w 679304"/>
              <a:gd name="connsiteY61" fmla="*/ 210683 h 801460"/>
              <a:gd name="connsiteX62" fmla="*/ 494110 w 679304"/>
              <a:gd name="connsiteY62" fmla="*/ 218399 h 801460"/>
              <a:gd name="connsiteX63" fmla="*/ 545371 w 679304"/>
              <a:gd name="connsiteY63" fmla="*/ 218399 h 801460"/>
              <a:gd name="connsiteX64" fmla="*/ 351012 w 679304"/>
              <a:gd name="connsiteY64" fmla="*/ 24014 h 801460"/>
              <a:gd name="connsiteX65" fmla="*/ 351012 w 679304"/>
              <a:gd name="connsiteY65" fmla="*/ 78313 h 801460"/>
              <a:gd name="connsiteX66" fmla="*/ 351012 w 679304"/>
              <a:gd name="connsiteY66" fmla="*/ 78313 h 801460"/>
              <a:gd name="connsiteX67" fmla="*/ 351012 w 679304"/>
              <a:gd name="connsiteY67" fmla="*/ 435469 h 801460"/>
              <a:gd name="connsiteX68" fmla="*/ 351012 w 679304"/>
              <a:gd name="connsiteY68" fmla="*/ 384201 h 801460"/>
              <a:gd name="connsiteX69" fmla="*/ 358717 w 679304"/>
              <a:gd name="connsiteY69" fmla="*/ 387540 h 801460"/>
              <a:gd name="connsiteX70" fmla="*/ 431413 w 679304"/>
              <a:gd name="connsiteY70" fmla="*/ 353184 h 801460"/>
              <a:gd name="connsiteX71" fmla="*/ 358717 w 679304"/>
              <a:gd name="connsiteY71" fmla="*/ 318817 h 801460"/>
              <a:gd name="connsiteX72" fmla="*/ 351012 w 679304"/>
              <a:gd name="connsiteY72" fmla="*/ 322167 h 801460"/>
              <a:gd name="connsiteX73" fmla="*/ 351012 w 679304"/>
              <a:gd name="connsiteY73" fmla="*/ 241105 h 801460"/>
              <a:gd name="connsiteX74" fmla="*/ 435086 w 679304"/>
              <a:gd name="connsiteY74" fmla="*/ 241105 h 801460"/>
              <a:gd name="connsiteX75" fmla="*/ 454875 w 679304"/>
              <a:gd name="connsiteY75" fmla="*/ 221317 h 801460"/>
              <a:gd name="connsiteX76" fmla="*/ 441327 w 679304"/>
              <a:gd name="connsiteY76" fmla="*/ 182460 h 801460"/>
              <a:gd name="connsiteX77" fmla="*/ 463087 w 679304"/>
              <a:gd name="connsiteY77" fmla="*/ 160700 h 801460"/>
              <a:gd name="connsiteX78" fmla="*/ 479911 w 679304"/>
              <a:gd name="connsiteY78" fmla="*/ 196269 h 801460"/>
              <a:gd name="connsiteX79" fmla="*/ 471298 w 679304"/>
              <a:gd name="connsiteY79" fmla="*/ 221317 h 801460"/>
              <a:gd name="connsiteX80" fmla="*/ 491088 w 679304"/>
              <a:gd name="connsiteY80" fmla="*/ 241105 h 801460"/>
              <a:gd name="connsiteX81" fmla="*/ 545383 w 679304"/>
              <a:gd name="connsiteY81" fmla="*/ 241105 h 801460"/>
              <a:gd name="connsiteX82" fmla="*/ 351012 w 679304"/>
              <a:gd name="connsiteY82" fmla="*/ 435469 h 801460"/>
              <a:gd name="connsiteX83" fmla="*/ 351012 w 679304"/>
              <a:gd name="connsiteY83" fmla="*/ 435469 h 801460"/>
              <a:gd name="connsiteX84" fmla="*/ 328296 w 679304"/>
              <a:gd name="connsiteY84" fmla="*/ 381181 h 801460"/>
              <a:gd name="connsiteX85" fmla="*/ 348086 w 679304"/>
              <a:gd name="connsiteY85" fmla="*/ 361393 h 801460"/>
              <a:gd name="connsiteX86" fmla="*/ 373141 w 679304"/>
              <a:gd name="connsiteY86" fmla="*/ 370003 h 801460"/>
              <a:gd name="connsiteX87" fmla="*/ 408699 w 679304"/>
              <a:gd name="connsiteY87" fmla="*/ 353184 h 801460"/>
              <a:gd name="connsiteX88" fmla="*/ 386942 w 679304"/>
              <a:gd name="connsiteY88" fmla="*/ 331424 h 801460"/>
              <a:gd name="connsiteX89" fmla="*/ 348086 w 679304"/>
              <a:gd name="connsiteY89" fmla="*/ 344975 h 801460"/>
              <a:gd name="connsiteX90" fmla="*/ 328296 w 679304"/>
              <a:gd name="connsiteY90" fmla="*/ 325177 h 801460"/>
              <a:gd name="connsiteX91" fmla="*/ 328296 w 679304"/>
              <a:gd name="connsiteY91" fmla="*/ 241105 h 801460"/>
              <a:gd name="connsiteX92" fmla="*/ 247244 w 679304"/>
              <a:gd name="connsiteY92" fmla="*/ 241105 h 801460"/>
              <a:gd name="connsiteX93" fmla="*/ 250591 w 679304"/>
              <a:gd name="connsiteY93" fmla="*/ 248810 h 801460"/>
              <a:gd name="connsiteX94" fmla="*/ 216221 w 679304"/>
              <a:gd name="connsiteY94" fmla="*/ 321509 h 801460"/>
              <a:gd name="connsiteX95" fmla="*/ 181851 w 679304"/>
              <a:gd name="connsiteY95" fmla="*/ 248810 h 801460"/>
              <a:gd name="connsiteX96" fmla="*/ 185194 w 679304"/>
              <a:gd name="connsiteY96" fmla="*/ 241105 h 801460"/>
              <a:gd name="connsiteX97" fmla="*/ 133933 w 679304"/>
              <a:gd name="connsiteY97" fmla="*/ 241105 h 801460"/>
              <a:gd name="connsiteX98" fmla="*/ 328296 w 679304"/>
              <a:gd name="connsiteY98" fmla="*/ 435489 h 801460"/>
              <a:gd name="connsiteX99" fmla="*/ 328296 w 679304"/>
              <a:gd name="connsiteY99" fmla="*/ 381181 h 801460"/>
              <a:gd name="connsiteX100" fmla="*/ 328296 w 679304"/>
              <a:gd name="connsiteY100" fmla="*/ 381181 h 801460"/>
              <a:gd name="connsiteX101" fmla="*/ 339654 w 679304"/>
              <a:gd name="connsiteY101" fmla="*/ 458503 h 801460"/>
              <a:gd name="connsiteX102" fmla="*/ 568403 w 679304"/>
              <a:gd name="connsiteY102" fmla="*/ 229752 h 801460"/>
              <a:gd name="connsiteX103" fmla="*/ 339654 w 679304"/>
              <a:gd name="connsiteY103" fmla="*/ 991 h 801460"/>
              <a:gd name="connsiteX104" fmla="*/ 110901 w 679304"/>
              <a:gd name="connsiteY104" fmla="*/ 229752 h 801460"/>
              <a:gd name="connsiteX105" fmla="*/ 339654 w 679304"/>
              <a:gd name="connsiteY105" fmla="*/ 458503 h 801460"/>
              <a:gd name="connsiteX106" fmla="*/ 339654 w 679304"/>
              <a:gd name="connsiteY106" fmla="*/ 458503 h 801460"/>
              <a:gd name="connsiteX107" fmla="*/ 652482 w 679304"/>
              <a:gd name="connsiteY107" fmla="*/ 761977 h 801460"/>
              <a:gd name="connsiteX108" fmla="*/ 643308 w 679304"/>
              <a:gd name="connsiteY108" fmla="*/ 764885 h 801460"/>
              <a:gd name="connsiteX109" fmla="*/ 636678 w 679304"/>
              <a:gd name="connsiteY109" fmla="*/ 760580 h 801460"/>
              <a:gd name="connsiteX110" fmla="*/ 563211 w 679304"/>
              <a:gd name="connsiteY110" fmla="*/ 696151 h 801460"/>
              <a:gd name="connsiteX111" fmla="*/ 546600 w 679304"/>
              <a:gd name="connsiteY111" fmla="*/ 706169 h 801460"/>
              <a:gd name="connsiteX112" fmla="*/ 546218 w 679304"/>
              <a:gd name="connsiteY112" fmla="*/ 776772 h 801460"/>
              <a:gd name="connsiteX113" fmla="*/ 544240 w 679304"/>
              <a:gd name="connsiteY113" fmla="*/ 778755 h 801460"/>
              <a:gd name="connsiteX114" fmla="*/ 458740 w 679304"/>
              <a:gd name="connsiteY114" fmla="*/ 778755 h 801460"/>
              <a:gd name="connsiteX115" fmla="*/ 456761 w 679304"/>
              <a:gd name="connsiteY115" fmla="*/ 776772 h 801460"/>
              <a:gd name="connsiteX116" fmla="*/ 456761 w 679304"/>
              <a:gd name="connsiteY116" fmla="*/ 664240 h 801460"/>
              <a:gd name="connsiteX117" fmla="*/ 449221 w 679304"/>
              <a:gd name="connsiteY117" fmla="*/ 653556 h 801460"/>
              <a:gd name="connsiteX118" fmla="*/ 352473 w 679304"/>
              <a:gd name="connsiteY118" fmla="*/ 574795 h 801460"/>
              <a:gd name="connsiteX119" fmla="*/ 355467 w 679304"/>
              <a:gd name="connsiteY119" fmla="*/ 561223 h 801460"/>
              <a:gd name="connsiteX120" fmla="*/ 364749 w 679304"/>
              <a:gd name="connsiteY120" fmla="*/ 558726 h 801460"/>
              <a:gd name="connsiteX121" fmla="*/ 371190 w 679304"/>
              <a:gd name="connsiteY121" fmla="*/ 563309 h 801460"/>
              <a:gd name="connsiteX122" fmla="*/ 554935 w 679304"/>
              <a:gd name="connsiteY122" fmla="*/ 673816 h 801460"/>
              <a:gd name="connsiteX123" fmla="*/ 654882 w 679304"/>
              <a:gd name="connsiteY123" fmla="*/ 748303 h 801460"/>
              <a:gd name="connsiteX124" fmla="*/ 652482 w 679304"/>
              <a:gd name="connsiteY124" fmla="*/ 761977 h 801460"/>
              <a:gd name="connsiteX125" fmla="*/ 652482 w 679304"/>
              <a:gd name="connsiteY125" fmla="*/ 761977 h 801460"/>
              <a:gd name="connsiteX126" fmla="*/ 326832 w 679304"/>
              <a:gd name="connsiteY126" fmla="*/ 574795 h 801460"/>
              <a:gd name="connsiteX127" fmla="*/ 230084 w 679304"/>
              <a:gd name="connsiteY127" fmla="*/ 653556 h 801460"/>
              <a:gd name="connsiteX128" fmla="*/ 222547 w 679304"/>
              <a:gd name="connsiteY128" fmla="*/ 664240 h 801460"/>
              <a:gd name="connsiteX129" fmla="*/ 222547 w 679304"/>
              <a:gd name="connsiteY129" fmla="*/ 776772 h 801460"/>
              <a:gd name="connsiteX130" fmla="*/ 220564 w 679304"/>
              <a:gd name="connsiteY130" fmla="*/ 778755 h 801460"/>
              <a:gd name="connsiteX131" fmla="*/ 135068 w 679304"/>
              <a:gd name="connsiteY131" fmla="*/ 778755 h 801460"/>
              <a:gd name="connsiteX132" fmla="*/ 133086 w 679304"/>
              <a:gd name="connsiteY132" fmla="*/ 776710 h 801460"/>
              <a:gd name="connsiteX133" fmla="*/ 132708 w 679304"/>
              <a:gd name="connsiteY133" fmla="*/ 706169 h 801460"/>
              <a:gd name="connsiteX134" fmla="*/ 116097 w 679304"/>
              <a:gd name="connsiteY134" fmla="*/ 696151 h 801460"/>
              <a:gd name="connsiteX135" fmla="*/ 42630 w 679304"/>
              <a:gd name="connsiteY135" fmla="*/ 760580 h 801460"/>
              <a:gd name="connsiteX136" fmla="*/ 28299 w 679304"/>
              <a:gd name="connsiteY136" fmla="*/ 763066 h 801460"/>
              <a:gd name="connsiteX137" fmla="*/ 26826 w 679304"/>
              <a:gd name="connsiteY137" fmla="*/ 761977 h 801460"/>
              <a:gd name="connsiteX138" fmla="*/ 24422 w 679304"/>
              <a:gd name="connsiteY138" fmla="*/ 748303 h 801460"/>
              <a:gd name="connsiteX139" fmla="*/ 124369 w 679304"/>
              <a:gd name="connsiteY139" fmla="*/ 673816 h 801460"/>
              <a:gd name="connsiteX140" fmla="*/ 308114 w 679304"/>
              <a:gd name="connsiteY140" fmla="*/ 563309 h 801460"/>
              <a:gd name="connsiteX141" fmla="*/ 322321 w 679304"/>
              <a:gd name="connsiteY141" fmla="*/ 560195 h 801460"/>
              <a:gd name="connsiteX142" fmla="*/ 323841 w 679304"/>
              <a:gd name="connsiteY142" fmla="*/ 561223 h 801460"/>
              <a:gd name="connsiteX143" fmla="*/ 326832 w 679304"/>
              <a:gd name="connsiteY143" fmla="*/ 574795 h 801460"/>
              <a:gd name="connsiteX144" fmla="*/ 326832 w 679304"/>
              <a:gd name="connsiteY144" fmla="*/ 574795 h 801460"/>
              <a:gd name="connsiteX145" fmla="*/ 673776 w 679304"/>
              <a:gd name="connsiteY145" fmla="*/ 735696 h 801460"/>
              <a:gd name="connsiteX146" fmla="*/ 561541 w 679304"/>
              <a:gd name="connsiteY146" fmla="*/ 652076 h 801460"/>
              <a:gd name="connsiteX147" fmla="*/ 561328 w 679304"/>
              <a:gd name="connsiteY147" fmla="*/ 652015 h 801460"/>
              <a:gd name="connsiteX148" fmla="*/ 390582 w 679304"/>
              <a:gd name="connsiteY148" fmla="*/ 551483 h 801460"/>
              <a:gd name="connsiteX149" fmla="*/ 344301 w 679304"/>
              <a:gd name="connsiteY149" fmla="*/ 541363 h 801460"/>
              <a:gd name="connsiteX150" fmla="*/ 339654 w 679304"/>
              <a:gd name="connsiteY150" fmla="*/ 544805 h 801460"/>
              <a:gd name="connsiteX151" fmla="*/ 309699 w 679304"/>
              <a:gd name="connsiteY151" fmla="*/ 536524 h 801460"/>
              <a:gd name="connsiteX152" fmla="*/ 288726 w 679304"/>
              <a:gd name="connsiteY152" fmla="*/ 551483 h 801460"/>
              <a:gd name="connsiteX153" fmla="*/ 117975 w 679304"/>
              <a:gd name="connsiteY153" fmla="*/ 652015 h 801460"/>
              <a:gd name="connsiteX154" fmla="*/ 117767 w 679304"/>
              <a:gd name="connsiteY154" fmla="*/ 652076 h 801460"/>
              <a:gd name="connsiteX155" fmla="*/ 5527 w 679304"/>
              <a:gd name="connsiteY155" fmla="*/ 735696 h 801460"/>
              <a:gd name="connsiteX156" fmla="*/ 13349 w 679304"/>
              <a:gd name="connsiteY156" fmla="*/ 780255 h 801460"/>
              <a:gd name="connsiteX157" fmla="*/ 39893 w 679304"/>
              <a:gd name="connsiteY157" fmla="*/ 787251 h 801460"/>
              <a:gd name="connsiteX158" fmla="*/ 61493 w 679304"/>
              <a:gd name="connsiteY158" fmla="*/ 773217 h 801460"/>
              <a:gd name="connsiteX159" fmla="*/ 110098 w 679304"/>
              <a:gd name="connsiteY159" fmla="*/ 725874 h 801460"/>
              <a:gd name="connsiteX160" fmla="*/ 110375 w 679304"/>
              <a:gd name="connsiteY160" fmla="*/ 776772 h 801460"/>
              <a:gd name="connsiteX161" fmla="*/ 135068 w 679304"/>
              <a:gd name="connsiteY161" fmla="*/ 801460 h 801460"/>
              <a:gd name="connsiteX162" fmla="*/ 220564 w 679304"/>
              <a:gd name="connsiteY162" fmla="*/ 801460 h 801460"/>
              <a:gd name="connsiteX163" fmla="*/ 245257 w 679304"/>
              <a:gd name="connsiteY163" fmla="*/ 776772 h 801460"/>
              <a:gd name="connsiteX164" fmla="*/ 245257 w 679304"/>
              <a:gd name="connsiteY164" fmla="*/ 672090 h 801460"/>
              <a:gd name="connsiteX165" fmla="*/ 339654 w 679304"/>
              <a:gd name="connsiteY165" fmla="*/ 596750 h 801460"/>
              <a:gd name="connsiteX166" fmla="*/ 434047 w 679304"/>
              <a:gd name="connsiteY166" fmla="*/ 672090 h 801460"/>
              <a:gd name="connsiteX167" fmla="*/ 434047 w 679304"/>
              <a:gd name="connsiteY167" fmla="*/ 776772 h 801460"/>
              <a:gd name="connsiteX168" fmla="*/ 458740 w 679304"/>
              <a:gd name="connsiteY168" fmla="*/ 801460 h 801460"/>
              <a:gd name="connsiteX169" fmla="*/ 544240 w 679304"/>
              <a:gd name="connsiteY169" fmla="*/ 801460 h 801460"/>
              <a:gd name="connsiteX170" fmla="*/ 568933 w 679304"/>
              <a:gd name="connsiteY170" fmla="*/ 776823 h 801460"/>
              <a:gd name="connsiteX171" fmla="*/ 569207 w 679304"/>
              <a:gd name="connsiteY171" fmla="*/ 725874 h 801460"/>
              <a:gd name="connsiteX172" fmla="*/ 617815 w 679304"/>
              <a:gd name="connsiteY172" fmla="*/ 773217 h 801460"/>
              <a:gd name="connsiteX173" fmla="*/ 664486 w 679304"/>
              <a:gd name="connsiteY173" fmla="*/ 781344 h 801460"/>
              <a:gd name="connsiteX174" fmla="*/ 665959 w 679304"/>
              <a:gd name="connsiteY174" fmla="*/ 780255 h 801460"/>
              <a:gd name="connsiteX175" fmla="*/ 673776 w 679304"/>
              <a:gd name="connsiteY175" fmla="*/ 735696 h 801460"/>
              <a:gd name="connsiteX176" fmla="*/ 673776 w 679304"/>
              <a:gd name="connsiteY176" fmla="*/ 735696 h 801460"/>
              <a:gd name="connsiteX177" fmla="*/ 567436 w 679304"/>
              <a:gd name="connsiteY177" fmla="*/ 560154 h 801460"/>
              <a:gd name="connsiteX178" fmla="*/ 530987 w 679304"/>
              <a:gd name="connsiteY178" fmla="*/ 523692 h 801460"/>
              <a:gd name="connsiteX179" fmla="*/ 494535 w 679304"/>
              <a:gd name="connsiteY179" fmla="*/ 560154 h 801460"/>
              <a:gd name="connsiteX180" fmla="*/ 530987 w 679304"/>
              <a:gd name="connsiteY180" fmla="*/ 596606 h 801460"/>
              <a:gd name="connsiteX181" fmla="*/ 567436 w 679304"/>
              <a:gd name="connsiteY181" fmla="*/ 560154 h 801460"/>
              <a:gd name="connsiteX182" fmla="*/ 567436 w 679304"/>
              <a:gd name="connsiteY182" fmla="*/ 560154 h 801460"/>
              <a:gd name="connsiteX183" fmla="*/ 471820 w 679304"/>
              <a:gd name="connsiteY183" fmla="*/ 560154 h 801460"/>
              <a:gd name="connsiteX184" fmla="*/ 530987 w 679304"/>
              <a:gd name="connsiteY184" fmla="*/ 619322 h 801460"/>
              <a:gd name="connsiteX185" fmla="*/ 590151 w 679304"/>
              <a:gd name="connsiteY185" fmla="*/ 560154 h 801460"/>
              <a:gd name="connsiteX186" fmla="*/ 530987 w 679304"/>
              <a:gd name="connsiteY186" fmla="*/ 500986 h 801460"/>
              <a:gd name="connsiteX187" fmla="*/ 471820 w 679304"/>
              <a:gd name="connsiteY187" fmla="*/ 560154 h 801460"/>
              <a:gd name="connsiteX188" fmla="*/ 471820 w 679304"/>
              <a:gd name="connsiteY188" fmla="*/ 560154 h 801460"/>
              <a:gd name="connsiteX189" fmla="*/ 184773 w 679304"/>
              <a:gd name="connsiteY189" fmla="*/ 560154 h 801460"/>
              <a:gd name="connsiteX190" fmla="*/ 148321 w 679304"/>
              <a:gd name="connsiteY190" fmla="*/ 523692 h 801460"/>
              <a:gd name="connsiteX191" fmla="*/ 111868 w 679304"/>
              <a:gd name="connsiteY191" fmla="*/ 560154 h 801460"/>
              <a:gd name="connsiteX192" fmla="*/ 148321 w 679304"/>
              <a:gd name="connsiteY192" fmla="*/ 596606 h 801460"/>
              <a:gd name="connsiteX193" fmla="*/ 184773 w 679304"/>
              <a:gd name="connsiteY193" fmla="*/ 560154 h 801460"/>
              <a:gd name="connsiteX194" fmla="*/ 184773 w 679304"/>
              <a:gd name="connsiteY194" fmla="*/ 560154 h 801460"/>
              <a:gd name="connsiteX195" fmla="*/ 89157 w 679304"/>
              <a:gd name="connsiteY195" fmla="*/ 560154 h 801460"/>
              <a:gd name="connsiteX196" fmla="*/ 148321 w 679304"/>
              <a:gd name="connsiteY196" fmla="*/ 619322 h 801460"/>
              <a:gd name="connsiteX197" fmla="*/ 207484 w 679304"/>
              <a:gd name="connsiteY197" fmla="*/ 560154 h 801460"/>
              <a:gd name="connsiteX198" fmla="*/ 148321 w 679304"/>
              <a:gd name="connsiteY198" fmla="*/ 500986 h 801460"/>
              <a:gd name="connsiteX199" fmla="*/ 89157 w 679304"/>
              <a:gd name="connsiteY199" fmla="*/ 560154 h 80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</a:cxnLst>
            <a:rect l="l" t="t" r="r" b="b"/>
            <a:pathLst>
              <a:path w="679304" h="801460">
                <a:moveTo>
                  <a:pt x="553358" y="19617"/>
                </a:moveTo>
                <a:cubicBezTo>
                  <a:pt x="548802" y="15302"/>
                  <a:pt x="548602" y="8110"/>
                  <a:pt x="552908" y="3559"/>
                </a:cubicBezTo>
                <a:cubicBezTo>
                  <a:pt x="557219" y="-1003"/>
                  <a:pt x="564402" y="-1198"/>
                  <a:pt x="568961" y="3107"/>
                </a:cubicBezTo>
                <a:cubicBezTo>
                  <a:pt x="687470" y="115102"/>
                  <a:pt x="700070" y="300282"/>
                  <a:pt x="596521" y="426756"/>
                </a:cubicBezTo>
                <a:lnTo>
                  <a:pt x="617501" y="421065"/>
                </a:lnTo>
                <a:cubicBezTo>
                  <a:pt x="623554" y="419410"/>
                  <a:pt x="629794" y="422975"/>
                  <a:pt x="631440" y="429027"/>
                </a:cubicBezTo>
                <a:cubicBezTo>
                  <a:pt x="633082" y="435099"/>
                  <a:pt x="629510" y="441325"/>
                  <a:pt x="623458" y="442979"/>
                </a:cubicBezTo>
                <a:lnTo>
                  <a:pt x="564141" y="459089"/>
                </a:lnTo>
                <a:cubicBezTo>
                  <a:pt x="555910" y="461362"/>
                  <a:pt x="548050" y="453880"/>
                  <a:pt x="550135" y="445414"/>
                </a:cubicBezTo>
                <a:lnTo>
                  <a:pt x="564851" y="385722"/>
                </a:lnTo>
                <a:cubicBezTo>
                  <a:pt x="566352" y="379640"/>
                  <a:pt x="572505" y="375931"/>
                  <a:pt x="578593" y="377421"/>
                </a:cubicBezTo>
                <a:cubicBezTo>
                  <a:pt x="584685" y="378931"/>
                  <a:pt x="588406" y="385074"/>
                  <a:pt x="586900" y="391177"/>
                </a:cubicBezTo>
                <a:lnTo>
                  <a:pt x="582892" y="407451"/>
                </a:lnTo>
                <a:cubicBezTo>
                  <a:pt x="622459" y="356893"/>
                  <a:pt x="643910" y="295053"/>
                  <a:pt x="643910" y="229752"/>
                </a:cubicBezTo>
                <a:cubicBezTo>
                  <a:pt x="643910" y="149440"/>
                  <a:pt x="611751" y="74809"/>
                  <a:pt x="553358" y="19617"/>
                </a:cubicBezTo>
                <a:lnTo>
                  <a:pt x="553358" y="19617"/>
                </a:lnTo>
                <a:close/>
                <a:moveTo>
                  <a:pt x="12687" y="229752"/>
                </a:moveTo>
                <a:cubicBezTo>
                  <a:pt x="12687" y="157145"/>
                  <a:pt x="37385" y="88248"/>
                  <a:pt x="82775" y="32747"/>
                </a:cubicBezTo>
                <a:lnTo>
                  <a:pt x="61805" y="38439"/>
                </a:lnTo>
                <a:cubicBezTo>
                  <a:pt x="55754" y="40093"/>
                  <a:pt x="49513" y="36508"/>
                  <a:pt x="47867" y="30456"/>
                </a:cubicBezTo>
                <a:cubicBezTo>
                  <a:pt x="46222" y="24405"/>
                  <a:pt x="49794" y="18179"/>
                  <a:pt x="55850" y="16515"/>
                </a:cubicBezTo>
                <a:lnTo>
                  <a:pt x="115166" y="405"/>
                </a:lnTo>
                <a:cubicBezTo>
                  <a:pt x="123479" y="-1857"/>
                  <a:pt x="131234" y="5725"/>
                  <a:pt x="129173" y="14090"/>
                </a:cubicBezTo>
                <a:lnTo>
                  <a:pt x="114456" y="73751"/>
                </a:lnTo>
                <a:cubicBezTo>
                  <a:pt x="112938" y="79907"/>
                  <a:pt x="106759" y="83551"/>
                  <a:pt x="100711" y="82063"/>
                </a:cubicBezTo>
                <a:cubicBezTo>
                  <a:pt x="94623" y="80573"/>
                  <a:pt x="90902" y="74419"/>
                  <a:pt x="92403" y="68326"/>
                </a:cubicBezTo>
                <a:lnTo>
                  <a:pt x="96412" y="52073"/>
                </a:lnTo>
                <a:cubicBezTo>
                  <a:pt x="56862" y="102652"/>
                  <a:pt x="35398" y="164594"/>
                  <a:pt x="35398" y="229752"/>
                </a:cubicBezTo>
                <a:cubicBezTo>
                  <a:pt x="35398" y="310054"/>
                  <a:pt x="67557" y="384694"/>
                  <a:pt x="125950" y="439876"/>
                </a:cubicBezTo>
                <a:cubicBezTo>
                  <a:pt x="133424" y="446956"/>
                  <a:pt x="128329" y="459499"/>
                  <a:pt x="118144" y="459499"/>
                </a:cubicBezTo>
                <a:cubicBezTo>
                  <a:pt x="115343" y="459499"/>
                  <a:pt x="112537" y="458462"/>
                  <a:pt x="110343" y="456397"/>
                </a:cubicBezTo>
                <a:cubicBezTo>
                  <a:pt x="47836" y="397431"/>
                  <a:pt x="12687" y="315784"/>
                  <a:pt x="12687" y="229752"/>
                </a:cubicBezTo>
                <a:lnTo>
                  <a:pt x="12687" y="229752"/>
                </a:lnTo>
                <a:close/>
                <a:moveTo>
                  <a:pt x="328296" y="24035"/>
                </a:moveTo>
                <a:lnTo>
                  <a:pt x="328296" y="75292"/>
                </a:lnTo>
                <a:cubicBezTo>
                  <a:pt x="325415" y="74974"/>
                  <a:pt x="322979" y="73915"/>
                  <a:pt x="320586" y="71943"/>
                </a:cubicBezTo>
                <a:cubicBezTo>
                  <a:pt x="291910" y="48358"/>
                  <a:pt x="247893" y="68617"/>
                  <a:pt x="247893" y="106320"/>
                </a:cubicBezTo>
                <a:cubicBezTo>
                  <a:pt x="247893" y="143916"/>
                  <a:pt x="291802" y="164318"/>
                  <a:pt x="320586" y="140686"/>
                </a:cubicBezTo>
                <a:cubicBezTo>
                  <a:pt x="322979" y="138724"/>
                  <a:pt x="325415" y="137645"/>
                  <a:pt x="328296" y="137337"/>
                </a:cubicBezTo>
                <a:lnTo>
                  <a:pt x="328296" y="218399"/>
                </a:lnTo>
                <a:lnTo>
                  <a:pt x="244222" y="218399"/>
                </a:lnTo>
                <a:cubicBezTo>
                  <a:pt x="233309" y="218399"/>
                  <a:pt x="224433" y="227266"/>
                  <a:pt x="224433" y="238187"/>
                </a:cubicBezTo>
                <a:cubicBezTo>
                  <a:pt x="224433" y="261885"/>
                  <a:pt x="237981" y="261408"/>
                  <a:pt x="237981" y="277043"/>
                </a:cubicBezTo>
                <a:cubicBezTo>
                  <a:pt x="237981" y="289033"/>
                  <a:pt x="228217" y="298793"/>
                  <a:pt x="216221" y="298793"/>
                </a:cubicBezTo>
                <a:cubicBezTo>
                  <a:pt x="197828" y="298793"/>
                  <a:pt x="187827" y="277303"/>
                  <a:pt x="199397" y="263235"/>
                </a:cubicBezTo>
                <a:cubicBezTo>
                  <a:pt x="205588" y="255708"/>
                  <a:pt x="208006" y="247822"/>
                  <a:pt x="208006" y="238187"/>
                </a:cubicBezTo>
                <a:cubicBezTo>
                  <a:pt x="208006" y="227266"/>
                  <a:pt x="199133" y="218399"/>
                  <a:pt x="188220" y="218399"/>
                </a:cubicBezTo>
                <a:lnTo>
                  <a:pt x="133925" y="218399"/>
                </a:lnTo>
                <a:cubicBezTo>
                  <a:pt x="139628" y="113799"/>
                  <a:pt x="223706" y="29737"/>
                  <a:pt x="328296" y="24035"/>
                </a:cubicBezTo>
                <a:lnTo>
                  <a:pt x="328296" y="24035"/>
                </a:lnTo>
                <a:close/>
                <a:moveTo>
                  <a:pt x="351012" y="78313"/>
                </a:moveTo>
                <a:cubicBezTo>
                  <a:pt x="351012" y="89234"/>
                  <a:pt x="342130" y="98111"/>
                  <a:pt x="331222" y="98111"/>
                </a:cubicBezTo>
                <a:cubicBezTo>
                  <a:pt x="321600" y="98111"/>
                  <a:pt x="313688" y="95683"/>
                  <a:pt x="306167" y="89501"/>
                </a:cubicBezTo>
                <a:cubicBezTo>
                  <a:pt x="292064" y="77908"/>
                  <a:pt x="270609" y="87947"/>
                  <a:pt x="270609" y="106320"/>
                </a:cubicBezTo>
                <a:cubicBezTo>
                  <a:pt x="270609" y="118309"/>
                  <a:pt x="280366" y="128080"/>
                  <a:pt x="292366" y="128080"/>
                </a:cubicBezTo>
                <a:cubicBezTo>
                  <a:pt x="308030" y="128080"/>
                  <a:pt x="307482" y="114529"/>
                  <a:pt x="331222" y="114529"/>
                </a:cubicBezTo>
                <a:cubicBezTo>
                  <a:pt x="342130" y="114529"/>
                  <a:pt x="351012" y="123405"/>
                  <a:pt x="351012" y="134316"/>
                </a:cubicBezTo>
                <a:lnTo>
                  <a:pt x="351012" y="218399"/>
                </a:lnTo>
                <a:lnTo>
                  <a:pt x="432060" y="218399"/>
                </a:lnTo>
                <a:cubicBezTo>
                  <a:pt x="431747" y="215502"/>
                  <a:pt x="430680" y="213077"/>
                  <a:pt x="428716" y="210683"/>
                </a:cubicBezTo>
                <a:cubicBezTo>
                  <a:pt x="405067" y="181868"/>
                  <a:pt x="425510" y="137984"/>
                  <a:pt x="463087" y="137984"/>
                </a:cubicBezTo>
                <a:cubicBezTo>
                  <a:pt x="500699" y="137984"/>
                  <a:pt x="521085" y="181918"/>
                  <a:pt x="497457" y="210683"/>
                </a:cubicBezTo>
                <a:cubicBezTo>
                  <a:pt x="495490" y="213077"/>
                  <a:pt x="494423" y="215502"/>
                  <a:pt x="494110" y="218399"/>
                </a:cubicBezTo>
                <a:lnTo>
                  <a:pt x="545371" y="218399"/>
                </a:lnTo>
                <a:cubicBezTo>
                  <a:pt x="539660" y="113799"/>
                  <a:pt x="455601" y="29727"/>
                  <a:pt x="351012" y="24014"/>
                </a:cubicBezTo>
                <a:lnTo>
                  <a:pt x="351012" y="78313"/>
                </a:lnTo>
                <a:lnTo>
                  <a:pt x="351012" y="78313"/>
                </a:lnTo>
                <a:close/>
                <a:moveTo>
                  <a:pt x="351012" y="435469"/>
                </a:moveTo>
                <a:lnTo>
                  <a:pt x="351012" y="384201"/>
                </a:lnTo>
                <a:cubicBezTo>
                  <a:pt x="353893" y="384530"/>
                  <a:pt x="356329" y="385578"/>
                  <a:pt x="358717" y="387540"/>
                </a:cubicBezTo>
                <a:cubicBezTo>
                  <a:pt x="387465" y="411179"/>
                  <a:pt x="431413" y="390804"/>
                  <a:pt x="431413" y="353184"/>
                </a:cubicBezTo>
                <a:cubicBezTo>
                  <a:pt x="431413" y="315571"/>
                  <a:pt x="387482" y="295170"/>
                  <a:pt x="358717" y="318817"/>
                </a:cubicBezTo>
                <a:cubicBezTo>
                  <a:pt x="356329" y="320780"/>
                  <a:pt x="353893" y="321838"/>
                  <a:pt x="351012" y="322167"/>
                </a:cubicBezTo>
                <a:lnTo>
                  <a:pt x="351012" y="241105"/>
                </a:lnTo>
                <a:lnTo>
                  <a:pt x="435086" y="241105"/>
                </a:lnTo>
                <a:cubicBezTo>
                  <a:pt x="445998" y="241105"/>
                  <a:pt x="454875" y="232228"/>
                  <a:pt x="454875" y="221317"/>
                </a:cubicBezTo>
                <a:cubicBezTo>
                  <a:pt x="454875" y="197597"/>
                  <a:pt x="441327" y="198106"/>
                  <a:pt x="441327" y="182460"/>
                </a:cubicBezTo>
                <a:cubicBezTo>
                  <a:pt x="441327" y="170471"/>
                  <a:pt x="451087" y="160700"/>
                  <a:pt x="463087" y="160700"/>
                </a:cubicBezTo>
                <a:cubicBezTo>
                  <a:pt x="481462" y="160700"/>
                  <a:pt x="491488" y="182183"/>
                  <a:pt x="479911" y="196269"/>
                </a:cubicBezTo>
                <a:cubicBezTo>
                  <a:pt x="473708" y="203815"/>
                  <a:pt x="471298" y="211662"/>
                  <a:pt x="471298" y="221317"/>
                </a:cubicBezTo>
                <a:cubicBezTo>
                  <a:pt x="471298" y="232228"/>
                  <a:pt x="480175" y="241105"/>
                  <a:pt x="491088" y="241105"/>
                </a:cubicBezTo>
                <a:lnTo>
                  <a:pt x="545383" y="241105"/>
                </a:lnTo>
                <a:cubicBezTo>
                  <a:pt x="539680" y="345704"/>
                  <a:pt x="455601" y="429757"/>
                  <a:pt x="351012" y="435469"/>
                </a:cubicBezTo>
                <a:lnTo>
                  <a:pt x="351012" y="435469"/>
                </a:lnTo>
                <a:close/>
                <a:moveTo>
                  <a:pt x="328296" y="381181"/>
                </a:moveTo>
                <a:cubicBezTo>
                  <a:pt x="328296" y="370270"/>
                  <a:pt x="337174" y="361393"/>
                  <a:pt x="348086" y="361393"/>
                </a:cubicBezTo>
                <a:cubicBezTo>
                  <a:pt x="357713" y="361393"/>
                  <a:pt x="365614" y="363810"/>
                  <a:pt x="373141" y="370003"/>
                </a:cubicBezTo>
                <a:cubicBezTo>
                  <a:pt x="387201" y="381569"/>
                  <a:pt x="408699" y="371564"/>
                  <a:pt x="408699" y="353184"/>
                </a:cubicBezTo>
                <a:cubicBezTo>
                  <a:pt x="408699" y="341173"/>
                  <a:pt x="398938" y="331424"/>
                  <a:pt x="386942" y="331424"/>
                </a:cubicBezTo>
                <a:cubicBezTo>
                  <a:pt x="371303" y="331424"/>
                  <a:pt x="371775" y="344975"/>
                  <a:pt x="348086" y="344975"/>
                </a:cubicBezTo>
                <a:cubicBezTo>
                  <a:pt x="337174" y="344975"/>
                  <a:pt x="328296" y="336098"/>
                  <a:pt x="328296" y="325177"/>
                </a:cubicBezTo>
                <a:lnTo>
                  <a:pt x="328296" y="241105"/>
                </a:lnTo>
                <a:lnTo>
                  <a:pt x="247244" y="241105"/>
                </a:lnTo>
                <a:cubicBezTo>
                  <a:pt x="247557" y="243992"/>
                  <a:pt x="248624" y="246427"/>
                  <a:pt x="250591" y="248810"/>
                </a:cubicBezTo>
                <a:cubicBezTo>
                  <a:pt x="274180" y="277470"/>
                  <a:pt x="253925" y="321509"/>
                  <a:pt x="216221" y="321509"/>
                </a:cubicBezTo>
                <a:cubicBezTo>
                  <a:pt x="178513" y="321509"/>
                  <a:pt x="158256" y="277468"/>
                  <a:pt x="181851" y="248810"/>
                </a:cubicBezTo>
                <a:cubicBezTo>
                  <a:pt x="183817" y="246427"/>
                  <a:pt x="184881" y="243992"/>
                  <a:pt x="185194" y="241105"/>
                </a:cubicBezTo>
                <a:lnTo>
                  <a:pt x="133933" y="241105"/>
                </a:lnTo>
                <a:cubicBezTo>
                  <a:pt x="139643" y="345704"/>
                  <a:pt x="223702" y="429777"/>
                  <a:pt x="328296" y="435489"/>
                </a:cubicBezTo>
                <a:lnTo>
                  <a:pt x="328296" y="381181"/>
                </a:lnTo>
                <a:lnTo>
                  <a:pt x="328296" y="381181"/>
                </a:lnTo>
                <a:close/>
                <a:moveTo>
                  <a:pt x="339654" y="458503"/>
                </a:moveTo>
                <a:cubicBezTo>
                  <a:pt x="465788" y="458503"/>
                  <a:pt x="568403" y="355876"/>
                  <a:pt x="568403" y="229752"/>
                </a:cubicBezTo>
                <a:cubicBezTo>
                  <a:pt x="568403" y="103607"/>
                  <a:pt x="465788" y="991"/>
                  <a:pt x="339654" y="991"/>
                </a:cubicBezTo>
                <a:cubicBezTo>
                  <a:pt x="213520" y="991"/>
                  <a:pt x="110901" y="103607"/>
                  <a:pt x="110901" y="229752"/>
                </a:cubicBezTo>
                <a:cubicBezTo>
                  <a:pt x="110901" y="355876"/>
                  <a:pt x="213520" y="458503"/>
                  <a:pt x="339654" y="458503"/>
                </a:cubicBezTo>
                <a:lnTo>
                  <a:pt x="339654" y="458503"/>
                </a:lnTo>
                <a:close/>
                <a:moveTo>
                  <a:pt x="652482" y="761977"/>
                </a:moveTo>
                <a:cubicBezTo>
                  <a:pt x="649505" y="764179"/>
                  <a:pt x="647512" y="765622"/>
                  <a:pt x="643308" y="764885"/>
                </a:cubicBezTo>
                <a:cubicBezTo>
                  <a:pt x="640382" y="764371"/>
                  <a:pt x="638335" y="763046"/>
                  <a:pt x="636678" y="760580"/>
                </a:cubicBezTo>
                <a:cubicBezTo>
                  <a:pt x="618573" y="733580"/>
                  <a:pt x="594542" y="712508"/>
                  <a:pt x="563211" y="696151"/>
                </a:cubicBezTo>
                <a:cubicBezTo>
                  <a:pt x="555705" y="692238"/>
                  <a:pt x="546644" y="697647"/>
                  <a:pt x="546600" y="706169"/>
                </a:cubicBezTo>
                <a:lnTo>
                  <a:pt x="546218" y="776772"/>
                </a:lnTo>
                <a:cubicBezTo>
                  <a:pt x="546218" y="777820"/>
                  <a:pt x="545290" y="778755"/>
                  <a:pt x="544240" y="778755"/>
                </a:cubicBezTo>
                <a:lnTo>
                  <a:pt x="458740" y="778755"/>
                </a:lnTo>
                <a:cubicBezTo>
                  <a:pt x="457685" y="778755"/>
                  <a:pt x="456761" y="777820"/>
                  <a:pt x="456761" y="776772"/>
                </a:cubicBezTo>
                <a:lnTo>
                  <a:pt x="456761" y="664240"/>
                </a:lnTo>
                <a:cubicBezTo>
                  <a:pt x="456761" y="659443"/>
                  <a:pt x="453740" y="655158"/>
                  <a:pt x="449221" y="653556"/>
                </a:cubicBezTo>
                <a:cubicBezTo>
                  <a:pt x="407149" y="638524"/>
                  <a:pt x="375501" y="612767"/>
                  <a:pt x="352473" y="574795"/>
                </a:cubicBezTo>
                <a:cubicBezTo>
                  <a:pt x="349679" y="570192"/>
                  <a:pt x="350995" y="564223"/>
                  <a:pt x="355467" y="561223"/>
                </a:cubicBezTo>
                <a:cubicBezTo>
                  <a:pt x="358635" y="559086"/>
                  <a:pt x="360636" y="557825"/>
                  <a:pt x="364749" y="558726"/>
                </a:cubicBezTo>
                <a:cubicBezTo>
                  <a:pt x="367655" y="559353"/>
                  <a:pt x="369640" y="560760"/>
                  <a:pt x="371190" y="563309"/>
                </a:cubicBezTo>
                <a:cubicBezTo>
                  <a:pt x="413783" y="633120"/>
                  <a:pt x="488760" y="654747"/>
                  <a:pt x="554935" y="673816"/>
                </a:cubicBezTo>
                <a:cubicBezTo>
                  <a:pt x="597568" y="687018"/>
                  <a:pt x="630260" y="711367"/>
                  <a:pt x="654882" y="748303"/>
                </a:cubicBezTo>
                <a:cubicBezTo>
                  <a:pt x="657872" y="752772"/>
                  <a:pt x="656816" y="758782"/>
                  <a:pt x="652482" y="761977"/>
                </a:cubicBezTo>
                <a:lnTo>
                  <a:pt x="652482" y="761977"/>
                </a:lnTo>
                <a:close/>
                <a:moveTo>
                  <a:pt x="326832" y="574795"/>
                </a:moveTo>
                <a:cubicBezTo>
                  <a:pt x="303803" y="612767"/>
                  <a:pt x="272159" y="638524"/>
                  <a:pt x="230084" y="653556"/>
                </a:cubicBezTo>
                <a:cubicBezTo>
                  <a:pt x="225564" y="655158"/>
                  <a:pt x="222547" y="659443"/>
                  <a:pt x="222547" y="664240"/>
                </a:cubicBezTo>
                <a:lnTo>
                  <a:pt x="222547" y="776772"/>
                </a:lnTo>
                <a:cubicBezTo>
                  <a:pt x="222547" y="777820"/>
                  <a:pt x="221619" y="778755"/>
                  <a:pt x="220564" y="778755"/>
                </a:cubicBezTo>
                <a:lnTo>
                  <a:pt x="135068" y="778755"/>
                </a:lnTo>
                <a:cubicBezTo>
                  <a:pt x="134013" y="778755"/>
                  <a:pt x="133086" y="777820"/>
                  <a:pt x="133086" y="776710"/>
                </a:cubicBezTo>
                <a:lnTo>
                  <a:pt x="132708" y="706169"/>
                </a:lnTo>
                <a:cubicBezTo>
                  <a:pt x="132660" y="697683"/>
                  <a:pt x="123652" y="692223"/>
                  <a:pt x="116097" y="696151"/>
                </a:cubicBezTo>
                <a:cubicBezTo>
                  <a:pt x="84766" y="712508"/>
                  <a:pt x="60735" y="733580"/>
                  <a:pt x="42630" y="760580"/>
                </a:cubicBezTo>
                <a:cubicBezTo>
                  <a:pt x="39391" y="765404"/>
                  <a:pt x="32974" y="766521"/>
                  <a:pt x="28299" y="763066"/>
                </a:cubicBezTo>
                <a:lnTo>
                  <a:pt x="26826" y="761977"/>
                </a:lnTo>
                <a:cubicBezTo>
                  <a:pt x="22492" y="758782"/>
                  <a:pt x="21436" y="752772"/>
                  <a:pt x="24422" y="748303"/>
                </a:cubicBezTo>
                <a:cubicBezTo>
                  <a:pt x="49044" y="711367"/>
                  <a:pt x="81736" y="687018"/>
                  <a:pt x="124369" y="673816"/>
                </a:cubicBezTo>
                <a:cubicBezTo>
                  <a:pt x="190548" y="654747"/>
                  <a:pt x="265525" y="633120"/>
                  <a:pt x="308114" y="563309"/>
                </a:cubicBezTo>
                <a:cubicBezTo>
                  <a:pt x="311133" y="558356"/>
                  <a:pt x="317513" y="556958"/>
                  <a:pt x="322321" y="560195"/>
                </a:cubicBezTo>
                <a:lnTo>
                  <a:pt x="323841" y="561223"/>
                </a:lnTo>
                <a:cubicBezTo>
                  <a:pt x="328313" y="564223"/>
                  <a:pt x="329625" y="570192"/>
                  <a:pt x="326832" y="574795"/>
                </a:cubicBezTo>
                <a:lnTo>
                  <a:pt x="326832" y="574795"/>
                </a:lnTo>
                <a:close/>
                <a:moveTo>
                  <a:pt x="673776" y="735696"/>
                </a:moveTo>
                <a:cubicBezTo>
                  <a:pt x="646510" y="694806"/>
                  <a:pt x="608749" y="666675"/>
                  <a:pt x="561541" y="652076"/>
                </a:cubicBezTo>
                <a:cubicBezTo>
                  <a:pt x="561472" y="652055"/>
                  <a:pt x="561400" y="652045"/>
                  <a:pt x="561328" y="652015"/>
                </a:cubicBezTo>
                <a:cubicBezTo>
                  <a:pt x="496072" y="633223"/>
                  <a:pt x="428588" y="613785"/>
                  <a:pt x="390582" y="551483"/>
                </a:cubicBezTo>
                <a:cubicBezTo>
                  <a:pt x="380812" y="535476"/>
                  <a:pt x="359866" y="530897"/>
                  <a:pt x="344301" y="541363"/>
                </a:cubicBezTo>
                <a:lnTo>
                  <a:pt x="339654" y="544805"/>
                </a:lnTo>
                <a:cubicBezTo>
                  <a:pt x="331309" y="537540"/>
                  <a:pt x="320832" y="534096"/>
                  <a:pt x="309699" y="536524"/>
                </a:cubicBezTo>
                <a:cubicBezTo>
                  <a:pt x="300754" y="538486"/>
                  <a:pt x="293497" y="543664"/>
                  <a:pt x="288726" y="551483"/>
                </a:cubicBezTo>
                <a:cubicBezTo>
                  <a:pt x="250716" y="613785"/>
                  <a:pt x="183236" y="633223"/>
                  <a:pt x="117975" y="652015"/>
                </a:cubicBezTo>
                <a:cubicBezTo>
                  <a:pt x="117904" y="652045"/>
                  <a:pt x="117836" y="652055"/>
                  <a:pt x="117767" y="652076"/>
                </a:cubicBezTo>
                <a:cubicBezTo>
                  <a:pt x="70559" y="666675"/>
                  <a:pt x="32798" y="694806"/>
                  <a:pt x="5527" y="735696"/>
                </a:cubicBezTo>
                <a:cubicBezTo>
                  <a:pt x="-4205" y="750275"/>
                  <a:pt x="-770" y="769858"/>
                  <a:pt x="13349" y="780255"/>
                </a:cubicBezTo>
                <a:cubicBezTo>
                  <a:pt x="21560" y="786314"/>
                  <a:pt x="29474" y="789060"/>
                  <a:pt x="39893" y="787251"/>
                </a:cubicBezTo>
                <a:cubicBezTo>
                  <a:pt x="48920" y="785690"/>
                  <a:pt x="56388" y="780840"/>
                  <a:pt x="61493" y="773217"/>
                </a:cubicBezTo>
                <a:cubicBezTo>
                  <a:pt x="74123" y="754395"/>
                  <a:pt x="90124" y="738789"/>
                  <a:pt x="110098" y="725874"/>
                </a:cubicBezTo>
                <a:lnTo>
                  <a:pt x="110375" y="776772"/>
                </a:lnTo>
                <a:cubicBezTo>
                  <a:pt x="110375" y="790385"/>
                  <a:pt x="121451" y="801460"/>
                  <a:pt x="135068" y="801460"/>
                </a:cubicBezTo>
                <a:lnTo>
                  <a:pt x="220564" y="801460"/>
                </a:lnTo>
                <a:cubicBezTo>
                  <a:pt x="234181" y="801460"/>
                  <a:pt x="245257" y="790385"/>
                  <a:pt x="245257" y="776772"/>
                </a:cubicBezTo>
                <a:lnTo>
                  <a:pt x="245257" y="672090"/>
                </a:lnTo>
                <a:cubicBezTo>
                  <a:pt x="284443" y="656535"/>
                  <a:pt x="316104" y="631230"/>
                  <a:pt x="339654" y="596750"/>
                </a:cubicBezTo>
                <a:cubicBezTo>
                  <a:pt x="363204" y="631230"/>
                  <a:pt x="394865" y="656535"/>
                  <a:pt x="434047" y="672090"/>
                </a:cubicBezTo>
                <a:lnTo>
                  <a:pt x="434047" y="776772"/>
                </a:lnTo>
                <a:cubicBezTo>
                  <a:pt x="434047" y="790385"/>
                  <a:pt x="445123" y="801460"/>
                  <a:pt x="458740" y="801460"/>
                </a:cubicBezTo>
                <a:lnTo>
                  <a:pt x="544240" y="801460"/>
                </a:lnTo>
                <a:cubicBezTo>
                  <a:pt x="557853" y="801460"/>
                  <a:pt x="568933" y="790385"/>
                  <a:pt x="568933" y="776823"/>
                </a:cubicBezTo>
                <a:lnTo>
                  <a:pt x="569207" y="725874"/>
                </a:lnTo>
                <a:cubicBezTo>
                  <a:pt x="589180" y="738789"/>
                  <a:pt x="605185" y="754395"/>
                  <a:pt x="617815" y="773217"/>
                </a:cubicBezTo>
                <a:cubicBezTo>
                  <a:pt x="628250" y="788782"/>
                  <a:pt x="649407" y="792471"/>
                  <a:pt x="664486" y="781344"/>
                </a:cubicBezTo>
                <a:lnTo>
                  <a:pt x="665959" y="780255"/>
                </a:lnTo>
                <a:cubicBezTo>
                  <a:pt x="680074" y="769858"/>
                  <a:pt x="683509" y="750275"/>
                  <a:pt x="673776" y="735696"/>
                </a:cubicBezTo>
                <a:lnTo>
                  <a:pt x="673776" y="735696"/>
                </a:lnTo>
                <a:close/>
                <a:moveTo>
                  <a:pt x="567436" y="560154"/>
                </a:moveTo>
                <a:cubicBezTo>
                  <a:pt x="567436" y="540048"/>
                  <a:pt x="551086" y="523692"/>
                  <a:pt x="530987" y="523692"/>
                </a:cubicBezTo>
                <a:cubicBezTo>
                  <a:pt x="510885" y="523692"/>
                  <a:pt x="494535" y="540048"/>
                  <a:pt x="494535" y="560154"/>
                </a:cubicBezTo>
                <a:cubicBezTo>
                  <a:pt x="494535" y="580250"/>
                  <a:pt x="510885" y="596606"/>
                  <a:pt x="530987" y="596606"/>
                </a:cubicBezTo>
                <a:cubicBezTo>
                  <a:pt x="551086" y="596606"/>
                  <a:pt x="567436" y="580250"/>
                  <a:pt x="567436" y="560154"/>
                </a:cubicBezTo>
                <a:lnTo>
                  <a:pt x="567436" y="560154"/>
                </a:lnTo>
                <a:close/>
                <a:moveTo>
                  <a:pt x="471820" y="560154"/>
                </a:moveTo>
                <a:cubicBezTo>
                  <a:pt x="471820" y="592774"/>
                  <a:pt x="498364" y="619322"/>
                  <a:pt x="530987" y="619322"/>
                </a:cubicBezTo>
                <a:cubicBezTo>
                  <a:pt x="563611" y="619322"/>
                  <a:pt x="590151" y="592774"/>
                  <a:pt x="590151" y="560154"/>
                </a:cubicBezTo>
                <a:cubicBezTo>
                  <a:pt x="590151" y="527524"/>
                  <a:pt x="563611" y="500986"/>
                  <a:pt x="530987" y="500986"/>
                </a:cubicBezTo>
                <a:cubicBezTo>
                  <a:pt x="498364" y="500986"/>
                  <a:pt x="471820" y="527524"/>
                  <a:pt x="471820" y="560154"/>
                </a:cubicBezTo>
                <a:lnTo>
                  <a:pt x="471820" y="560154"/>
                </a:lnTo>
                <a:close/>
                <a:moveTo>
                  <a:pt x="184773" y="560154"/>
                </a:moveTo>
                <a:cubicBezTo>
                  <a:pt x="184773" y="540048"/>
                  <a:pt x="168419" y="523692"/>
                  <a:pt x="148321" y="523692"/>
                </a:cubicBezTo>
                <a:cubicBezTo>
                  <a:pt x="128222" y="523692"/>
                  <a:pt x="111868" y="540048"/>
                  <a:pt x="111868" y="560154"/>
                </a:cubicBezTo>
                <a:cubicBezTo>
                  <a:pt x="111868" y="580250"/>
                  <a:pt x="128222" y="596606"/>
                  <a:pt x="148321" y="596606"/>
                </a:cubicBezTo>
                <a:cubicBezTo>
                  <a:pt x="168419" y="596606"/>
                  <a:pt x="184773" y="580250"/>
                  <a:pt x="184773" y="560154"/>
                </a:cubicBezTo>
                <a:lnTo>
                  <a:pt x="184773" y="560154"/>
                </a:lnTo>
                <a:close/>
                <a:moveTo>
                  <a:pt x="89157" y="560154"/>
                </a:moveTo>
                <a:cubicBezTo>
                  <a:pt x="89157" y="592774"/>
                  <a:pt x="115697" y="619322"/>
                  <a:pt x="148321" y="619322"/>
                </a:cubicBezTo>
                <a:cubicBezTo>
                  <a:pt x="180944" y="619322"/>
                  <a:pt x="207484" y="592774"/>
                  <a:pt x="207484" y="560154"/>
                </a:cubicBezTo>
                <a:cubicBezTo>
                  <a:pt x="207484" y="527524"/>
                  <a:pt x="180944" y="500986"/>
                  <a:pt x="148321" y="500986"/>
                </a:cubicBezTo>
                <a:cubicBezTo>
                  <a:pt x="115697" y="500986"/>
                  <a:pt x="89157" y="527524"/>
                  <a:pt x="89157" y="560154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6F6EA106-9396-72E9-0599-CAAC3B42AAA1}"/>
              </a:ext>
            </a:extLst>
          </p:cNvPr>
          <p:cNvSpPr/>
          <p:nvPr/>
        </p:nvSpPr>
        <p:spPr>
          <a:xfrm>
            <a:off x="553852" y="2632408"/>
            <a:ext cx="269304" cy="269328"/>
          </a:xfrm>
          <a:custGeom>
            <a:avLst/>
            <a:gdLst>
              <a:gd name="connsiteX0" fmla="*/ 417765 w 902845"/>
              <a:gd name="connsiteY0" fmla="*/ 326824 h 902925"/>
              <a:gd name="connsiteX1" fmla="*/ 417765 w 902845"/>
              <a:gd name="connsiteY1" fmla="*/ 339772 h 902925"/>
              <a:gd name="connsiteX2" fmla="*/ 409914 w 902845"/>
              <a:gd name="connsiteY2" fmla="*/ 369873 h 902925"/>
              <a:gd name="connsiteX3" fmla="*/ 442694 w 902845"/>
              <a:gd name="connsiteY3" fmla="*/ 398076 h 902925"/>
              <a:gd name="connsiteX4" fmla="*/ 443959 w 902845"/>
              <a:gd name="connsiteY4" fmla="*/ 399936 h 902925"/>
              <a:gd name="connsiteX5" fmla="*/ 524363 w 902845"/>
              <a:gd name="connsiteY5" fmla="*/ 399936 h 902925"/>
              <a:gd name="connsiteX6" fmla="*/ 524363 w 902845"/>
              <a:gd name="connsiteY6" fmla="*/ 378840 h 902925"/>
              <a:gd name="connsiteX7" fmla="*/ 512941 w 902845"/>
              <a:gd name="connsiteY7" fmla="*/ 339624 h 902925"/>
              <a:gd name="connsiteX8" fmla="*/ 485779 w 902845"/>
              <a:gd name="connsiteY8" fmla="*/ 318602 h 902925"/>
              <a:gd name="connsiteX9" fmla="*/ 479007 w 902845"/>
              <a:gd name="connsiteY9" fmla="*/ 321914 h 902925"/>
              <a:gd name="connsiteX10" fmla="*/ 458357 w 902845"/>
              <a:gd name="connsiteY10" fmla="*/ 325895 h 902925"/>
              <a:gd name="connsiteX11" fmla="*/ 437670 w 902845"/>
              <a:gd name="connsiteY11" fmla="*/ 321914 h 902925"/>
              <a:gd name="connsiteX12" fmla="*/ 430898 w 902845"/>
              <a:gd name="connsiteY12" fmla="*/ 318602 h 902925"/>
              <a:gd name="connsiteX13" fmla="*/ 423792 w 902845"/>
              <a:gd name="connsiteY13" fmla="*/ 321951 h 902925"/>
              <a:gd name="connsiteX14" fmla="*/ 417801 w 902845"/>
              <a:gd name="connsiteY14" fmla="*/ 325671 h 902925"/>
              <a:gd name="connsiteX15" fmla="*/ 417764 w 902845"/>
              <a:gd name="connsiteY15" fmla="*/ 326825 h 902925"/>
              <a:gd name="connsiteX16" fmla="*/ 56034 w 902845"/>
              <a:gd name="connsiteY16" fmla="*/ 431304 h 902925"/>
              <a:gd name="connsiteX17" fmla="*/ 8520 w 902845"/>
              <a:gd name="connsiteY17" fmla="*/ 417872 h 902925"/>
              <a:gd name="connsiteX18" fmla="*/ 0 w 902845"/>
              <a:gd name="connsiteY18" fmla="*/ 415453 h 902925"/>
              <a:gd name="connsiteX19" fmla="*/ 0 w 902845"/>
              <a:gd name="connsiteY19" fmla="*/ 300820 h 902925"/>
              <a:gd name="connsiteX20" fmla="*/ 8558 w 902845"/>
              <a:gd name="connsiteY20" fmla="*/ 298401 h 902925"/>
              <a:gd name="connsiteX21" fmla="*/ 56071 w 902845"/>
              <a:gd name="connsiteY21" fmla="*/ 284969 h 902925"/>
              <a:gd name="connsiteX22" fmla="*/ 70991 w 902845"/>
              <a:gd name="connsiteY22" fmla="*/ 239204 h 902925"/>
              <a:gd name="connsiteX23" fmla="*/ 92832 w 902845"/>
              <a:gd name="connsiteY23" fmla="*/ 196267 h 902925"/>
              <a:gd name="connsiteX24" fmla="*/ 68722 w 902845"/>
              <a:gd name="connsiteY24" fmla="*/ 153145 h 902925"/>
              <a:gd name="connsiteX25" fmla="*/ 64406 w 902845"/>
              <a:gd name="connsiteY25" fmla="*/ 145406 h 902925"/>
              <a:gd name="connsiteX26" fmla="*/ 145443 w 902845"/>
              <a:gd name="connsiteY26" fmla="*/ 64369 h 902925"/>
              <a:gd name="connsiteX27" fmla="*/ 153182 w 902845"/>
              <a:gd name="connsiteY27" fmla="*/ 68685 h 902925"/>
              <a:gd name="connsiteX28" fmla="*/ 196305 w 902845"/>
              <a:gd name="connsiteY28" fmla="*/ 92795 h 902925"/>
              <a:gd name="connsiteX29" fmla="*/ 239242 w 902845"/>
              <a:gd name="connsiteY29" fmla="*/ 70954 h 902925"/>
              <a:gd name="connsiteX30" fmla="*/ 285006 w 902845"/>
              <a:gd name="connsiteY30" fmla="*/ 56034 h 902925"/>
              <a:gd name="connsiteX31" fmla="*/ 298438 w 902845"/>
              <a:gd name="connsiteY31" fmla="*/ 8520 h 902925"/>
              <a:gd name="connsiteX32" fmla="*/ 300820 w 902845"/>
              <a:gd name="connsiteY32" fmla="*/ 0 h 902925"/>
              <a:gd name="connsiteX33" fmla="*/ 415453 w 902845"/>
              <a:gd name="connsiteY33" fmla="*/ 0 h 902925"/>
              <a:gd name="connsiteX34" fmla="*/ 417872 w 902845"/>
              <a:gd name="connsiteY34" fmla="*/ 8558 h 902925"/>
              <a:gd name="connsiteX35" fmla="*/ 431304 w 902845"/>
              <a:gd name="connsiteY35" fmla="*/ 56071 h 902925"/>
              <a:gd name="connsiteX36" fmla="*/ 477069 w 902845"/>
              <a:gd name="connsiteY36" fmla="*/ 70991 h 902925"/>
              <a:gd name="connsiteX37" fmla="*/ 520005 w 902845"/>
              <a:gd name="connsiteY37" fmla="*/ 92832 h 902925"/>
              <a:gd name="connsiteX38" fmla="*/ 563128 w 902845"/>
              <a:gd name="connsiteY38" fmla="*/ 68722 h 902925"/>
              <a:gd name="connsiteX39" fmla="*/ 570830 w 902845"/>
              <a:gd name="connsiteY39" fmla="*/ 64406 h 902925"/>
              <a:gd name="connsiteX40" fmla="*/ 651866 w 902845"/>
              <a:gd name="connsiteY40" fmla="*/ 145443 h 902925"/>
              <a:gd name="connsiteX41" fmla="*/ 647550 w 902845"/>
              <a:gd name="connsiteY41" fmla="*/ 153182 h 902925"/>
              <a:gd name="connsiteX42" fmla="*/ 623441 w 902845"/>
              <a:gd name="connsiteY42" fmla="*/ 196305 h 902925"/>
              <a:gd name="connsiteX43" fmla="*/ 645282 w 902845"/>
              <a:gd name="connsiteY43" fmla="*/ 239242 h 902925"/>
              <a:gd name="connsiteX44" fmla="*/ 660202 w 902845"/>
              <a:gd name="connsiteY44" fmla="*/ 285006 h 902925"/>
              <a:gd name="connsiteX45" fmla="*/ 707715 w 902845"/>
              <a:gd name="connsiteY45" fmla="*/ 298438 h 902925"/>
              <a:gd name="connsiteX46" fmla="*/ 716273 w 902845"/>
              <a:gd name="connsiteY46" fmla="*/ 300857 h 902925"/>
              <a:gd name="connsiteX47" fmla="*/ 716273 w 902845"/>
              <a:gd name="connsiteY47" fmla="*/ 415490 h 902925"/>
              <a:gd name="connsiteX48" fmla="*/ 707715 w 902845"/>
              <a:gd name="connsiteY48" fmla="*/ 417909 h 902925"/>
              <a:gd name="connsiteX49" fmla="*/ 660202 w 902845"/>
              <a:gd name="connsiteY49" fmla="*/ 431341 h 902925"/>
              <a:gd name="connsiteX50" fmla="*/ 646174 w 902845"/>
              <a:gd name="connsiteY50" fmla="*/ 474985 h 902925"/>
              <a:gd name="connsiteX51" fmla="*/ 627236 w 902845"/>
              <a:gd name="connsiteY51" fmla="*/ 513717 h 902925"/>
              <a:gd name="connsiteX52" fmla="*/ 655662 w 902845"/>
              <a:gd name="connsiteY52" fmla="*/ 539427 h 902925"/>
              <a:gd name="connsiteX53" fmla="*/ 668573 w 902845"/>
              <a:gd name="connsiteY53" fmla="*/ 526516 h 902925"/>
              <a:gd name="connsiteX54" fmla="*/ 685130 w 902845"/>
              <a:gd name="connsiteY54" fmla="*/ 526516 h 902925"/>
              <a:gd name="connsiteX55" fmla="*/ 738783 w 902845"/>
              <a:gd name="connsiteY55" fmla="*/ 580168 h 902925"/>
              <a:gd name="connsiteX56" fmla="*/ 738783 w 902845"/>
              <a:gd name="connsiteY56" fmla="*/ 596763 h 902925"/>
              <a:gd name="connsiteX57" fmla="*/ 729407 w 902845"/>
              <a:gd name="connsiteY57" fmla="*/ 606139 h 902925"/>
              <a:gd name="connsiteX58" fmla="*/ 875663 w 902845"/>
              <a:gd name="connsiteY58" fmla="*/ 738412 h 902925"/>
              <a:gd name="connsiteX59" fmla="*/ 895085 w 902845"/>
              <a:gd name="connsiteY59" fmla="*/ 832881 h 902925"/>
              <a:gd name="connsiteX60" fmla="*/ 869822 w 902845"/>
              <a:gd name="connsiteY60" fmla="*/ 869865 h 902925"/>
              <a:gd name="connsiteX61" fmla="*/ 832839 w 902845"/>
              <a:gd name="connsiteY61" fmla="*/ 895165 h 902925"/>
              <a:gd name="connsiteX62" fmla="*/ 738370 w 902845"/>
              <a:gd name="connsiteY62" fmla="*/ 875743 h 902925"/>
              <a:gd name="connsiteX63" fmla="*/ 606096 w 902845"/>
              <a:gd name="connsiteY63" fmla="*/ 729449 h 902925"/>
              <a:gd name="connsiteX64" fmla="*/ 595195 w 902845"/>
              <a:gd name="connsiteY64" fmla="*/ 740350 h 902925"/>
              <a:gd name="connsiteX65" fmla="*/ 578600 w 902845"/>
              <a:gd name="connsiteY65" fmla="*/ 740350 h 902925"/>
              <a:gd name="connsiteX66" fmla="*/ 524948 w 902845"/>
              <a:gd name="connsiteY66" fmla="*/ 686697 h 902925"/>
              <a:gd name="connsiteX67" fmla="*/ 524948 w 902845"/>
              <a:gd name="connsiteY67" fmla="*/ 670103 h 902925"/>
              <a:gd name="connsiteX68" fmla="*/ 539384 w 902845"/>
              <a:gd name="connsiteY68" fmla="*/ 655667 h 902925"/>
              <a:gd name="connsiteX69" fmla="*/ 513674 w 902845"/>
              <a:gd name="connsiteY69" fmla="*/ 627240 h 902925"/>
              <a:gd name="connsiteX70" fmla="*/ 474941 w 902845"/>
              <a:gd name="connsiteY70" fmla="*/ 646179 h 902925"/>
              <a:gd name="connsiteX71" fmla="*/ 431298 w 902845"/>
              <a:gd name="connsiteY71" fmla="*/ 660207 h 902925"/>
              <a:gd name="connsiteX72" fmla="*/ 417866 w 902845"/>
              <a:gd name="connsiteY72" fmla="*/ 707720 h 902925"/>
              <a:gd name="connsiteX73" fmla="*/ 415447 w 902845"/>
              <a:gd name="connsiteY73" fmla="*/ 716278 h 902925"/>
              <a:gd name="connsiteX74" fmla="*/ 300814 w 902845"/>
              <a:gd name="connsiteY74" fmla="*/ 716278 h 902925"/>
              <a:gd name="connsiteX75" fmla="*/ 298395 w 902845"/>
              <a:gd name="connsiteY75" fmla="*/ 707720 h 902925"/>
              <a:gd name="connsiteX76" fmla="*/ 284963 w 902845"/>
              <a:gd name="connsiteY76" fmla="*/ 660207 h 902925"/>
              <a:gd name="connsiteX77" fmla="*/ 239198 w 902845"/>
              <a:gd name="connsiteY77" fmla="*/ 645287 h 902925"/>
              <a:gd name="connsiteX78" fmla="*/ 196262 w 902845"/>
              <a:gd name="connsiteY78" fmla="*/ 623446 h 902925"/>
              <a:gd name="connsiteX79" fmla="*/ 153139 w 902845"/>
              <a:gd name="connsiteY79" fmla="*/ 647555 h 902925"/>
              <a:gd name="connsiteX80" fmla="*/ 145400 w 902845"/>
              <a:gd name="connsiteY80" fmla="*/ 651871 h 902925"/>
              <a:gd name="connsiteX81" fmla="*/ 64363 w 902845"/>
              <a:gd name="connsiteY81" fmla="*/ 570835 h 902925"/>
              <a:gd name="connsiteX82" fmla="*/ 68679 w 902845"/>
              <a:gd name="connsiteY82" fmla="*/ 563133 h 902925"/>
              <a:gd name="connsiteX83" fmla="*/ 92789 w 902845"/>
              <a:gd name="connsiteY83" fmla="*/ 520010 h 902925"/>
              <a:gd name="connsiteX84" fmla="*/ 70948 w 902845"/>
              <a:gd name="connsiteY84" fmla="*/ 477073 h 902925"/>
              <a:gd name="connsiteX85" fmla="*/ 56028 w 902845"/>
              <a:gd name="connsiteY85" fmla="*/ 431309 h 902925"/>
              <a:gd name="connsiteX86" fmla="*/ 23440 w 902845"/>
              <a:gd name="connsiteY86" fmla="*/ 397743 h 902925"/>
              <a:gd name="connsiteX87" fmla="*/ 23440 w 902845"/>
              <a:gd name="connsiteY87" fmla="*/ 318530 h 902925"/>
              <a:gd name="connsiteX88" fmla="*/ 69094 w 902845"/>
              <a:gd name="connsiteY88" fmla="*/ 305618 h 902925"/>
              <a:gd name="connsiteX89" fmla="*/ 75903 w 902845"/>
              <a:gd name="connsiteY89" fmla="*/ 303721 h 902925"/>
              <a:gd name="connsiteX90" fmla="*/ 77391 w 902845"/>
              <a:gd name="connsiteY90" fmla="*/ 296838 h 902925"/>
              <a:gd name="connsiteX91" fmla="*/ 92609 w 902845"/>
              <a:gd name="connsiteY91" fmla="*/ 248133 h 902925"/>
              <a:gd name="connsiteX92" fmla="*/ 116236 w 902845"/>
              <a:gd name="connsiteY92" fmla="*/ 202964 h 902925"/>
              <a:gd name="connsiteX93" fmla="*/ 120031 w 902845"/>
              <a:gd name="connsiteY93" fmla="*/ 197085 h 902925"/>
              <a:gd name="connsiteX94" fmla="*/ 116608 w 902845"/>
              <a:gd name="connsiteY94" fmla="*/ 190983 h 902925"/>
              <a:gd name="connsiteX95" fmla="*/ 93465 w 902845"/>
              <a:gd name="connsiteY95" fmla="*/ 149534 h 902925"/>
              <a:gd name="connsiteX96" fmla="*/ 149499 w 902845"/>
              <a:gd name="connsiteY96" fmla="*/ 93501 h 902925"/>
              <a:gd name="connsiteX97" fmla="*/ 190947 w 902845"/>
              <a:gd name="connsiteY97" fmla="*/ 116644 h 902925"/>
              <a:gd name="connsiteX98" fmla="*/ 197049 w 902845"/>
              <a:gd name="connsiteY98" fmla="*/ 120067 h 902925"/>
              <a:gd name="connsiteX99" fmla="*/ 202928 w 902845"/>
              <a:gd name="connsiteY99" fmla="*/ 116271 h 902925"/>
              <a:gd name="connsiteX100" fmla="*/ 248098 w 902845"/>
              <a:gd name="connsiteY100" fmla="*/ 92645 h 902925"/>
              <a:gd name="connsiteX101" fmla="*/ 296802 w 902845"/>
              <a:gd name="connsiteY101" fmla="*/ 77427 h 902925"/>
              <a:gd name="connsiteX102" fmla="*/ 303685 w 902845"/>
              <a:gd name="connsiteY102" fmla="*/ 75938 h 902925"/>
              <a:gd name="connsiteX103" fmla="*/ 305620 w 902845"/>
              <a:gd name="connsiteY103" fmla="*/ 69129 h 902925"/>
              <a:gd name="connsiteX104" fmla="*/ 318531 w 902845"/>
              <a:gd name="connsiteY104" fmla="*/ 23476 h 902925"/>
              <a:gd name="connsiteX105" fmla="*/ 397745 w 902845"/>
              <a:gd name="connsiteY105" fmla="*/ 23476 h 902925"/>
              <a:gd name="connsiteX106" fmla="*/ 410656 w 902845"/>
              <a:gd name="connsiteY106" fmla="*/ 69129 h 902925"/>
              <a:gd name="connsiteX107" fmla="*/ 412591 w 902845"/>
              <a:gd name="connsiteY107" fmla="*/ 75938 h 902925"/>
              <a:gd name="connsiteX108" fmla="*/ 419474 w 902845"/>
              <a:gd name="connsiteY108" fmla="*/ 77427 h 902925"/>
              <a:gd name="connsiteX109" fmla="*/ 468178 w 902845"/>
              <a:gd name="connsiteY109" fmla="*/ 92645 h 902925"/>
              <a:gd name="connsiteX110" fmla="*/ 513348 w 902845"/>
              <a:gd name="connsiteY110" fmla="*/ 116271 h 902925"/>
              <a:gd name="connsiteX111" fmla="*/ 519226 w 902845"/>
              <a:gd name="connsiteY111" fmla="*/ 120067 h 902925"/>
              <a:gd name="connsiteX112" fmla="*/ 525328 w 902845"/>
              <a:gd name="connsiteY112" fmla="*/ 116644 h 902925"/>
              <a:gd name="connsiteX113" fmla="*/ 566777 w 902845"/>
              <a:gd name="connsiteY113" fmla="*/ 93501 h 902925"/>
              <a:gd name="connsiteX114" fmla="*/ 622811 w 902845"/>
              <a:gd name="connsiteY114" fmla="*/ 149534 h 902925"/>
              <a:gd name="connsiteX115" fmla="*/ 599668 w 902845"/>
              <a:gd name="connsiteY115" fmla="*/ 190983 h 902925"/>
              <a:gd name="connsiteX116" fmla="*/ 596245 w 902845"/>
              <a:gd name="connsiteY116" fmla="*/ 197085 h 902925"/>
              <a:gd name="connsiteX117" fmla="*/ 600040 w 902845"/>
              <a:gd name="connsiteY117" fmla="*/ 202964 h 902925"/>
              <a:gd name="connsiteX118" fmla="*/ 623704 w 902845"/>
              <a:gd name="connsiteY118" fmla="*/ 248133 h 902925"/>
              <a:gd name="connsiteX119" fmla="*/ 638922 w 902845"/>
              <a:gd name="connsiteY119" fmla="*/ 296838 h 902925"/>
              <a:gd name="connsiteX120" fmla="*/ 640410 w 902845"/>
              <a:gd name="connsiteY120" fmla="*/ 303721 h 902925"/>
              <a:gd name="connsiteX121" fmla="*/ 647219 w 902845"/>
              <a:gd name="connsiteY121" fmla="*/ 305618 h 902925"/>
              <a:gd name="connsiteX122" fmla="*/ 692872 w 902845"/>
              <a:gd name="connsiteY122" fmla="*/ 318530 h 902925"/>
              <a:gd name="connsiteX123" fmla="*/ 692872 w 902845"/>
              <a:gd name="connsiteY123" fmla="*/ 397743 h 902925"/>
              <a:gd name="connsiteX124" fmla="*/ 647219 w 902845"/>
              <a:gd name="connsiteY124" fmla="*/ 410654 h 902925"/>
              <a:gd name="connsiteX125" fmla="*/ 640410 w 902845"/>
              <a:gd name="connsiteY125" fmla="*/ 412589 h 902925"/>
              <a:gd name="connsiteX126" fmla="*/ 638922 w 902845"/>
              <a:gd name="connsiteY126" fmla="*/ 419473 h 902925"/>
              <a:gd name="connsiteX127" fmla="*/ 624523 w 902845"/>
              <a:gd name="connsiteY127" fmla="*/ 466167 h 902925"/>
              <a:gd name="connsiteX128" fmla="*/ 609492 w 902845"/>
              <a:gd name="connsiteY128" fmla="*/ 497607 h 902925"/>
              <a:gd name="connsiteX129" fmla="*/ 601455 w 902845"/>
              <a:gd name="connsiteY129" fmla="*/ 490352 h 902925"/>
              <a:gd name="connsiteX130" fmla="*/ 580582 w 902845"/>
              <a:gd name="connsiteY130" fmla="*/ 471487 h 902925"/>
              <a:gd name="connsiteX131" fmla="*/ 607706 w 902845"/>
              <a:gd name="connsiteY131" fmla="*/ 358188 h 902925"/>
              <a:gd name="connsiteX132" fmla="*/ 534631 w 902845"/>
              <a:gd name="connsiteY132" fmla="*/ 181756 h 902925"/>
              <a:gd name="connsiteX133" fmla="*/ 358200 w 902845"/>
              <a:gd name="connsiteY133" fmla="*/ 108681 h 902925"/>
              <a:gd name="connsiteX134" fmla="*/ 181768 w 902845"/>
              <a:gd name="connsiteY134" fmla="*/ 181756 h 902925"/>
              <a:gd name="connsiteX135" fmla="*/ 108693 w 902845"/>
              <a:gd name="connsiteY135" fmla="*/ 358188 h 902925"/>
              <a:gd name="connsiteX136" fmla="*/ 181768 w 902845"/>
              <a:gd name="connsiteY136" fmla="*/ 534619 h 902925"/>
              <a:gd name="connsiteX137" fmla="*/ 358200 w 902845"/>
              <a:gd name="connsiteY137" fmla="*/ 607694 h 902925"/>
              <a:gd name="connsiteX138" fmla="*/ 471500 w 902845"/>
              <a:gd name="connsiteY138" fmla="*/ 580570 h 902925"/>
              <a:gd name="connsiteX139" fmla="*/ 497656 w 902845"/>
              <a:gd name="connsiteY139" fmla="*/ 609517 h 902925"/>
              <a:gd name="connsiteX140" fmla="*/ 466216 w 902845"/>
              <a:gd name="connsiteY140" fmla="*/ 624549 h 902925"/>
              <a:gd name="connsiteX141" fmla="*/ 419522 w 902845"/>
              <a:gd name="connsiteY141" fmla="*/ 638985 h 902925"/>
              <a:gd name="connsiteX142" fmla="*/ 412638 w 902845"/>
              <a:gd name="connsiteY142" fmla="*/ 640473 h 902925"/>
              <a:gd name="connsiteX143" fmla="*/ 410704 w 902845"/>
              <a:gd name="connsiteY143" fmla="*/ 647282 h 902925"/>
              <a:gd name="connsiteX144" fmla="*/ 397792 w 902845"/>
              <a:gd name="connsiteY144" fmla="*/ 692935 h 902925"/>
              <a:gd name="connsiteX145" fmla="*/ 318579 w 902845"/>
              <a:gd name="connsiteY145" fmla="*/ 692935 h 902925"/>
              <a:gd name="connsiteX146" fmla="*/ 305668 w 902845"/>
              <a:gd name="connsiteY146" fmla="*/ 647282 h 902925"/>
              <a:gd name="connsiteX147" fmla="*/ 303770 w 902845"/>
              <a:gd name="connsiteY147" fmla="*/ 640473 h 902925"/>
              <a:gd name="connsiteX148" fmla="*/ 296887 w 902845"/>
              <a:gd name="connsiteY148" fmla="*/ 638985 h 902925"/>
              <a:gd name="connsiteX149" fmla="*/ 248183 w 902845"/>
              <a:gd name="connsiteY149" fmla="*/ 623766 h 902925"/>
              <a:gd name="connsiteX150" fmla="*/ 203013 w 902845"/>
              <a:gd name="connsiteY150" fmla="*/ 600103 h 902925"/>
              <a:gd name="connsiteX151" fmla="*/ 197134 w 902845"/>
              <a:gd name="connsiteY151" fmla="*/ 596307 h 902925"/>
              <a:gd name="connsiteX152" fmla="*/ 191032 w 902845"/>
              <a:gd name="connsiteY152" fmla="*/ 599730 h 902925"/>
              <a:gd name="connsiteX153" fmla="*/ 149583 w 902845"/>
              <a:gd name="connsiteY153" fmla="*/ 622910 h 902925"/>
              <a:gd name="connsiteX154" fmla="*/ 93550 w 902845"/>
              <a:gd name="connsiteY154" fmla="*/ 566877 h 902925"/>
              <a:gd name="connsiteX155" fmla="*/ 116693 w 902845"/>
              <a:gd name="connsiteY155" fmla="*/ 525428 h 902925"/>
              <a:gd name="connsiteX156" fmla="*/ 120116 w 902845"/>
              <a:gd name="connsiteY156" fmla="*/ 519326 h 902925"/>
              <a:gd name="connsiteX157" fmla="*/ 116321 w 902845"/>
              <a:gd name="connsiteY157" fmla="*/ 513447 h 902925"/>
              <a:gd name="connsiteX158" fmla="*/ 92694 w 902845"/>
              <a:gd name="connsiteY158" fmla="*/ 468278 h 902925"/>
              <a:gd name="connsiteX159" fmla="*/ 77476 w 902845"/>
              <a:gd name="connsiteY159" fmla="*/ 419573 h 902925"/>
              <a:gd name="connsiteX160" fmla="*/ 75988 w 902845"/>
              <a:gd name="connsiteY160" fmla="*/ 412690 h 902925"/>
              <a:gd name="connsiteX161" fmla="*/ 69179 w 902845"/>
              <a:gd name="connsiteY161" fmla="*/ 410755 h 902925"/>
              <a:gd name="connsiteX162" fmla="*/ 492394 w 902845"/>
              <a:gd name="connsiteY162" fmla="*/ 568898 h 902925"/>
              <a:gd name="connsiteX163" fmla="*/ 555907 w 902845"/>
              <a:gd name="connsiteY163" fmla="*/ 639108 h 902925"/>
              <a:gd name="connsiteX164" fmla="*/ 639139 w 902845"/>
              <a:gd name="connsiteY164" fmla="*/ 555876 h 902925"/>
              <a:gd name="connsiteX165" fmla="*/ 568930 w 902845"/>
              <a:gd name="connsiteY165" fmla="*/ 492363 h 902925"/>
              <a:gd name="connsiteX166" fmla="*/ 568855 w 902845"/>
              <a:gd name="connsiteY166" fmla="*/ 492437 h 902925"/>
              <a:gd name="connsiteX167" fmla="*/ 568855 w 902845"/>
              <a:gd name="connsiteY167" fmla="*/ 492474 h 902925"/>
              <a:gd name="connsiteX168" fmla="*/ 568818 w 902845"/>
              <a:gd name="connsiteY168" fmla="*/ 492549 h 902925"/>
              <a:gd name="connsiteX169" fmla="*/ 568781 w 902845"/>
              <a:gd name="connsiteY169" fmla="*/ 492586 h 902925"/>
              <a:gd name="connsiteX170" fmla="*/ 568743 w 902845"/>
              <a:gd name="connsiteY170" fmla="*/ 492660 h 902925"/>
              <a:gd name="connsiteX171" fmla="*/ 568669 w 902845"/>
              <a:gd name="connsiteY171" fmla="*/ 492735 h 902925"/>
              <a:gd name="connsiteX172" fmla="*/ 568632 w 902845"/>
              <a:gd name="connsiteY172" fmla="*/ 492809 h 902925"/>
              <a:gd name="connsiteX173" fmla="*/ 568520 w 902845"/>
              <a:gd name="connsiteY173" fmla="*/ 492921 h 902925"/>
              <a:gd name="connsiteX174" fmla="*/ 568520 w 902845"/>
              <a:gd name="connsiteY174" fmla="*/ 492958 h 902925"/>
              <a:gd name="connsiteX175" fmla="*/ 568297 w 902845"/>
              <a:gd name="connsiteY175" fmla="*/ 493181 h 902925"/>
              <a:gd name="connsiteX176" fmla="*/ 568297 w 902845"/>
              <a:gd name="connsiteY176" fmla="*/ 493219 h 902925"/>
              <a:gd name="connsiteX177" fmla="*/ 568185 w 902845"/>
              <a:gd name="connsiteY177" fmla="*/ 493330 h 902925"/>
              <a:gd name="connsiteX178" fmla="*/ 568148 w 902845"/>
              <a:gd name="connsiteY178" fmla="*/ 493405 h 902925"/>
              <a:gd name="connsiteX179" fmla="*/ 568111 w 902845"/>
              <a:gd name="connsiteY179" fmla="*/ 493442 h 902925"/>
              <a:gd name="connsiteX180" fmla="*/ 568074 w 902845"/>
              <a:gd name="connsiteY180" fmla="*/ 493516 h 902925"/>
              <a:gd name="connsiteX181" fmla="*/ 568037 w 902845"/>
              <a:gd name="connsiteY181" fmla="*/ 493516 h 902925"/>
              <a:gd name="connsiteX182" fmla="*/ 567888 w 902845"/>
              <a:gd name="connsiteY182" fmla="*/ 493665 h 902925"/>
              <a:gd name="connsiteX183" fmla="*/ 567851 w 902845"/>
              <a:gd name="connsiteY183" fmla="*/ 493739 h 902925"/>
              <a:gd name="connsiteX184" fmla="*/ 567813 w 902845"/>
              <a:gd name="connsiteY184" fmla="*/ 493777 h 902925"/>
              <a:gd name="connsiteX185" fmla="*/ 567776 w 902845"/>
              <a:gd name="connsiteY185" fmla="*/ 493851 h 902925"/>
              <a:gd name="connsiteX186" fmla="*/ 567627 w 902845"/>
              <a:gd name="connsiteY186" fmla="*/ 494000 h 902925"/>
              <a:gd name="connsiteX187" fmla="*/ 567590 w 902845"/>
              <a:gd name="connsiteY187" fmla="*/ 494074 h 902925"/>
              <a:gd name="connsiteX188" fmla="*/ 567590 w 902845"/>
              <a:gd name="connsiteY188" fmla="*/ 494112 h 902925"/>
              <a:gd name="connsiteX189" fmla="*/ 567441 w 902845"/>
              <a:gd name="connsiteY189" fmla="*/ 494260 h 902925"/>
              <a:gd name="connsiteX190" fmla="*/ 567404 w 902845"/>
              <a:gd name="connsiteY190" fmla="*/ 494335 h 902925"/>
              <a:gd name="connsiteX191" fmla="*/ 567367 w 902845"/>
              <a:gd name="connsiteY191" fmla="*/ 494372 h 902925"/>
              <a:gd name="connsiteX192" fmla="*/ 567330 w 902845"/>
              <a:gd name="connsiteY192" fmla="*/ 494446 h 902925"/>
              <a:gd name="connsiteX193" fmla="*/ 567181 w 902845"/>
              <a:gd name="connsiteY193" fmla="*/ 494595 h 902925"/>
              <a:gd name="connsiteX194" fmla="*/ 567144 w 902845"/>
              <a:gd name="connsiteY194" fmla="*/ 494670 h 902925"/>
              <a:gd name="connsiteX195" fmla="*/ 566883 w 902845"/>
              <a:gd name="connsiteY195" fmla="*/ 494930 h 902925"/>
              <a:gd name="connsiteX196" fmla="*/ 566883 w 902845"/>
              <a:gd name="connsiteY196" fmla="*/ 494967 h 902925"/>
              <a:gd name="connsiteX197" fmla="*/ 567032 w 902845"/>
              <a:gd name="connsiteY197" fmla="*/ 495005 h 902925"/>
              <a:gd name="connsiteX198" fmla="*/ 566883 w 902845"/>
              <a:gd name="connsiteY198" fmla="*/ 495153 h 902925"/>
              <a:gd name="connsiteX199" fmla="*/ 566846 w 902845"/>
              <a:gd name="connsiteY199" fmla="*/ 495228 h 902925"/>
              <a:gd name="connsiteX200" fmla="*/ 566585 w 902845"/>
              <a:gd name="connsiteY200" fmla="*/ 495488 h 902925"/>
              <a:gd name="connsiteX201" fmla="*/ 566548 w 902845"/>
              <a:gd name="connsiteY201" fmla="*/ 495563 h 902925"/>
              <a:gd name="connsiteX202" fmla="*/ 566399 w 902845"/>
              <a:gd name="connsiteY202" fmla="*/ 495711 h 902925"/>
              <a:gd name="connsiteX203" fmla="*/ 566362 w 902845"/>
              <a:gd name="connsiteY203" fmla="*/ 495786 h 902925"/>
              <a:gd name="connsiteX204" fmla="*/ 566325 w 902845"/>
              <a:gd name="connsiteY204" fmla="*/ 495823 h 902925"/>
              <a:gd name="connsiteX205" fmla="*/ 566288 w 902845"/>
              <a:gd name="connsiteY205" fmla="*/ 495897 h 902925"/>
              <a:gd name="connsiteX206" fmla="*/ 566139 w 902845"/>
              <a:gd name="connsiteY206" fmla="*/ 496046 h 902925"/>
              <a:gd name="connsiteX207" fmla="*/ 566213 w 902845"/>
              <a:gd name="connsiteY207" fmla="*/ 496084 h 902925"/>
              <a:gd name="connsiteX208" fmla="*/ 566176 w 902845"/>
              <a:gd name="connsiteY208" fmla="*/ 496158 h 902925"/>
              <a:gd name="connsiteX209" fmla="*/ 566027 w 902845"/>
              <a:gd name="connsiteY209" fmla="*/ 496307 h 902925"/>
              <a:gd name="connsiteX210" fmla="*/ 565990 w 902845"/>
              <a:gd name="connsiteY210" fmla="*/ 496381 h 902925"/>
              <a:gd name="connsiteX211" fmla="*/ 565953 w 902845"/>
              <a:gd name="connsiteY211" fmla="*/ 496418 h 902925"/>
              <a:gd name="connsiteX212" fmla="*/ 565916 w 902845"/>
              <a:gd name="connsiteY212" fmla="*/ 496493 h 902925"/>
              <a:gd name="connsiteX213" fmla="*/ 565767 w 902845"/>
              <a:gd name="connsiteY213" fmla="*/ 496642 h 902925"/>
              <a:gd name="connsiteX214" fmla="*/ 565767 w 902845"/>
              <a:gd name="connsiteY214" fmla="*/ 496679 h 902925"/>
              <a:gd name="connsiteX215" fmla="*/ 565730 w 902845"/>
              <a:gd name="connsiteY215" fmla="*/ 496753 h 902925"/>
              <a:gd name="connsiteX216" fmla="*/ 565506 w 902845"/>
              <a:gd name="connsiteY216" fmla="*/ 496976 h 902925"/>
              <a:gd name="connsiteX217" fmla="*/ 565469 w 902845"/>
              <a:gd name="connsiteY217" fmla="*/ 497051 h 902925"/>
              <a:gd name="connsiteX218" fmla="*/ 565320 w 902845"/>
              <a:gd name="connsiteY218" fmla="*/ 497200 h 902925"/>
              <a:gd name="connsiteX219" fmla="*/ 565320 w 902845"/>
              <a:gd name="connsiteY219" fmla="*/ 497237 h 902925"/>
              <a:gd name="connsiteX220" fmla="*/ 565209 w 902845"/>
              <a:gd name="connsiteY220" fmla="*/ 497349 h 902925"/>
              <a:gd name="connsiteX221" fmla="*/ 565172 w 902845"/>
              <a:gd name="connsiteY221" fmla="*/ 497423 h 902925"/>
              <a:gd name="connsiteX222" fmla="*/ 565097 w 902845"/>
              <a:gd name="connsiteY222" fmla="*/ 497497 h 902925"/>
              <a:gd name="connsiteX223" fmla="*/ 565060 w 902845"/>
              <a:gd name="connsiteY223" fmla="*/ 497572 h 902925"/>
              <a:gd name="connsiteX224" fmla="*/ 564874 w 902845"/>
              <a:gd name="connsiteY224" fmla="*/ 497758 h 902925"/>
              <a:gd name="connsiteX225" fmla="*/ 540355 w 902845"/>
              <a:gd name="connsiteY225" fmla="*/ 528491 h 902925"/>
              <a:gd name="connsiteX226" fmla="*/ 539536 w 902845"/>
              <a:gd name="connsiteY226" fmla="*/ 529310 h 902925"/>
              <a:gd name="connsiteX227" fmla="*/ 539536 w 902845"/>
              <a:gd name="connsiteY227" fmla="*/ 529347 h 902925"/>
              <a:gd name="connsiteX228" fmla="*/ 539462 w 902845"/>
              <a:gd name="connsiteY228" fmla="*/ 529421 h 902925"/>
              <a:gd name="connsiteX229" fmla="*/ 539462 w 902845"/>
              <a:gd name="connsiteY229" fmla="*/ 529459 h 902925"/>
              <a:gd name="connsiteX230" fmla="*/ 539424 w 902845"/>
              <a:gd name="connsiteY230" fmla="*/ 529459 h 902925"/>
              <a:gd name="connsiteX231" fmla="*/ 539424 w 902845"/>
              <a:gd name="connsiteY231" fmla="*/ 529496 h 902925"/>
              <a:gd name="connsiteX232" fmla="*/ 539387 w 902845"/>
              <a:gd name="connsiteY232" fmla="*/ 529533 h 902925"/>
              <a:gd name="connsiteX233" fmla="*/ 539350 w 902845"/>
              <a:gd name="connsiteY233" fmla="*/ 529533 h 902925"/>
              <a:gd name="connsiteX234" fmla="*/ 539350 w 902845"/>
              <a:gd name="connsiteY234" fmla="*/ 529570 h 902925"/>
              <a:gd name="connsiteX235" fmla="*/ 539276 w 902845"/>
              <a:gd name="connsiteY235" fmla="*/ 529645 h 902925"/>
              <a:gd name="connsiteX236" fmla="*/ 539238 w 902845"/>
              <a:gd name="connsiteY236" fmla="*/ 529645 h 902925"/>
              <a:gd name="connsiteX237" fmla="*/ 539238 w 902845"/>
              <a:gd name="connsiteY237" fmla="*/ 529682 h 902925"/>
              <a:gd name="connsiteX238" fmla="*/ 539201 w 902845"/>
              <a:gd name="connsiteY238" fmla="*/ 529719 h 902925"/>
              <a:gd name="connsiteX239" fmla="*/ 539164 w 902845"/>
              <a:gd name="connsiteY239" fmla="*/ 529719 h 902925"/>
              <a:gd name="connsiteX240" fmla="*/ 539127 w 902845"/>
              <a:gd name="connsiteY240" fmla="*/ 529756 h 902925"/>
              <a:gd name="connsiteX241" fmla="*/ 539127 w 902845"/>
              <a:gd name="connsiteY241" fmla="*/ 529793 h 902925"/>
              <a:gd name="connsiteX242" fmla="*/ 539090 w 902845"/>
              <a:gd name="connsiteY242" fmla="*/ 529831 h 902925"/>
              <a:gd name="connsiteX243" fmla="*/ 539052 w 902845"/>
              <a:gd name="connsiteY243" fmla="*/ 529831 h 902925"/>
              <a:gd name="connsiteX244" fmla="*/ 539052 w 902845"/>
              <a:gd name="connsiteY244" fmla="*/ 529868 h 902925"/>
              <a:gd name="connsiteX245" fmla="*/ 538904 w 902845"/>
              <a:gd name="connsiteY245" fmla="*/ 530017 h 902925"/>
              <a:gd name="connsiteX246" fmla="*/ 538904 w 902845"/>
              <a:gd name="connsiteY246" fmla="*/ 530054 h 902925"/>
              <a:gd name="connsiteX247" fmla="*/ 538829 w 902845"/>
              <a:gd name="connsiteY247" fmla="*/ 530128 h 902925"/>
              <a:gd name="connsiteX248" fmla="*/ 539201 w 902845"/>
              <a:gd name="connsiteY248" fmla="*/ 529831 h 902925"/>
              <a:gd name="connsiteX249" fmla="*/ 539127 w 902845"/>
              <a:gd name="connsiteY249" fmla="*/ 529905 h 902925"/>
              <a:gd name="connsiteX250" fmla="*/ 539127 w 902845"/>
              <a:gd name="connsiteY250" fmla="*/ 529942 h 902925"/>
              <a:gd name="connsiteX251" fmla="*/ 539090 w 902845"/>
              <a:gd name="connsiteY251" fmla="*/ 529942 h 902925"/>
              <a:gd name="connsiteX252" fmla="*/ 539052 w 902845"/>
              <a:gd name="connsiteY252" fmla="*/ 529979 h 902925"/>
              <a:gd name="connsiteX253" fmla="*/ 539052 w 902845"/>
              <a:gd name="connsiteY253" fmla="*/ 530017 h 902925"/>
              <a:gd name="connsiteX254" fmla="*/ 539015 w 902845"/>
              <a:gd name="connsiteY254" fmla="*/ 530017 h 902925"/>
              <a:gd name="connsiteX255" fmla="*/ 539015 w 902845"/>
              <a:gd name="connsiteY255" fmla="*/ 530054 h 902925"/>
              <a:gd name="connsiteX256" fmla="*/ 538866 w 902845"/>
              <a:gd name="connsiteY256" fmla="*/ 530203 h 902925"/>
              <a:gd name="connsiteX257" fmla="*/ 538829 w 902845"/>
              <a:gd name="connsiteY257" fmla="*/ 530203 h 902925"/>
              <a:gd name="connsiteX258" fmla="*/ 538792 w 902845"/>
              <a:gd name="connsiteY258" fmla="*/ 530240 h 902925"/>
              <a:gd name="connsiteX259" fmla="*/ 538792 w 902845"/>
              <a:gd name="connsiteY259" fmla="*/ 530277 h 902925"/>
              <a:gd name="connsiteX260" fmla="*/ 538755 w 902845"/>
              <a:gd name="connsiteY260" fmla="*/ 530314 h 902925"/>
              <a:gd name="connsiteX261" fmla="*/ 538718 w 902845"/>
              <a:gd name="connsiteY261" fmla="*/ 530314 h 902925"/>
              <a:gd name="connsiteX262" fmla="*/ 538680 w 902845"/>
              <a:gd name="connsiteY262" fmla="*/ 530352 h 902925"/>
              <a:gd name="connsiteX263" fmla="*/ 538680 w 902845"/>
              <a:gd name="connsiteY263" fmla="*/ 530389 h 902925"/>
              <a:gd name="connsiteX264" fmla="*/ 538569 w 902845"/>
              <a:gd name="connsiteY264" fmla="*/ 530500 h 902925"/>
              <a:gd name="connsiteX265" fmla="*/ 538569 w 902845"/>
              <a:gd name="connsiteY265" fmla="*/ 530538 h 902925"/>
              <a:gd name="connsiteX266" fmla="*/ 538755 w 902845"/>
              <a:gd name="connsiteY266" fmla="*/ 530277 h 902925"/>
              <a:gd name="connsiteX267" fmla="*/ 538718 w 902845"/>
              <a:gd name="connsiteY267" fmla="*/ 530314 h 902925"/>
              <a:gd name="connsiteX268" fmla="*/ 538718 w 902845"/>
              <a:gd name="connsiteY268" fmla="*/ 530352 h 902925"/>
              <a:gd name="connsiteX269" fmla="*/ 538271 w 902845"/>
              <a:gd name="connsiteY269" fmla="*/ 530798 h 902925"/>
              <a:gd name="connsiteX270" fmla="*/ 538345 w 902845"/>
              <a:gd name="connsiteY270" fmla="*/ 530724 h 902925"/>
              <a:gd name="connsiteX271" fmla="*/ 538122 w 902845"/>
              <a:gd name="connsiteY271" fmla="*/ 530947 h 902925"/>
              <a:gd name="connsiteX272" fmla="*/ 538159 w 902845"/>
              <a:gd name="connsiteY272" fmla="*/ 530910 h 902925"/>
              <a:gd name="connsiteX273" fmla="*/ 535853 w 902845"/>
              <a:gd name="connsiteY273" fmla="*/ 533217 h 902925"/>
              <a:gd name="connsiteX274" fmla="*/ 536336 w 902845"/>
              <a:gd name="connsiteY274" fmla="*/ 532807 h 902925"/>
              <a:gd name="connsiteX275" fmla="*/ 535853 w 902845"/>
              <a:gd name="connsiteY275" fmla="*/ 533291 h 902925"/>
              <a:gd name="connsiteX276" fmla="*/ 535853 w 902845"/>
              <a:gd name="connsiteY276" fmla="*/ 533328 h 902925"/>
              <a:gd name="connsiteX277" fmla="*/ 535295 w 902845"/>
              <a:gd name="connsiteY277" fmla="*/ 533886 h 902925"/>
              <a:gd name="connsiteX278" fmla="*/ 535332 w 902845"/>
              <a:gd name="connsiteY278" fmla="*/ 533775 h 902925"/>
              <a:gd name="connsiteX279" fmla="*/ 533881 w 902845"/>
              <a:gd name="connsiteY279" fmla="*/ 535226 h 902925"/>
              <a:gd name="connsiteX280" fmla="*/ 533881 w 902845"/>
              <a:gd name="connsiteY280" fmla="*/ 535263 h 902925"/>
              <a:gd name="connsiteX281" fmla="*/ 533620 w 902845"/>
              <a:gd name="connsiteY281" fmla="*/ 535523 h 902925"/>
              <a:gd name="connsiteX282" fmla="*/ 533769 w 902845"/>
              <a:gd name="connsiteY282" fmla="*/ 535337 h 902925"/>
              <a:gd name="connsiteX283" fmla="*/ 532727 w 902845"/>
              <a:gd name="connsiteY283" fmla="*/ 536379 h 902925"/>
              <a:gd name="connsiteX284" fmla="*/ 532802 w 902845"/>
              <a:gd name="connsiteY284" fmla="*/ 536342 h 902925"/>
              <a:gd name="connsiteX285" fmla="*/ 531611 w 902845"/>
              <a:gd name="connsiteY285" fmla="*/ 537533 h 902925"/>
              <a:gd name="connsiteX286" fmla="*/ 531537 w 902845"/>
              <a:gd name="connsiteY286" fmla="*/ 537570 h 902925"/>
              <a:gd name="connsiteX287" fmla="*/ 530495 w 902845"/>
              <a:gd name="connsiteY287" fmla="*/ 538612 h 902925"/>
              <a:gd name="connsiteX288" fmla="*/ 530904 w 902845"/>
              <a:gd name="connsiteY288" fmla="*/ 538165 h 902925"/>
              <a:gd name="connsiteX289" fmla="*/ 530160 w 902845"/>
              <a:gd name="connsiteY289" fmla="*/ 538909 h 902925"/>
              <a:gd name="connsiteX290" fmla="*/ 529341 w 902845"/>
              <a:gd name="connsiteY290" fmla="*/ 539691 h 902925"/>
              <a:gd name="connsiteX291" fmla="*/ 529118 w 902845"/>
              <a:gd name="connsiteY291" fmla="*/ 539877 h 902925"/>
              <a:gd name="connsiteX292" fmla="*/ 528225 w 902845"/>
              <a:gd name="connsiteY292" fmla="*/ 540770 h 902925"/>
              <a:gd name="connsiteX293" fmla="*/ 527965 w 902845"/>
              <a:gd name="connsiteY293" fmla="*/ 540993 h 902925"/>
              <a:gd name="connsiteX294" fmla="*/ 527927 w 902845"/>
              <a:gd name="connsiteY294" fmla="*/ 541030 h 902925"/>
              <a:gd name="connsiteX295" fmla="*/ 497455 w 902845"/>
              <a:gd name="connsiteY295" fmla="*/ 565289 h 902925"/>
              <a:gd name="connsiteX296" fmla="*/ 497381 w 902845"/>
              <a:gd name="connsiteY296" fmla="*/ 565364 h 902925"/>
              <a:gd name="connsiteX297" fmla="*/ 497343 w 902845"/>
              <a:gd name="connsiteY297" fmla="*/ 565364 h 902925"/>
              <a:gd name="connsiteX298" fmla="*/ 497269 w 902845"/>
              <a:gd name="connsiteY298" fmla="*/ 565401 h 902925"/>
              <a:gd name="connsiteX299" fmla="*/ 497120 w 902845"/>
              <a:gd name="connsiteY299" fmla="*/ 565550 h 902925"/>
              <a:gd name="connsiteX300" fmla="*/ 497046 w 902845"/>
              <a:gd name="connsiteY300" fmla="*/ 565587 h 902925"/>
              <a:gd name="connsiteX301" fmla="*/ 497009 w 902845"/>
              <a:gd name="connsiteY301" fmla="*/ 565624 h 902925"/>
              <a:gd name="connsiteX302" fmla="*/ 496934 w 902845"/>
              <a:gd name="connsiteY302" fmla="*/ 565661 h 902925"/>
              <a:gd name="connsiteX303" fmla="*/ 496860 w 902845"/>
              <a:gd name="connsiteY303" fmla="*/ 565736 h 902925"/>
              <a:gd name="connsiteX304" fmla="*/ 496785 w 902845"/>
              <a:gd name="connsiteY304" fmla="*/ 565773 h 902925"/>
              <a:gd name="connsiteX305" fmla="*/ 496748 w 902845"/>
              <a:gd name="connsiteY305" fmla="*/ 565810 h 902925"/>
              <a:gd name="connsiteX306" fmla="*/ 496674 w 902845"/>
              <a:gd name="connsiteY306" fmla="*/ 565847 h 902925"/>
              <a:gd name="connsiteX307" fmla="*/ 496637 w 902845"/>
              <a:gd name="connsiteY307" fmla="*/ 565885 h 902925"/>
              <a:gd name="connsiteX308" fmla="*/ 496562 w 902845"/>
              <a:gd name="connsiteY308" fmla="*/ 565922 h 902925"/>
              <a:gd name="connsiteX309" fmla="*/ 496488 w 902845"/>
              <a:gd name="connsiteY309" fmla="*/ 565996 h 902925"/>
              <a:gd name="connsiteX310" fmla="*/ 496413 w 902845"/>
              <a:gd name="connsiteY310" fmla="*/ 566033 h 902925"/>
              <a:gd name="connsiteX311" fmla="*/ 496376 w 902845"/>
              <a:gd name="connsiteY311" fmla="*/ 566071 h 902925"/>
              <a:gd name="connsiteX312" fmla="*/ 496302 w 902845"/>
              <a:gd name="connsiteY312" fmla="*/ 566108 h 902925"/>
              <a:gd name="connsiteX313" fmla="*/ 496227 w 902845"/>
              <a:gd name="connsiteY313" fmla="*/ 566182 h 902925"/>
              <a:gd name="connsiteX314" fmla="*/ 496488 w 902845"/>
              <a:gd name="connsiteY314" fmla="*/ 565922 h 902925"/>
              <a:gd name="connsiteX315" fmla="*/ 496450 w 902845"/>
              <a:gd name="connsiteY315" fmla="*/ 565922 h 902925"/>
              <a:gd name="connsiteX316" fmla="*/ 496376 w 902845"/>
              <a:gd name="connsiteY316" fmla="*/ 565959 h 902925"/>
              <a:gd name="connsiteX317" fmla="*/ 496227 w 902845"/>
              <a:gd name="connsiteY317" fmla="*/ 566108 h 902925"/>
              <a:gd name="connsiteX318" fmla="*/ 496153 w 902845"/>
              <a:gd name="connsiteY318" fmla="*/ 566145 h 902925"/>
              <a:gd name="connsiteX319" fmla="*/ 495892 w 902845"/>
              <a:gd name="connsiteY319" fmla="*/ 566405 h 902925"/>
              <a:gd name="connsiteX320" fmla="*/ 495818 w 902845"/>
              <a:gd name="connsiteY320" fmla="*/ 566443 h 902925"/>
              <a:gd name="connsiteX321" fmla="*/ 495669 w 902845"/>
              <a:gd name="connsiteY321" fmla="*/ 566592 h 902925"/>
              <a:gd name="connsiteX322" fmla="*/ 495595 w 902845"/>
              <a:gd name="connsiteY322" fmla="*/ 566629 h 902925"/>
              <a:gd name="connsiteX323" fmla="*/ 495557 w 902845"/>
              <a:gd name="connsiteY323" fmla="*/ 566666 h 902925"/>
              <a:gd name="connsiteX324" fmla="*/ 495483 w 902845"/>
              <a:gd name="connsiteY324" fmla="*/ 566703 h 902925"/>
              <a:gd name="connsiteX325" fmla="*/ 495446 w 902845"/>
              <a:gd name="connsiteY325" fmla="*/ 566703 h 902925"/>
              <a:gd name="connsiteX326" fmla="*/ 495185 w 902845"/>
              <a:gd name="connsiteY326" fmla="*/ 566964 h 902925"/>
              <a:gd name="connsiteX327" fmla="*/ 495111 w 902845"/>
              <a:gd name="connsiteY327" fmla="*/ 567001 h 902925"/>
              <a:gd name="connsiteX328" fmla="*/ 494962 w 902845"/>
              <a:gd name="connsiteY328" fmla="*/ 567150 h 902925"/>
              <a:gd name="connsiteX329" fmla="*/ 494888 w 902845"/>
              <a:gd name="connsiteY329" fmla="*/ 567187 h 902925"/>
              <a:gd name="connsiteX330" fmla="*/ 494851 w 902845"/>
              <a:gd name="connsiteY330" fmla="*/ 567224 h 902925"/>
              <a:gd name="connsiteX331" fmla="*/ 494665 w 902845"/>
              <a:gd name="connsiteY331" fmla="*/ 567336 h 902925"/>
              <a:gd name="connsiteX332" fmla="*/ 494590 w 902845"/>
              <a:gd name="connsiteY332" fmla="*/ 567410 h 902925"/>
              <a:gd name="connsiteX333" fmla="*/ 494553 w 902845"/>
              <a:gd name="connsiteY333" fmla="*/ 567410 h 902925"/>
              <a:gd name="connsiteX334" fmla="*/ 494478 w 902845"/>
              <a:gd name="connsiteY334" fmla="*/ 567447 h 902925"/>
              <a:gd name="connsiteX335" fmla="*/ 494330 w 902845"/>
              <a:gd name="connsiteY335" fmla="*/ 567596 h 902925"/>
              <a:gd name="connsiteX336" fmla="*/ 494255 w 902845"/>
              <a:gd name="connsiteY336" fmla="*/ 567633 h 902925"/>
              <a:gd name="connsiteX337" fmla="*/ 493995 w 902845"/>
              <a:gd name="connsiteY337" fmla="*/ 567894 h 902925"/>
              <a:gd name="connsiteX338" fmla="*/ 493958 w 902845"/>
              <a:gd name="connsiteY338" fmla="*/ 567894 h 902925"/>
              <a:gd name="connsiteX339" fmla="*/ 493883 w 902845"/>
              <a:gd name="connsiteY339" fmla="*/ 567931 h 902925"/>
              <a:gd name="connsiteX340" fmla="*/ 493734 w 902845"/>
              <a:gd name="connsiteY340" fmla="*/ 568080 h 902925"/>
              <a:gd name="connsiteX341" fmla="*/ 493660 w 902845"/>
              <a:gd name="connsiteY341" fmla="*/ 568117 h 902925"/>
              <a:gd name="connsiteX342" fmla="*/ 493623 w 902845"/>
              <a:gd name="connsiteY342" fmla="*/ 568154 h 902925"/>
              <a:gd name="connsiteX343" fmla="*/ 493548 w 902845"/>
              <a:gd name="connsiteY343" fmla="*/ 568191 h 902925"/>
              <a:gd name="connsiteX344" fmla="*/ 493474 w 902845"/>
              <a:gd name="connsiteY344" fmla="*/ 568266 h 902925"/>
              <a:gd name="connsiteX345" fmla="*/ 493399 w 902845"/>
              <a:gd name="connsiteY345" fmla="*/ 568303 h 902925"/>
              <a:gd name="connsiteX346" fmla="*/ 493362 w 902845"/>
              <a:gd name="connsiteY346" fmla="*/ 568340 h 902925"/>
              <a:gd name="connsiteX347" fmla="*/ 493288 w 902845"/>
              <a:gd name="connsiteY347" fmla="*/ 568377 h 902925"/>
              <a:gd name="connsiteX348" fmla="*/ 493251 w 902845"/>
              <a:gd name="connsiteY348" fmla="*/ 568415 h 902925"/>
              <a:gd name="connsiteX349" fmla="*/ 493176 w 902845"/>
              <a:gd name="connsiteY349" fmla="*/ 568452 h 902925"/>
              <a:gd name="connsiteX350" fmla="*/ 493102 w 902845"/>
              <a:gd name="connsiteY350" fmla="*/ 568526 h 902925"/>
              <a:gd name="connsiteX351" fmla="*/ 493027 w 902845"/>
              <a:gd name="connsiteY351" fmla="*/ 568563 h 902925"/>
              <a:gd name="connsiteX352" fmla="*/ 492990 w 902845"/>
              <a:gd name="connsiteY352" fmla="*/ 568601 h 902925"/>
              <a:gd name="connsiteX353" fmla="*/ 492916 w 902845"/>
              <a:gd name="connsiteY353" fmla="*/ 568638 h 902925"/>
              <a:gd name="connsiteX354" fmla="*/ 492767 w 902845"/>
              <a:gd name="connsiteY354" fmla="*/ 568787 h 902925"/>
              <a:gd name="connsiteX355" fmla="*/ 492693 w 902845"/>
              <a:gd name="connsiteY355" fmla="*/ 568824 h 902925"/>
              <a:gd name="connsiteX356" fmla="*/ 492655 w 902845"/>
              <a:gd name="connsiteY356" fmla="*/ 568861 h 902925"/>
              <a:gd name="connsiteX357" fmla="*/ 492581 w 902845"/>
              <a:gd name="connsiteY357" fmla="*/ 568898 h 902925"/>
              <a:gd name="connsiteX358" fmla="*/ 492358 w 902845"/>
              <a:gd name="connsiteY358" fmla="*/ 569122 h 902925"/>
              <a:gd name="connsiteX359" fmla="*/ 622620 w 902845"/>
              <a:gd name="connsiteY359" fmla="*/ 712888 h 902925"/>
              <a:gd name="connsiteX360" fmla="*/ 755675 w 902845"/>
              <a:gd name="connsiteY360" fmla="*/ 860039 h 902925"/>
              <a:gd name="connsiteX361" fmla="*/ 823689 w 902845"/>
              <a:gd name="connsiteY361" fmla="*/ 873583 h 902925"/>
              <a:gd name="connsiteX362" fmla="*/ 853269 w 902845"/>
              <a:gd name="connsiteY362" fmla="*/ 853231 h 902925"/>
              <a:gd name="connsiteX363" fmla="*/ 873621 w 902845"/>
              <a:gd name="connsiteY363" fmla="*/ 823651 h 902925"/>
              <a:gd name="connsiteX364" fmla="*/ 860040 w 902845"/>
              <a:gd name="connsiteY364" fmla="*/ 755637 h 902925"/>
              <a:gd name="connsiteX365" fmla="*/ 712888 w 902845"/>
              <a:gd name="connsiteY365" fmla="*/ 622620 h 902925"/>
              <a:gd name="connsiteX366" fmla="*/ 676868 w 902845"/>
              <a:gd name="connsiteY366" fmla="*/ 551334 h 902925"/>
              <a:gd name="connsiteX367" fmla="*/ 549804 w 902845"/>
              <a:gd name="connsiteY367" fmla="*/ 678397 h 902925"/>
              <a:gd name="connsiteX368" fmla="*/ 586899 w 902845"/>
              <a:gd name="connsiteY368" fmla="*/ 715493 h 902925"/>
              <a:gd name="connsiteX369" fmla="*/ 713963 w 902845"/>
              <a:gd name="connsiteY369" fmla="*/ 588429 h 902925"/>
              <a:gd name="connsiteX370" fmla="*/ 198275 w 902845"/>
              <a:gd name="connsiteY370" fmla="*/ 198280 h 902925"/>
              <a:gd name="connsiteX371" fmla="*/ 358152 w 902845"/>
              <a:gd name="connsiteY371" fmla="*/ 132089 h 902925"/>
              <a:gd name="connsiteX372" fmla="*/ 517991 w 902845"/>
              <a:gd name="connsiteY372" fmla="*/ 198280 h 902925"/>
              <a:gd name="connsiteX373" fmla="*/ 584182 w 902845"/>
              <a:gd name="connsiteY373" fmla="*/ 358157 h 902925"/>
              <a:gd name="connsiteX374" fmla="*/ 545375 w 902845"/>
              <a:gd name="connsiteY374" fmla="*/ 484888 h 902925"/>
              <a:gd name="connsiteX375" fmla="*/ 545375 w 902845"/>
              <a:gd name="connsiteY375" fmla="*/ 484925 h 902925"/>
              <a:gd name="connsiteX376" fmla="*/ 545338 w 902845"/>
              <a:gd name="connsiteY376" fmla="*/ 484962 h 902925"/>
              <a:gd name="connsiteX377" fmla="*/ 545338 w 902845"/>
              <a:gd name="connsiteY377" fmla="*/ 484999 h 902925"/>
              <a:gd name="connsiteX378" fmla="*/ 520409 w 902845"/>
              <a:gd name="connsiteY378" fmla="*/ 515583 h 902925"/>
              <a:gd name="connsiteX379" fmla="*/ 518102 w 902845"/>
              <a:gd name="connsiteY379" fmla="*/ 517890 h 902925"/>
              <a:gd name="connsiteX380" fmla="*/ 358263 w 902845"/>
              <a:gd name="connsiteY380" fmla="*/ 584118 h 902925"/>
              <a:gd name="connsiteX381" fmla="*/ 198424 w 902845"/>
              <a:gd name="connsiteY381" fmla="*/ 517890 h 902925"/>
              <a:gd name="connsiteX382" fmla="*/ 132233 w 902845"/>
              <a:gd name="connsiteY382" fmla="*/ 358051 h 902925"/>
              <a:gd name="connsiteX383" fmla="*/ 198276 w 902845"/>
              <a:gd name="connsiteY383" fmla="*/ 198288 h 902925"/>
              <a:gd name="connsiteX384" fmla="*/ 303012 w 902845"/>
              <a:gd name="connsiteY384" fmla="*/ 301046 h 902925"/>
              <a:gd name="connsiteX385" fmla="*/ 308221 w 902845"/>
              <a:gd name="connsiteY385" fmla="*/ 304096 h 902925"/>
              <a:gd name="connsiteX386" fmla="*/ 309151 w 902845"/>
              <a:gd name="connsiteY386" fmla="*/ 304655 h 902925"/>
              <a:gd name="connsiteX387" fmla="*/ 338879 w 902845"/>
              <a:gd name="connsiteY387" fmla="*/ 275224 h 902925"/>
              <a:gd name="connsiteX388" fmla="*/ 361464 w 902845"/>
              <a:gd name="connsiteY388" fmla="*/ 270871 h 902925"/>
              <a:gd name="connsiteX389" fmla="*/ 384049 w 902845"/>
              <a:gd name="connsiteY389" fmla="*/ 275224 h 902925"/>
              <a:gd name="connsiteX390" fmla="*/ 412438 w 902845"/>
              <a:gd name="connsiteY390" fmla="*/ 301492 h 902925"/>
              <a:gd name="connsiteX391" fmla="*/ 412550 w 902845"/>
              <a:gd name="connsiteY391" fmla="*/ 301418 h 902925"/>
              <a:gd name="connsiteX392" fmla="*/ 413256 w 902845"/>
              <a:gd name="connsiteY392" fmla="*/ 301046 h 902925"/>
              <a:gd name="connsiteX393" fmla="*/ 406671 w 902845"/>
              <a:gd name="connsiteY393" fmla="*/ 274555 h 902925"/>
              <a:gd name="connsiteX394" fmla="*/ 406671 w 902845"/>
              <a:gd name="connsiteY394" fmla="*/ 262984 h 902925"/>
              <a:gd name="connsiteX395" fmla="*/ 437627 w 902845"/>
              <a:gd name="connsiteY395" fmla="*/ 215656 h 902925"/>
              <a:gd name="connsiteX396" fmla="*/ 458314 w 902845"/>
              <a:gd name="connsiteY396" fmla="*/ 211675 h 902925"/>
              <a:gd name="connsiteX397" fmla="*/ 478965 w 902845"/>
              <a:gd name="connsiteY397" fmla="*/ 215656 h 902925"/>
              <a:gd name="connsiteX398" fmla="*/ 509921 w 902845"/>
              <a:gd name="connsiteY398" fmla="*/ 262984 h 902925"/>
              <a:gd name="connsiteX399" fmla="*/ 509921 w 902845"/>
              <a:gd name="connsiteY399" fmla="*/ 274555 h 902925"/>
              <a:gd name="connsiteX400" fmla="*/ 503372 w 902845"/>
              <a:gd name="connsiteY400" fmla="*/ 301046 h 902925"/>
              <a:gd name="connsiteX401" fmla="*/ 531985 w 902845"/>
              <a:gd name="connsiteY401" fmla="*/ 326086 h 902925"/>
              <a:gd name="connsiteX402" fmla="*/ 547798 w 902845"/>
              <a:gd name="connsiteY402" fmla="*/ 378883 h 902925"/>
              <a:gd name="connsiteX403" fmla="*/ 547798 w 902845"/>
              <a:gd name="connsiteY403" fmla="*/ 411700 h 902925"/>
              <a:gd name="connsiteX404" fmla="*/ 536077 w 902845"/>
              <a:gd name="connsiteY404" fmla="*/ 423420 h 902925"/>
              <a:gd name="connsiteX405" fmla="*/ 455189 w 902845"/>
              <a:gd name="connsiteY405" fmla="*/ 423420 h 902925"/>
              <a:gd name="connsiteX406" fmla="*/ 460063 w 902845"/>
              <a:gd name="connsiteY406" fmla="*/ 456274 h 902925"/>
              <a:gd name="connsiteX407" fmla="*/ 460063 w 902845"/>
              <a:gd name="connsiteY407" fmla="*/ 492923 h 902925"/>
              <a:gd name="connsiteX408" fmla="*/ 448343 w 902845"/>
              <a:gd name="connsiteY408" fmla="*/ 504644 h 902925"/>
              <a:gd name="connsiteX409" fmla="*/ 274626 w 902845"/>
              <a:gd name="connsiteY409" fmla="*/ 504644 h 902925"/>
              <a:gd name="connsiteX410" fmla="*/ 262905 w 902845"/>
              <a:gd name="connsiteY410" fmla="*/ 492923 h 902925"/>
              <a:gd name="connsiteX411" fmla="*/ 262905 w 902845"/>
              <a:gd name="connsiteY411" fmla="*/ 456274 h 902925"/>
              <a:gd name="connsiteX412" fmla="*/ 267780 w 902845"/>
              <a:gd name="connsiteY412" fmla="*/ 423420 h 902925"/>
              <a:gd name="connsiteX413" fmla="*/ 180231 w 902845"/>
              <a:gd name="connsiteY413" fmla="*/ 423420 h 902925"/>
              <a:gd name="connsiteX414" fmla="*/ 168511 w 902845"/>
              <a:gd name="connsiteY414" fmla="*/ 411700 h 902925"/>
              <a:gd name="connsiteX415" fmla="*/ 168511 w 902845"/>
              <a:gd name="connsiteY415" fmla="*/ 378883 h 902925"/>
              <a:gd name="connsiteX416" fmla="*/ 184324 w 902845"/>
              <a:gd name="connsiteY416" fmla="*/ 326086 h 902925"/>
              <a:gd name="connsiteX417" fmla="*/ 212936 w 902845"/>
              <a:gd name="connsiteY417" fmla="*/ 301046 h 902925"/>
              <a:gd name="connsiteX418" fmla="*/ 206388 w 902845"/>
              <a:gd name="connsiteY418" fmla="*/ 274555 h 902925"/>
              <a:gd name="connsiteX419" fmla="*/ 206388 w 902845"/>
              <a:gd name="connsiteY419" fmla="*/ 262984 h 902925"/>
              <a:gd name="connsiteX420" fmla="*/ 237344 w 902845"/>
              <a:gd name="connsiteY420" fmla="*/ 215656 h 902925"/>
              <a:gd name="connsiteX421" fmla="*/ 258032 w 902845"/>
              <a:gd name="connsiteY421" fmla="*/ 211675 h 902925"/>
              <a:gd name="connsiteX422" fmla="*/ 278682 w 902845"/>
              <a:gd name="connsiteY422" fmla="*/ 215656 h 902925"/>
              <a:gd name="connsiteX423" fmla="*/ 309638 w 902845"/>
              <a:gd name="connsiteY423" fmla="*/ 262984 h 902925"/>
              <a:gd name="connsiteX424" fmla="*/ 309638 w 902845"/>
              <a:gd name="connsiteY424" fmla="*/ 274555 h 902925"/>
              <a:gd name="connsiteX425" fmla="*/ 303015 w 902845"/>
              <a:gd name="connsiteY425" fmla="*/ 301046 h 902925"/>
              <a:gd name="connsiteX426" fmla="*/ 305169 w 902845"/>
              <a:gd name="connsiteY426" fmla="*/ 331108 h 902925"/>
              <a:gd name="connsiteX427" fmla="*/ 295756 w 902845"/>
              <a:gd name="connsiteY427" fmla="*/ 323853 h 902925"/>
              <a:gd name="connsiteX428" fmla="*/ 285413 w 902845"/>
              <a:gd name="connsiteY428" fmla="*/ 318607 h 902925"/>
              <a:gd name="connsiteX429" fmla="*/ 278641 w 902845"/>
              <a:gd name="connsiteY429" fmla="*/ 321918 h 902925"/>
              <a:gd name="connsiteX430" fmla="*/ 257991 w 902845"/>
              <a:gd name="connsiteY430" fmla="*/ 325899 h 902925"/>
              <a:gd name="connsiteX431" fmla="*/ 237304 w 902845"/>
              <a:gd name="connsiteY431" fmla="*/ 321918 h 902925"/>
              <a:gd name="connsiteX432" fmla="*/ 230532 w 902845"/>
              <a:gd name="connsiteY432" fmla="*/ 318607 h 902925"/>
              <a:gd name="connsiteX433" fmla="*/ 203370 w 902845"/>
              <a:gd name="connsiteY433" fmla="*/ 339628 h 902925"/>
              <a:gd name="connsiteX434" fmla="*/ 191948 w 902845"/>
              <a:gd name="connsiteY434" fmla="*/ 378845 h 902925"/>
              <a:gd name="connsiteX435" fmla="*/ 191948 w 902845"/>
              <a:gd name="connsiteY435" fmla="*/ 399941 h 902925"/>
              <a:gd name="connsiteX436" fmla="*/ 279049 w 902845"/>
              <a:gd name="connsiteY436" fmla="*/ 399941 h 902925"/>
              <a:gd name="connsiteX437" fmla="*/ 280352 w 902845"/>
              <a:gd name="connsiteY437" fmla="*/ 398080 h 902925"/>
              <a:gd name="connsiteX438" fmla="*/ 313131 w 902845"/>
              <a:gd name="connsiteY438" fmla="*/ 369878 h 902925"/>
              <a:gd name="connsiteX439" fmla="*/ 305243 w 902845"/>
              <a:gd name="connsiteY439" fmla="*/ 339777 h 902925"/>
              <a:gd name="connsiteX440" fmla="*/ 296128 w 902845"/>
              <a:gd name="connsiteY440" fmla="*/ 416648 h 902925"/>
              <a:gd name="connsiteX441" fmla="*/ 299365 w 902845"/>
              <a:gd name="connsiteY441" fmla="*/ 411625 h 902925"/>
              <a:gd name="connsiteX442" fmla="*/ 330954 w 902845"/>
              <a:gd name="connsiteY442" fmla="*/ 387440 h 902925"/>
              <a:gd name="connsiteX443" fmla="*/ 338916 w 902845"/>
              <a:gd name="connsiteY443" fmla="*/ 391384 h 902925"/>
              <a:gd name="connsiteX444" fmla="*/ 361501 w 902845"/>
              <a:gd name="connsiteY444" fmla="*/ 395737 h 902925"/>
              <a:gd name="connsiteX445" fmla="*/ 384086 w 902845"/>
              <a:gd name="connsiteY445" fmla="*/ 391384 h 902925"/>
              <a:gd name="connsiteX446" fmla="*/ 392048 w 902845"/>
              <a:gd name="connsiteY446" fmla="*/ 387440 h 902925"/>
              <a:gd name="connsiteX447" fmla="*/ 423637 w 902845"/>
              <a:gd name="connsiteY447" fmla="*/ 411625 h 902925"/>
              <a:gd name="connsiteX448" fmla="*/ 426874 w 902845"/>
              <a:gd name="connsiteY448" fmla="*/ 416648 h 902925"/>
              <a:gd name="connsiteX449" fmla="*/ 427692 w 902845"/>
              <a:gd name="connsiteY449" fmla="*/ 418061 h 902925"/>
              <a:gd name="connsiteX450" fmla="*/ 436659 w 902845"/>
              <a:gd name="connsiteY450" fmla="*/ 456199 h 902925"/>
              <a:gd name="connsiteX451" fmla="*/ 436659 w 902845"/>
              <a:gd name="connsiteY451" fmla="*/ 481127 h 902925"/>
              <a:gd name="connsiteX452" fmla="*/ 286345 w 902845"/>
              <a:gd name="connsiteY452" fmla="*/ 481165 h 902925"/>
              <a:gd name="connsiteX453" fmla="*/ 286345 w 902845"/>
              <a:gd name="connsiteY453" fmla="*/ 456236 h 902925"/>
              <a:gd name="connsiteX454" fmla="*/ 295312 w 902845"/>
              <a:gd name="connsiteY454" fmla="*/ 418099 h 902925"/>
              <a:gd name="connsiteX455" fmla="*/ 296131 w 902845"/>
              <a:gd name="connsiteY455" fmla="*/ 416648 h 902925"/>
              <a:gd name="connsiteX456" fmla="*/ 286119 w 902845"/>
              <a:gd name="connsiteY456" fmla="*/ 274554 h 902925"/>
              <a:gd name="connsiteX457" fmla="*/ 286119 w 902845"/>
              <a:gd name="connsiteY457" fmla="*/ 262983 h 902925"/>
              <a:gd name="connsiteX458" fmla="*/ 269934 w 902845"/>
              <a:gd name="connsiteY458" fmla="*/ 237347 h 902925"/>
              <a:gd name="connsiteX459" fmla="*/ 257954 w 902845"/>
              <a:gd name="connsiteY459" fmla="*/ 235115 h 902925"/>
              <a:gd name="connsiteX460" fmla="*/ 245973 w 902845"/>
              <a:gd name="connsiteY460" fmla="*/ 237347 h 902925"/>
              <a:gd name="connsiteX461" fmla="*/ 229788 w 902845"/>
              <a:gd name="connsiteY461" fmla="*/ 262983 h 902925"/>
              <a:gd name="connsiteX462" fmla="*/ 229788 w 902845"/>
              <a:gd name="connsiteY462" fmla="*/ 274554 h 902925"/>
              <a:gd name="connsiteX463" fmla="*/ 246010 w 902845"/>
              <a:gd name="connsiteY463" fmla="*/ 300189 h 902925"/>
              <a:gd name="connsiteX464" fmla="*/ 257991 w 902845"/>
              <a:gd name="connsiteY464" fmla="*/ 302422 h 902925"/>
              <a:gd name="connsiteX465" fmla="*/ 269972 w 902845"/>
              <a:gd name="connsiteY465" fmla="*/ 300189 h 902925"/>
              <a:gd name="connsiteX466" fmla="*/ 286119 w 902845"/>
              <a:gd name="connsiteY466" fmla="*/ 274554 h 902925"/>
              <a:gd name="connsiteX467" fmla="*/ 486478 w 902845"/>
              <a:gd name="connsiteY467" fmla="*/ 274554 h 902925"/>
              <a:gd name="connsiteX468" fmla="*/ 486478 w 902845"/>
              <a:gd name="connsiteY468" fmla="*/ 262983 h 902925"/>
              <a:gd name="connsiteX469" fmla="*/ 470293 w 902845"/>
              <a:gd name="connsiteY469" fmla="*/ 237347 h 902925"/>
              <a:gd name="connsiteX470" fmla="*/ 458312 w 902845"/>
              <a:gd name="connsiteY470" fmla="*/ 235115 h 902925"/>
              <a:gd name="connsiteX471" fmla="*/ 446332 w 902845"/>
              <a:gd name="connsiteY471" fmla="*/ 237347 h 902925"/>
              <a:gd name="connsiteX472" fmla="*/ 430147 w 902845"/>
              <a:gd name="connsiteY472" fmla="*/ 262983 h 902925"/>
              <a:gd name="connsiteX473" fmla="*/ 430147 w 902845"/>
              <a:gd name="connsiteY473" fmla="*/ 274554 h 902925"/>
              <a:gd name="connsiteX474" fmla="*/ 446332 w 902845"/>
              <a:gd name="connsiteY474" fmla="*/ 300189 h 902925"/>
              <a:gd name="connsiteX475" fmla="*/ 458312 w 902845"/>
              <a:gd name="connsiteY475" fmla="*/ 302422 h 902925"/>
              <a:gd name="connsiteX476" fmla="*/ 470293 w 902845"/>
              <a:gd name="connsiteY476" fmla="*/ 300189 h 902925"/>
              <a:gd name="connsiteX477" fmla="*/ 486478 w 902845"/>
              <a:gd name="connsiteY477" fmla="*/ 274554 h 902925"/>
              <a:gd name="connsiteX478" fmla="*/ 394316 w 902845"/>
              <a:gd name="connsiteY478" fmla="*/ 339741 h 902925"/>
              <a:gd name="connsiteX479" fmla="*/ 394316 w 902845"/>
              <a:gd name="connsiteY479" fmla="*/ 326830 h 902925"/>
              <a:gd name="connsiteX480" fmla="*/ 375340 w 902845"/>
              <a:gd name="connsiteY480" fmla="*/ 296953 h 902925"/>
              <a:gd name="connsiteX481" fmla="*/ 361462 w 902845"/>
              <a:gd name="connsiteY481" fmla="*/ 294348 h 902925"/>
              <a:gd name="connsiteX482" fmla="*/ 347584 w 902845"/>
              <a:gd name="connsiteY482" fmla="*/ 296953 h 902925"/>
              <a:gd name="connsiteX483" fmla="*/ 328608 w 902845"/>
              <a:gd name="connsiteY483" fmla="*/ 326830 h 902925"/>
              <a:gd name="connsiteX484" fmla="*/ 328608 w 902845"/>
              <a:gd name="connsiteY484" fmla="*/ 339778 h 902925"/>
              <a:gd name="connsiteX485" fmla="*/ 347584 w 902845"/>
              <a:gd name="connsiteY485" fmla="*/ 369655 h 902925"/>
              <a:gd name="connsiteX486" fmla="*/ 361462 w 902845"/>
              <a:gd name="connsiteY486" fmla="*/ 372260 h 902925"/>
              <a:gd name="connsiteX487" fmla="*/ 375340 w 902845"/>
              <a:gd name="connsiteY487" fmla="*/ 369655 h 902925"/>
              <a:gd name="connsiteX488" fmla="*/ 394316 w 902845"/>
              <a:gd name="connsiteY488" fmla="*/ 339741 h 90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</a:cxnLst>
            <a:rect l="l" t="t" r="r" b="b"/>
            <a:pathLst>
              <a:path w="902845" h="902925">
                <a:moveTo>
                  <a:pt x="417765" y="326824"/>
                </a:moveTo>
                <a:lnTo>
                  <a:pt x="417765" y="339772"/>
                </a:lnTo>
                <a:cubicBezTo>
                  <a:pt x="417765" y="351716"/>
                  <a:pt x="414826" y="361725"/>
                  <a:pt x="409914" y="369873"/>
                </a:cubicBezTo>
                <a:cubicBezTo>
                  <a:pt x="422676" y="376459"/>
                  <a:pt x="433987" y="385872"/>
                  <a:pt x="442694" y="398076"/>
                </a:cubicBezTo>
                <a:cubicBezTo>
                  <a:pt x="443140" y="398708"/>
                  <a:pt x="443549" y="399304"/>
                  <a:pt x="443959" y="399936"/>
                </a:cubicBezTo>
                <a:lnTo>
                  <a:pt x="524363" y="399936"/>
                </a:lnTo>
                <a:lnTo>
                  <a:pt x="524363" y="378840"/>
                </a:lnTo>
                <a:cubicBezTo>
                  <a:pt x="524363" y="362655"/>
                  <a:pt x="520010" y="349596"/>
                  <a:pt x="512941" y="339624"/>
                </a:cubicBezTo>
                <a:cubicBezTo>
                  <a:pt x="506057" y="329913"/>
                  <a:pt x="496495" y="322918"/>
                  <a:pt x="485779" y="318602"/>
                </a:cubicBezTo>
                <a:cubicBezTo>
                  <a:pt x="483584" y="319867"/>
                  <a:pt x="481351" y="320946"/>
                  <a:pt x="479007" y="321914"/>
                </a:cubicBezTo>
                <a:cubicBezTo>
                  <a:pt x="472422" y="324555"/>
                  <a:pt x="465352" y="325895"/>
                  <a:pt x="458357" y="325895"/>
                </a:cubicBezTo>
                <a:cubicBezTo>
                  <a:pt x="451362" y="325895"/>
                  <a:pt x="444255" y="324555"/>
                  <a:pt x="437670" y="321914"/>
                </a:cubicBezTo>
                <a:cubicBezTo>
                  <a:pt x="435326" y="320983"/>
                  <a:pt x="433056" y="319867"/>
                  <a:pt x="430898" y="318602"/>
                </a:cubicBezTo>
                <a:cubicBezTo>
                  <a:pt x="428442" y="319569"/>
                  <a:pt x="426061" y="320686"/>
                  <a:pt x="423792" y="321951"/>
                </a:cubicBezTo>
                <a:cubicBezTo>
                  <a:pt x="421745" y="323067"/>
                  <a:pt x="419736" y="324295"/>
                  <a:pt x="417801" y="325671"/>
                </a:cubicBezTo>
                <a:cubicBezTo>
                  <a:pt x="417764" y="326043"/>
                  <a:pt x="417764" y="326416"/>
                  <a:pt x="417764" y="326825"/>
                </a:cubicBezTo>
                <a:close/>
                <a:moveTo>
                  <a:pt x="56034" y="431304"/>
                </a:moveTo>
                <a:lnTo>
                  <a:pt x="8520" y="417872"/>
                </a:lnTo>
                <a:lnTo>
                  <a:pt x="0" y="415453"/>
                </a:lnTo>
                <a:lnTo>
                  <a:pt x="0" y="300820"/>
                </a:lnTo>
                <a:lnTo>
                  <a:pt x="8558" y="298401"/>
                </a:lnTo>
                <a:lnTo>
                  <a:pt x="56071" y="284969"/>
                </a:lnTo>
                <a:cubicBezTo>
                  <a:pt x="59829" y="269491"/>
                  <a:pt x="64778" y="254199"/>
                  <a:pt x="70991" y="239204"/>
                </a:cubicBezTo>
                <a:cubicBezTo>
                  <a:pt x="77093" y="224433"/>
                  <a:pt x="84385" y="210071"/>
                  <a:pt x="92832" y="196267"/>
                </a:cubicBezTo>
                <a:lnTo>
                  <a:pt x="68722" y="153145"/>
                </a:lnTo>
                <a:lnTo>
                  <a:pt x="64406" y="145406"/>
                </a:lnTo>
                <a:lnTo>
                  <a:pt x="145443" y="64369"/>
                </a:lnTo>
                <a:lnTo>
                  <a:pt x="153182" y="68685"/>
                </a:lnTo>
                <a:lnTo>
                  <a:pt x="196305" y="92795"/>
                </a:lnTo>
                <a:cubicBezTo>
                  <a:pt x="210108" y="84349"/>
                  <a:pt x="224470" y="77094"/>
                  <a:pt x="239242" y="70954"/>
                </a:cubicBezTo>
                <a:cubicBezTo>
                  <a:pt x="254236" y="64740"/>
                  <a:pt x="269528" y="59754"/>
                  <a:pt x="285006" y="56034"/>
                </a:cubicBezTo>
                <a:lnTo>
                  <a:pt x="298438" y="8520"/>
                </a:lnTo>
                <a:lnTo>
                  <a:pt x="300820" y="0"/>
                </a:lnTo>
                <a:lnTo>
                  <a:pt x="415453" y="0"/>
                </a:lnTo>
                <a:lnTo>
                  <a:pt x="417872" y="8558"/>
                </a:lnTo>
                <a:lnTo>
                  <a:pt x="431304" y="56071"/>
                </a:lnTo>
                <a:cubicBezTo>
                  <a:pt x="446782" y="59829"/>
                  <a:pt x="462074" y="64778"/>
                  <a:pt x="477069" y="70991"/>
                </a:cubicBezTo>
                <a:cubicBezTo>
                  <a:pt x="491840" y="77130"/>
                  <a:pt x="506202" y="84423"/>
                  <a:pt x="520005" y="92832"/>
                </a:cubicBezTo>
                <a:lnTo>
                  <a:pt x="563128" y="68722"/>
                </a:lnTo>
                <a:lnTo>
                  <a:pt x="570830" y="64406"/>
                </a:lnTo>
                <a:lnTo>
                  <a:pt x="651866" y="145443"/>
                </a:lnTo>
                <a:lnTo>
                  <a:pt x="647550" y="153182"/>
                </a:lnTo>
                <a:lnTo>
                  <a:pt x="623441" y="196305"/>
                </a:lnTo>
                <a:cubicBezTo>
                  <a:pt x="631887" y="210108"/>
                  <a:pt x="639142" y="224470"/>
                  <a:pt x="645282" y="239242"/>
                </a:cubicBezTo>
                <a:cubicBezTo>
                  <a:pt x="651495" y="254236"/>
                  <a:pt x="656444" y="269528"/>
                  <a:pt x="660202" y="285006"/>
                </a:cubicBezTo>
                <a:lnTo>
                  <a:pt x="707715" y="298438"/>
                </a:lnTo>
                <a:lnTo>
                  <a:pt x="716273" y="300857"/>
                </a:lnTo>
                <a:lnTo>
                  <a:pt x="716273" y="415490"/>
                </a:lnTo>
                <a:lnTo>
                  <a:pt x="707715" y="417909"/>
                </a:lnTo>
                <a:lnTo>
                  <a:pt x="660202" y="431341"/>
                </a:lnTo>
                <a:cubicBezTo>
                  <a:pt x="656630" y="446149"/>
                  <a:pt x="651942" y="460734"/>
                  <a:pt x="646174" y="474985"/>
                </a:cubicBezTo>
                <a:cubicBezTo>
                  <a:pt x="640816" y="488193"/>
                  <a:pt x="634491" y="501141"/>
                  <a:pt x="627236" y="513717"/>
                </a:cubicBezTo>
                <a:lnTo>
                  <a:pt x="655662" y="539427"/>
                </a:lnTo>
                <a:lnTo>
                  <a:pt x="668573" y="526516"/>
                </a:lnTo>
                <a:cubicBezTo>
                  <a:pt x="673150" y="521939"/>
                  <a:pt x="680554" y="521939"/>
                  <a:pt x="685130" y="526516"/>
                </a:cubicBezTo>
                <a:lnTo>
                  <a:pt x="738783" y="580168"/>
                </a:lnTo>
                <a:cubicBezTo>
                  <a:pt x="743359" y="584745"/>
                  <a:pt x="743359" y="592186"/>
                  <a:pt x="738783" y="596763"/>
                </a:cubicBezTo>
                <a:lnTo>
                  <a:pt x="729407" y="606139"/>
                </a:lnTo>
                <a:lnTo>
                  <a:pt x="875663" y="738412"/>
                </a:lnTo>
                <a:cubicBezTo>
                  <a:pt x="906135" y="765983"/>
                  <a:pt x="908442" y="801627"/>
                  <a:pt x="895085" y="832881"/>
                </a:cubicBezTo>
                <a:cubicBezTo>
                  <a:pt x="889281" y="846499"/>
                  <a:pt x="880463" y="859187"/>
                  <a:pt x="869822" y="869865"/>
                </a:cubicBezTo>
                <a:cubicBezTo>
                  <a:pt x="859144" y="880544"/>
                  <a:pt x="846457" y="889362"/>
                  <a:pt x="832839" y="895165"/>
                </a:cubicBezTo>
                <a:cubicBezTo>
                  <a:pt x="801547" y="908522"/>
                  <a:pt x="765941" y="906216"/>
                  <a:pt x="738370" y="875743"/>
                </a:cubicBezTo>
                <a:lnTo>
                  <a:pt x="606096" y="729449"/>
                </a:lnTo>
                <a:lnTo>
                  <a:pt x="595195" y="740350"/>
                </a:lnTo>
                <a:cubicBezTo>
                  <a:pt x="590618" y="744926"/>
                  <a:pt x="583177" y="744926"/>
                  <a:pt x="578600" y="740350"/>
                </a:cubicBezTo>
                <a:lnTo>
                  <a:pt x="524948" y="686697"/>
                </a:lnTo>
                <a:cubicBezTo>
                  <a:pt x="520371" y="682121"/>
                  <a:pt x="520371" y="674680"/>
                  <a:pt x="524948" y="670103"/>
                </a:cubicBezTo>
                <a:lnTo>
                  <a:pt x="539384" y="655667"/>
                </a:lnTo>
                <a:lnTo>
                  <a:pt x="513674" y="627240"/>
                </a:lnTo>
                <a:cubicBezTo>
                  <a:pt x="501098" y="634496"/>
                  <a:pt x="488187" y="640821"/>
                  <a:pt x="474941" y="646179"/>
                </a:cubicBezTo>
                <a:cubicBezTo>
                  <a:pt x="460691" y="651946"/>
                  <a:pt x="446106" y="656635"/>
                  <a:pt x="431298" y="660207"/>
                </a:cubicBezTo>
                <a:lnTo>
                  <a:pt x="417866" y="707720"/>
                </a:lnTo>
                <a:lnTo>
                  <a:pt x="415447" y="716278"/>
                </a:lnTo>
                <a:lnTo>
                  <a:pt x="300814" y="716278"/>
                </a:lnTo>
                <a:lnTo>
                  <a:pt x="298395" y="707720"/>
                </a:lnTo>
                <a:lnTo>
                  <a:pt x="284963" y="660207"/>
                </a:lnTo>
                <a:cubicBezTo>
                  <a:pt x="269485" y="656486"/>
                  <a:pt x="254193" y="651500"/>
                  <a:pt x="239198" y="645287"/>
                </a:cubicBezTo>
                <a:cubicBezTo>
                  <a:pt x="224427" y="639147"/>
                  <a:pt x="210065" y="631893"/>
                  <a:pt x="196262" y="623446"/>
                </a:cubicBezTo>
                <a:lnTo>
                  <a:pt x="153139" y="647555"/>
                </a:lnTo>
                <a:lnTo>
                  <a:pt x="145400" y="651871"/>
                </a:lnTo>
                <a:lnTo>
                  <a:pt x="64363" y="570835"/>
                </a:lnTo>
                <a:lnTo>
                  <a:pt x="68679" y="563133"/>
                </a:lnTo>
                <a:lnTo>
                  <a:pt x="92789" y="520010"/>
                </a:lnTo>
                <a:cubicBezTo>
                  <a:pt x="84343" y="506207"/>
                  <a:pt x="77088" y="491845"/>
                  <a:pt x="70948" y="477073"/>
                </a:cubicBezTo>
                <a:cubicBezTo>
                  <a:pt x="64735" y="462079"/>
                  <a:pt x="59786" y="446787"/>
                  <a:pt x="56028" y="431309"/>
                </a:cubicBezTo>
                <a:close/>
                <a:moveTo>
                  <a:pt x="23440" y="397743"/>
                </a:moveTo>
                <a:lnTo>
                  <a:pt x="23440" y="318530"/>
                </a:lnTo>
                <a:lnTo>
                  <a:pt x="69094" y="305618"/>
                </a:lnTo>
                <a:lnTo>
                  <a:pt x="75903" y="303721"/>
                </a:lnTo>
                <a:lnTo>
                  <a:pt x="77391" y="296838"/>
                </a:lnTo>
                <a:cubicBezTo>
                  <a:pt x="81000" y="280206"/>
                  <a:pt x="86097" y="263873"/>
                  <a:pt x="92609" y="248133"/>
                </a:cubicBezTo>
                <a:cubicBezTo>
                  <a:pt x="99009" y="232618"/>
                  <a:pt x="106896" y="217512"/>
                  <a:pt x="116236" y="202964"/>
                </a:cubicBezTo>
                <a:lnTo>
                  <a:pt x="120031" y="197085"/>
                </a:lnTo>
                <a:lnTo>
                  <a:pt x="116608" y="190983"/>
                </a:lnTo>
                <a:lnTo>
                  <a:pt x="93465" y="149534"/>
                </a:lnTo>
                <a:lnTo>
                  <a:pt x="149499" y="93501"/>
                </a:lnTo>
                <a:lnTo>
                  <a:pt x="190947" y="116644"/>
                </a:lnTo>
                <a:lnTo>
                  <a:pt x="197049" y="120067"/>
                </a:lnTo>
                <a:lnTo>
                  <a:pt x="202928" y="116271"/>
                </a:lnTo>
                <a:cubicBezTo>
                  <a:pt x="217439" y="106933"/>
                  <a:pt x="232582" y="99045"/>
                  <a:pt x="248098" y="92645"/>
                </a:cubicBezTo>
                <a:cubicBezTo>
                  <a:pt x="263836" y="86134"/>
                  <a:pt x="280170" y="81036"/>
                  <a:pt x="296802" y="77427"/>
                </a:cubicBezTo>
                <a:lnTo>
                  <a:pt x="303685" y="75938"/>
                </a:lnTo>
                <a:lnTo>
                  <a:pt x="305620" y="69129"/>
                </a:lnTo>
                <a:lnTo>
                  <a:pt x="318531" y="23476"/>
                </a:lnTo>
                <a:lnTo>
                  <a:pt x="397745" y="23476"/>
                </a:lnTo>
                <a:lnTo>
                  <a:pt x="410656" y="69129"/>
                </a:lnTo>
                <a:lnTo>
                  <a:pt x="412591" y="75938"/>
                </a:lnTo>
                <a:lnTo>
                  <a:pt x="419474" y="77427"/>
                </a:lnTo>
                <a:cubicBezTo>
                  <a:pt x="436105" y="81036"/>
                  <a:pt x="452439" y="86133"/>
                  <a:pt x="468178" y="92645"/>
                </a:cubicBezTo>
                <a:cubicBezTo>
                  <a:pt x="483693" y="99082"/>
                  <a:pt x="498799" y="106932"/>
                  <a:pt x="513348" y="116271"/>
                </a:cubicBezTo>
                <a:lnTo>
                  <a:pt x="519226" y="120067"/>
                </a:lnTo>
                <a:lnTo>
                  <a:pt x="525328" y="116644"/>
                </a:lnTo>
                <a:lnTo>
                  <a:pt x="566777" y="93501"/>
                </a:lnTo>
                <a:lnTo>
                  <a:pt x="622811" y="149534"/>
                </a:lnTo>
                <a:lnTo>
                  <a:pt x="599668" y="190983"/>
                </a:lnTo>
                <a:lnTo>
                  <a:pt x="596245" y="197085"/>
                </a:lnTo>
                <a:lnTo>
                  <a:pt x="600040" y="202964"/>
                </a:lnTo>
                <a:cubicBezTo>
                  <a:pt x="609379" y="217474"/>
                  <a:pt x="617267" y="232618"/>
                  <a:pt x="623704" y="248133"/>
                </a:cubicBezTo>
                <a:cubicBezTo>
                  <a:pt x="630215" y="263872"/>
                  <a:pt x="635313" y="280206"/>
                  <a:pt x="638922" y="296838"/>
                </a:cubicBezTo>
                <a:lnTo>
                  <a:pt x="640410" y="303721"/>
                </a:lnTo>
                <a:lnTo>
                  <a:pt x="647219" y="305618"/>
                </a:lnTo>
                <a:lnTo>
                  <a:pt x="692872" y="318530"/>
                </a:lnTo>
                <a:lnTo>
                  <a:pt x="692872" y="397743"/>
                </a:lnTo>
                <a:lnTo>
                  <a:pt x="647219" y="410654"/>
                </a:lnTo>
                <a:lnTo>
                  <a:pt x="640410" y="412589"/>
                </a:lnTo>
                <a:lnTo>
                  <a:pt x="638922" y="419473"/>
                </a:lnTo>
                <a:cubicBezTo>
                  <a:pt x="635462" y="435323"/>
                  <a:pt x="630662" y="450950"/>
                  <a:pt x="624523" y="466167"/>
                </a:cubicBezTo>
                <a:cubicBezTo>
                  <a:pt x="620170" y="476883"/>
                  <a:pt x="615184" y="487375"/>
                  <a:pt x="609492" y="497607"/>
                </a:cubicBezTo>
                <a:lnTo>
                  <a:pt x="601455" y="490352"/>
                </a:lnTo>
                <a:lnTo>
                  <a:pt x="580582" y="471487"/>
                </a:lnTo>
                <a:cubicBezTo>
                  <a:pt x="598664" y="435992"/>
                  <a:pt x="607706" y="397111"/>
                  <a:pt x="607706" y="358188"/>
                </a:cubicBezTo>
                <a:cubicBezTo>
                  <a:pt x="607706" y="294303"/>
                  <a:pt x="583336" y="230457"/>
                  <a:pt x="534631" y="181756"/>
                </a:cubicBezTo>
                <a:cubicBezTo>
                  <a:pt x="485927" y="133055"/>
                  <a:pt x="422046" y="108681"/>
                  <a:pt x="358200" y="108681"/>
                </a:cubicBezTo>
                <a:cubicBezTo>
                  <a:pt x="294316" y="108681"/>
                  <a:pt x="230469" y="133052"/>
                  <a:pt x="181768" y="181756"/>
                </a:cubicBezTo>
                <a:cubicBezTo>
                  <a:pt x="133064" y="230497"/>
                  <a:pt x="108693" y="294341"/>
                  <a:pt x="108693" y="358188"/>
                </a:cubicBezTo>
                <a:cubicBezTo>
                  <a:pt x="108693" y="422035"/>
                  <a:pt x="133064" y="485880"/>
                  <a:pt x="181768" y="534619"/>
                </a:cubicBezTo>
                <a:cubicBezTo>
                  <a:pt x="230509" y="583360"/>
                  <a:pt x="294354" y="607694"/>
                  <a:pt x="358200" y="607694"/>
                </a:cubicBezTo>
                <a:cubicBezTo>
                  <a:pt x="397118" y="607694"/>
                  <a:pt x="436000" y="598653"/>
                  <a:pt x="471500" y="580570"/>
                </a:cubicBezTo>
                <a:lnTo>
                  <a:pt x="497656" y="609517"/>
                </a:lnTo>
                <a:cubicBezTo>
                  <a:pt x="487462" y="615173"/>
                  <a:pt x="476932" y="620196"/>
                  <a:pt x="466216" y="624549"/>
                </a:cubicBezTo>
                <a:cubicBezTo>
                  <a:pt x="450998" y="630725"/>
                  <a:pt x="435371" y="635524"/>
                  <a:pt x="419522" y="638985"/>
                </a:cubicBezTo>
                <a:lnTo>
                  <a:pt x="412638" y="640473"/>
                </a:lnTo>
                <a:lnTo>
                  <a:pt x="410704" y="647282"/>
                </a:lnTo>
                <a:lnTo>
                  <a:pt x="397792" y="692935"/>
                </a:lnTo>
                <a:lnTo>
                  <a:pt x="318579" y="692935"/>
                </a:lnTo>
                <a:lnTo>
                  <a:pt x="305668" y="647282"/>
                </a:lnTo>
                <a:lnTo>
                  <a:pt x="303770" y="640473"/>
                </a:lnTo>
                <a:lnTo>
                  <a:pt x="296887" y="638985"/>
                </a:lnTo>
                <a:cubicBezTo>
                  <a:pt x="280255" y="635375"/>
                  <a:pt x="263922" y="630278"/>
                  <a:pt x="248183" y="623766"/>
                </a:cubicBezTo>
                <a:cubicBezTo>
                  <a:pt x="232667" y="617330"/>
                  <a:pt x="217562" y="609442"/>
                  <a:pt x="203013" y="600103"/>
                </a:cubicBezTo>
                <a:lnTo>
                  <a:pt x="197134" y="596307"/>
                </a:lnTo>
                <a:lnTo>
                  <a:pt x="191032" y="599730"/>
                </a:lnTo>
                <a:lnTo>
                  <a:pt x="149583" y="622910"/>
                </a:lnTo>
                <a:lnTo>
                  <a:pt x="93550" y="566877"/>
                </a:lnTo>
                <a:lnTo>
                  <a:pt x="116693" y="525428"/>
                </a:lnTo>
                <a:lnTo>
                  <a:pt x="120116" y="519326"/>
                </a:lnTo>
                <a:lnTo>
                  <a:pt x="116321" y="513447"/>
                </a:lnTo>
                <a:cubicBezTo>
                  <a:pt x="106982" y="498900"/>
                  <a:pt x="99094" y="483793"/>
                  <a:pt x="92694" y="468278"/>
                </a:cubicBezTo>
                <a:cubicBezTo>
                  <a:pt x="86183" y="452540"/>
                  <a:pt x="81085" y="436205"/>
                  <a:pt x="77476" y="419573"/>
                </a:cubicBezTo>
                <a:lnTo>
                  <a:pt x="75988" y="412690"/>
                </a:lnTo>
                <a:lnTo>
                  <a:pt x="69179" y="410755"/>
                </a:lnTo>
                <a:close/>
                <a:moveTo>
                  <a:pt x="492394" y="568898"/>
                </a:moveTo>
                <a:lnTo>
                  <a:pt x="555907" y="639108"/>
                </a:lnTo>
                <a:lnTo>
                  <a:pt x="639139" y="555876"/>
                </a:lnTo>
                <a:lnTo>
                  <a:pt x="568930" y="492363"/>
                </a:lnTo>
                <a:lnTo>
                  <a:pt x="568855" y="492437"/>
                </a:lnTo>
                <a:lnTo>
                  <a:pt x="568855" y="492474"/>
                </a:lnTo>
                <a:lnTo>
                  <a:pt x="568818" y="492549"/>
                </a:lnTo>
                <a:lnTo>
                  <a:pt x="568781" y="492586"/>
                </a:lnTo>
                <a:lnTo>
                  <a:pt x="568743" y="492660"/>
                </a:lnTo>
                <a:lnTo>
                  <a:pt x="568669" y="492735"/>
                </a:lnTo>
                <a:lnTo>
                  <a:pt x="568632" y="492809"/>
                </a:lnTo>
                <a:lnTo>
                  <a:pt x="568520" y="492921"/>
                </a:lnTo>
                <a:lnTo>
                  <a:pt x="568520" y="492958"/>
                </a:lnTo>
                <a:lnTo>
                  <a:pt x="568297" y="493181"/>
                </a:lnTo>
                <a:lnTo>
                  <a:pt x="568297" y="493219"/>
                </a:lnTo>
                <a:lnTo>
                  <a:pt x="568185" y="493330"/>
                </a:lnTo>
                <a:lnTo>
                  <a:pt x="568148" y="493405"/>
                </a:lnTo>
                <a:lnTo>
                  <a:pt x="568111" y="493442"/>
                </a:lnTo>
                <a:lnTo>
                  <a:pt x="568074" y="493516"/>
                </a:lnTo>
                <a:lnTo>
                  <a:pt x="568037" y="493516"/>
                </a:lnTo>
                <a:lnTo>
                  <a:pt x="567888" y="493665"/>
                </a:lnTo>
                <a:lnTo>
                  <a:pt x="567851" y="493739"/>
                </a:lnTo>
                <a:lnTo>
                  <a:pt x="567813" y="493777"/>
                </a:lnTo>
                <a:lnTo>
                  <a:pt x="567776" y="493851"/>
                </a:lnTo>
                <a:lnTo>
                  <a:pt x="567627" y="494000"/>
                </a:lnTo>
                <a:lnTo>
                  <a:pt x="567590" y="494074"/>
                </a:lnTo>
                <a:lnTo>
                  <a:pt x="567590" y="494112"/>
                </a:lnTo>
                <a:lnTo>
                  <a:pt x="567441" y="494260"/>
                </a:lnTo>
                <a:lnTo>
                  <a:pt x="567404" y="494335"/>
                </a:lnTo>
                <a:lnTo>
                  <a:pt x="567367" y="494372"/>
                </a:lnTo>
                <a:lnTo>
                  <a:pt x="567330" y="494446"/>
                </a:lnTo>
                <a:lnTo>
                  <a:pt x="567181" y="494595"/>
                </a:lnTo>
                <a:lnTo>
                  <a:pt x="567144" y="494670"/>
                </a:lnTo>
                <a:lnTo>
                  <a:pt x="566883" y="494930"/>
                </a:lnTo>
                <a:lnTo>
                  <a:pt x="566883" y="494967"/>
                </a:lnTo>
                <a:lnTo>
                  <a:pt x="567032" y="495005"/>
                </a:lnTo>
                <a:lnTo>
                  <a:pt x="566883" y="495153"/>
                </a:lnTo>
                <a:lnTo>
                  <a:pt x="566846" y="495228"/>
                </a:lnTo>
                <a:lnTo>
                  <a:pt x="566585" y="495488"/>
                </a:lnTo>
                <a:lnTo>
                  <a:pt x="566548" y="495563"/>
                </a:lnTo>
                <a:lnTo>
                  <a:pt x="566399" y="495711"/>
                </a:lnTo>
                <a:lnTo>
                  <a:pt x="566362" y="495786"/>
                </a:lnTo>
                <a:lnTo>
                  <a:pt x="566325" y="495823"/>
                </a:lnTo>
                <a:lnTo>
                  <a:pt x="566288" y="495897"/>
                </a:lnTo>
                <a:lnTo>
                  <a:pt x="566139" y="496046"/>
                </a:lnTo>
                <a:lnTo>
                  <a:pt x="566213" y="496084"/>
                </a:lnTo>
                <a:lnTo>
                  <a:pt x="566176" y="496158"/>
                </a:lnTo>
                <a:lnTo>
                  <a:pt x="566027" y="496307"/>
                </a:lnTo>
                <a:lnTo>
                  <a:pt x="565990" y="496381"/>
                </a:lnTo>
                <a:lnTo>
                  <a:pt x="565953" y="496418"/>
                </a:lnTo>
                <a:lnTo>
                  <a:pt x="565916" y="496493"/>
                </a:lnTo>
                <a:lnTo>
                  <a:pt x="565767" y="496642"/>
                </a:lnTo>
                <a:lnTo>
                  <a:pt x="565767" y="496679"/>
                </a:lnTo>
                <a:lnTo>
                  <a:pt x="565730" y="496753"/>
                </a:lnTo>
                <a:lnTo>
                  <a:pt x="565506" y="496976"/>
                </a:lnTo>
                <a:lnTo>
                  <a:pt x="565469" y="497051"/>
                </a:lnTo>
                <a:lnTo>
                  <a:pt x="565320" y="497200"/>
                </a:lnTo>
                <a:lnTo>
                  <a:pt x="565320" y="497237"/>
                </a:lnTo>
                <a:lnTo>
                  <a:pt x="565209" y="497349"/>
                </a:lnTo>
                <a:lnTo>
                  <a:pt x="565172" y="497423"/>
                </a:lnTo>
                <a:lnTo>
                  <a:pt x="565097" y="497497"/>
                </a:lnTo>
                <a:lnTo>
                  <a:pt x="565060" y="497572"/>
                </a:lnTo>
                <a:lnTo>
                  <a:pt x="564874" y="497758"/>
                </a:lnTo>
                <a:cubicBezTo>
                  <a:pt x="557619" y="508473"/>
                  <a:pt x="549433" y="518779"/>
                  <a:pt x="540355" y="528491"/>
                </a:cubicBezTo>
                <a:lnTo>
                  <a:pt x="539536" y="529310"/>
                </a:lnTo>
                <a:lnTo>
                  <a:pt x="539536" y="529347"/>
                </a:lnTo>
                <a:lnTo>
                  <a:pt x="539462" y="529421"/>
                </a:lnTo>
                <a:lnTo>
                  <a:pt x="539462" y="529459"/>
                </a:lnTo>
                <a:lnTo>
                  <a:pt x="539424" y="529459"/>
                </a:lnTo>
                <a:lnTo>
                  <a:pt x="539424" y="529496"/>
                </a:lnTo>
                <a:lnTo>
                  <a:pt x="539387" y="529533"/>
                </a:lnTo>
                <a:lnTo>
                  <a:pt x="539350" y="529533"/>
                </a:lnTo>
                <a:lnTo>
                  <a:pt x="539350" y="529570"/>
                </a:lnTo>
                <a:lnTo>
                  <a:pt x="539276" y="529645"/>
                </a:lnTo>
                <a:lnTo>
                  <a:pt x="539238" y="529645"/>
                </a:lnTo>
                <a:lnTo>
                  <a:pt x="539238" y="529682"/>
                </a:lnTo>
                <a:lnTo>
                  <a:pt x="539201" y="529719"/>
                </a:lnTo>
                <a:lnTo>
                  <a:pt x="539164" y="529719"/>
                </a:lnTo>
                <a:lnTo>
                  <a:pt x="539127" y="529756"/>
                </a:lnTo>
                <a:lnTo>
                  <a:pt x="539127" y="529793"/>
                </a:lnTo>
                <a:lnTo>
                  <a:pt x="539090" y="529831"/>
                </a:lnTo>
                <a:lnTo>
                  <a:pt x="539052" y="529831"/>
                </a:lnTo>
                <a:lnTo>
                  <a:pt x="539052" y="529868"/>
                </a:lnTo>
                <a:lnTo>
                  <a:pt x="538904" y="530017"/>
                </a:lnTo>
                <a:lnTo>
                  <a:pt x="538904" y="530054"/>
                </a:lnTo>
                <a:lnTo>
                  <a:pt x="538829" y="530128"/>
                </a:lnTo>
                <a:lnTo>
                  <a:pt x="539201" y="529831"/>
                </a:lnTo>
                <a:lnTo>
                  <a:pt x="539127" y="529905"/>
                </a:lnTo>
                <a:lnTo>
                  <a:pt x="539127" y="529942"/>
                </a:lnTo>
                <a:lnTo>
                  <a:pt x="539090" y="529942"/>
                </a:lnTo>
                <a:lnTo>
                  <a:pt x="539052" y="529979"/>
                </a:lnTo>
                <a:lnTo>
                  <a:pt x="539052" y="530017"/>
                </a:lnTo>
                <a:lnTo>
                  <a:pt x="539015" y="530017"/>
                </a:lnTo>
                <a:lnTo>
                  <a:pt x="539015" y="530054"/>
                </a:lnTo>
                <a:lnTo>
                  <a:pt x="538866" y="530203"/>
                </a:lnTo>
                <a:lnTo>
                  <a:pt x="538829" y="530203"/>
                </a:lnTo>
                <a:lnTo>
                  <a:pt x="538792" y="530240"/>
                </a:lnTo>
                <a:lnTo>
                  <a:pt x="538792" y="530277"/>
                </a:lnTo>
                <a:lnTo>
                  <a:pt x="538755" y="530314"/>
                </a:lnTo>
                <a:lnTo>
                  <a:pt x="538718" y="530314"/>
                </a:lnTo>
                <a:lnTo>
                  <a:pt x="538680" y="530352"/>
                </a:lnTo>
                <a:lnTo>
                  <a:pt x="538680" y="530389"/>
                </a:lnTo>
                <a:lnTo>
                  <a:pt x="538569" y="530500"/>
                </a:lnTo>
                <a:lnTo>
                  <a:pt x="538569" y="530538"/>
                </a:lnTo>
                <a:lnTo>
                  <a:pt x="538755" y="530277"/>
                </a:lnTo>
                <a:lnTo>
                  <a:pt x="538718" y="530314"/>
                </a:lnTo>
                <a:lnTo>
                  <a:pt x="538718" y="530352"/>
                </a:lnTo>
                <a:lnTo>
                  <a:pt x="538271" y="530798"/>
                </a:lnTo>
                <a:lnTo>
                  <a:pt x="538345" y="530724"/>
                </a:lnTo>
                <a:lnTo>
                  <a:pt x="538122" y="530947"/>
                </a:lnTo>
                <a:lnTo>
                  <a:pt x="538159" y="530910"/>
                </a:lnTo>
                <a:lnTo>
                  <a:pt x="535853" y="533217"/>
                </a:lnTo>
                <a:lnTo>
                  <a:pt x="536336" y="532807"/>
                </a:lnTo>
                <a:lnTo>
                  <a:pt x="535853" y="533291"/>
                </a:lnTo>
                <a:lnTo>
                  <a:pt x="535853" y="533328"/>
                </a:lnTo>
                <a:lnTo>
                  <a:pt x="535295" y="533886"/>
                </a:lnTo>
                <a:lnTo>
                  <a:pt x="535332" y="533775"/>
                </a:lnTo>
                <a:lnTo>
                  <a:pt x="533881" y="535226"/>
                </a:lnTo>
                <a:lnTo>
                  <a:pt x="533881" y="535263"/>
                </a:lnTo>
                <a:lnTo>
                  <a:pt x="533620" y="535523"/>
                </a:lnTo>
                <a:lnTo>
                  <a:pt x="533769" y="535337"/>
                </a:lnTo>
                <a:lnTo>
                  <a:pt x="532727" y="536379"/>
                </a:lnTo>
                <a:lnTo>
                  <a:pt x="532802" y="536342"/>
                </a:lnTo>
                <a:lnTo>
                  <a:pt x="531611" y="537533"/>
                </a:lnTo>
                <a:lnTo>
                  <a:pt x="531537" y="537570"/>
                </a:lnTo>
                <a:lnTo>
                  <a:pt x="530495" y="538612"/>
                </a:lnTo>
                <a:lnTo>
                  <a:pt x="530904" y="538165"/>
                </a:lnTo>
                <a:lnTo>
                  <a:pt x="530160" y="538909"/>
                </a:lnTo>
                <a:lnTo>
                  <a:pt x="529341" y="539691"/>
                </a:lnTo>
                <a:lnTo>
                  <a:pt x="529118" y="539877"/>
                </a:lnTo>
                <a:lnTo>
                  <a:pt x="528225" y="540770"/>
                </a:lnTo>
                <a:lnTo>
                  <a:pt x="527965" y="540993"/>
                </a:lnTo>
                <a:lnTo>
                  <a:pt x="527927" y="541030"/>
                </a:lnTo>
                <a:cubicBezTo>
                  <a:pt x="518291" y="550034"/>
                  <a:pt x="508096" y="558108"/>
                  <a:pt x="497455" y="565289"/>
                </a:cubicBezTo>
                <a:lnTo>
                  <a:pt x="497381" y="565364"/>
                </a:lnTo>
                <a:lnTo>
                  <a:pt x="497343" y="565364"/>
                </a:lnTo>
                <a:lnTo>
                  <a:pt x="497269" y="565401"/>
                </a:lnTo>
                <a:lnTo>
                  <a:pt x="497120" y="565550"/>
                </a:lnTo>
                <a:lnTo>
                  <a:pt x="497046" y="565587"/>
                </a:lnTo>
                <a:lnTo>
                  <a:pt x="497009" y="565624"/>
                </a:lnTo>
                <a:lnTo>
                  <a:pt x="496934" y="565661"/>
                </a:lnTo>
                <a:lnTo>
                  <a:pt x="496860" y="565736"/>
                </a:lnTo>
                <a:lnTo>
                  <a:pt x="496785" y="565773"/>
                </a:lnTo>
                <a:lnTo>
                  <a:pt x="496748" y="565810"/>
                </a:lnTo>
                <a:lnTo>
                  <a:pt x="496674" y="565847"/>
                </a:lnTo>
                <a:lnTo>
                  <a:pt x="496637" y="565885"/>
                </a:lnTo>
                <a:lnTo>
                  <a:pt x="496562" y="565922"/>
                </a:lnTo>
                <a:lnTo>
                  <a:pt x="496488" y="565996"/>
                </a:lnTo>
                <a:lnTo>
                  <a:pt x="496413" y="566033"/>
                </a:lnTo>
                <a:lnTo>
                  <a:pt x="496376" y="566071"/>
                </a:lnTo>
                <a:lnTo>
                  <a:pt x="496302" y="566108"/>
                </a:lnTo>
                <a:lnTo>
                  <a:pt x="496227" y="566182"/>
                </a:lnTo>
                <a:lnTo>
                  <a:pt x="496488" y="565922"/>
                </a:lnTo>
                <a:lnTo>
                  <a:pt x="496450" y="565922"/>
                </a:lnTo>
                <a:lnTo>
                  <a:pt x="496376" y="565959"/>
                </a:lnTo>
                <a:lnTo>
                  <a:pt x="496227" y="566108"/>
                </a:lnTo>
                <a:lnTo>
                  <a:pt x="496153" y="566145"/>
                </a:lnTo>
                <a:lnTo>
                  <a:pt x="495892" y="566405"/>
                </a:lnTo>
                <a:lnTo>
                  <a:pt x="495818" y="566443"/>
                </a:lnTo>
                <a:lnTo>
                  <a:pt x="495669" y="566592"/>
                </a:lnTo>
                <a:lnTo>
                  <a:pt x="495595" y="566629"/>
                </a:lnTo>
                <a:lnTo>
                  <a:pt x="495557" y="566666"/>
                </a:lnTo>
                <a:lnTo>
                  <a:pt x="495483" y="566703"/>
                </a:lnTo>
                <a:lnTo>
                  <a:pt x="495446" y="566703"/>
                </a:lnTo>
                <a:lnTo>
                  <a:pt x="495185" y="566964"/>
                </a:lnTo>
                <a:lnTo>
                  <a:pt x="495111" y="567001"/>
                </a:lnTo>
                <a:lnTo>
                  <a:pt x="494962" y="567150"/>
                </a:lnTo>
                <a:lnTo>
                  <a:pt x="494888" y="567187"/>
                </a:lnTo>
                <a:lnTo>
                  <a:pt x="494851" y="567224"/>
                </a:lnTo>
                <a:lnTo>
                  <a:pt x="494665" y="567336"/>
                </a:lnTo>
                <a:lnTo>
                  <a:pt x="494590" y="567410"/>
                </a:lnTo>
                <a:lnTo>
                  <a:pt x="494553" y="567410"/>
                </a:lnTo>
                <a:lnTo>
                  <a:pt x="494478" y="567447"/>
                </a:lnTo>
                <a:lnTo>
                  <a:pt x="494330" y="567596"/>
                </a:lnTo>
                <a:lnTo>
                  <a:pt x="494255" y="567633"/>
                </a:lnTo>
                <a:lnTo>
                  <a:pt x="493995" y="567894"/>
                </a:lnTo>
                <a:lnTo>
                  <a:pt x="493958" y="567894"/>
                </a:lnTo>
                <a:lnTo>
                  <a:pt x="493883" y="567931"/>
                </a:lnTo>
                <a:lnTo>
                  <a:pt x="493734" y="568080"/>
                </a:lnTo>
                <a:lnTo>
                  <a:pt x="493660" y="568117"/>
                </a:lnTo>
                <a:lnTo>
                  <a:pt x="493623" y="568154"/>
                </a:lnTo>
                <a:lnTo>
                  <a:pt x="493548" y="568191"/>
                </a:lnTo>
                <a:lnTo>
                  <a:pt x="493474" y="568266"/>
                </a:lnTo>
                <a:lnTo>
                  <a:pt x="493399" y="568303"/>
                </a:lnTo>
                <a:lnTo>
                  <a:pt x="493362" y="568340"/>
                </a:lnTo>
                <a:lnTo>
                  <a:pt x="493288" y="568377"/>
                </a:lnTo>
                <a:lnTo>
                  <a:pt x="493251" y="568415"/>
                </a:lnTo>
                <a:lnTo>
                  <a:pt x="493176" y="568452"/>
                </a:lnTo>
                <a:lnTo>
                  <a:pt x="493102" y="568526"/>
                </a:lnTo>
                <a:lnTo>
                  <a:pt x="493027" y="568563"/>
                </a:lnTo>
                <a:lnTo>
                  <a:pt x="492990" y="568601"/>
                </a:lnTo>
                <a:lnTo>
                  <a:pt x="492916" y="568638"/>
                </a:lnTo>
                <a:lnTo>
                  <a:pt x="492767" y="568787"/>
                </a:lnTo>
                <a:lnTo>
                  <a:pt x="492693" y="568824"/>
                </a:lnTo>
                <a:lnTo>
                  <a:pt x="492655" y="568861"/>
                </a:lnTo>
                <a:lnTo>
                  <a:pt x="492581" y="568898"/>
                </a:lnTo>
                <a:lnTo>
                  <a:pt x="492358" y="569122"/>
                </a:lnTo>
                <a:close/>
                <a:moveTo>
                  <a:pt x="622620" y="712888"/>
                </a:moveTo>
                <a:lnTo>
                  <a:pt x="755675" y="860039"/>
                </a:lnTo>
                <a:cubicBezTo>
                  <a:pt x="775320" y="881731"/>
                  <a:pt x="800993" y="883256"/>
                  <a:pt x="823689" y="873583"/>
                </a:cubicBezTo>
                <a:cubicBezTo>
                  <a:pt x="834442" y="869006"/>
                  <a:pt x="844599" y="861899"/>
                  <a:pt x="853269" y="853231"/>
                </a:cubicBezTo>
                <a:cubicBezTo>
                  <a:pt x="861938" y="844562"/>
                  <a:pt x="869007" y="834404"/>
                  <a:pt x="873621" y="823651"/>
                </a:cubicBezTo>
                <a:cubicBezTo>
                  <a:pt x="883295" y="800992"/>
                  <a:pt x="881769" y="775282"/>
                  <a:pt x="860040" y="755637"/>
                </a:cubicBezTo>
                <a:lnTo>
                  <a:pt x="712888" y="622620"/>
                </a:lnTo>
                <a:close/>
                <a:moveTo>
                  <a:pt x="676868" y="551334"/>
                </a:moveTo>
                <a:lnTo>
                  <a:pt x="549804" y="678397"/>
                </a:lnTo>
                <a:lnTo>
                  <a:pt x="586899" y="715493"/>
                </a:lnTo>
                <a:lnTo>
                  <a:pt x="713963" y="588429"/>
                </a:lnTo>
                <a:close/>
                <a:moveTo>
                  <a:pt x="198275" y="198280"/>
                </a:moveTo>
                <a:cubicBezTo>
                  <a:pt x="242402" y="154153"/>
                  <a:pt x="300259" y="132089"/>
                  <a:pt x="358152" y="132089"/>
                </a:cubicBezTo>
                <a:cubicBezTo>
                  <a:pt x="416009" y="132089"/>
                  <a:pt x="473861" y="154153"/>
                  <a:pt x="517991" y="198280"/>
                </a:cubicBezTo>
                <a:cubicBezTo>
                  <a:pt x="562118" y="242408"/>
                  <a:pt x="584182" y="300303"/>
                  <a:pt x="584182" y="358157"/>
                </a:cubicBezTo>
                <a:cubicBezTo>
                  <a:pt x="584182" y="402433"/>
                  <a:pt x="571271" y="446748"/>
                  <a:pt x="545375" y="484888"/>
                </a:cubicBezTo>
                <a:lnTo>
                  <a:pt x="545375" y="484925"/>
                </a:lnTo>
                <a:lnTo>
                  <a:pt x="545338" y="484962"/>
                </a:lnTo>
                <a:lnTo>
                  <a:pt x="545338" y="484999"/>
                </a:lnTo>
                <a:cubicBezTo>
                  <a:pt x="538045" y="495752"/>
                  <a:pt x="529748" y="505984"/>
                  <a:pt x="520409" y="515583"/>
                </a:cubicBezTo>
                <a:lnTo>
                  <a:pt x="518102" y="517890"/>
                </a:lnTo>
                <a:cubicBezTo>
                  <a:pt x="473975" y="562017"/>
                  <a:pt x="416118" y="584118"/>
                  <a:pt x="358263" y="584118"/>
                </a:cubicBezTo>
                <a:cubicBezTo>
                  <a:pt x="300408" y="584118"/>
                  <a:pt x="242554" y="562054"/>
                  <a:pt x="198424" y="517890"/>
                </a:cubicBezTo>
                <a:cubicBezTo>
                  <a:pt x="154297" y="473762"/>
                  <a:pt x="132233" y="415906"/>
                  <a:pt x="132233" y="358051"/>
                </a:cubicBezTo>
                <a:cubicBezTo>
                  <a:pt x="132084" y="300268"/>
                  <a:pt x="154148" y="242408"/>
                  <a:pt x="198276" y="198288"/>
                </a:cubicBezTo>
                <a:close/>
                <a:moveTo>
                  <a:pt x="303012" y="301046"/>
                </a:moveTo>
                <a:cubicBezTo>
                  <a:pt x="304797" y="302013"/>
                  <a:pt x="306509" y="303017"/>
                  <a:pt x="308221" y="304096"/>
                </a:cubicBezTo>
                <a:cubicBezTo>
                  <a:pt x="308518" y="304283"/>
                  <a:pt x="308853" y="304469"/>
                  <a:pt x="309151" y="304655"/>
                </a:cubicBezTo>
                <a:cubicBezTo>
                  <a:pt x="314769" y="290293"/>
                  <a:pt x="325857" y="280470"/>
                  <a:pt x="338879" y="275224"/>
                </a:cubicBezTo>
                <a:cubicBezTo>
                  <a:pt x="346060" y="272322"/>
                  <a:pt x="353799" y="270871"/>
                  <a:pt x="361464" y="270871"/>
                </a:cubicBezTo>
                <a:cubicBezTo>
                  <a:pt x="369129" y="270871"/>
                  <a:pt x="376868" y="272322"/>
                  <a:pt x="384049" y="275224"/>
                </a:cubicBezTo>
                <a:cubicBezTo>
                  <a:pt x="396104" y="280061"/>
                  <a:pt x="406485" y="288842"/>
                  <a:pt x="412438" y="301492"/>
                </a:cubicBezTo>
                <a:lnTo>
                  <a:pt x="412550" y="301418"/>
                </a:lnTo>
                <a:lnTo>
                  <a:pt x="413256" y="301046"/>
                </a:lnTo>
                <a:cubicBezTo>
                  <a:pt x="409127" y="293790"/>
                  <a:pt x="406671" y="284972"/>
                  <a:pt x="406671" y="274555"/>
                </a:cubicBezTo>
                <a:lnTo>
                  <a:pt x="406671" y="262984"/>
                </a:lnTo>
                <a:cubicBezTo>
                  <a:pt x="406671" y="238428"/>
                  <a:pt x="420252" y="222614"/>
                  <a:pt x="437627" y="215656"/>
                </a:cubicBezTo>
                <a:cubicBezTo>
                  <a:pt x="444213" y="213014"/>
                  <a:pt x="451282" y="211675"/>
                  <a:pt x="458314" y="211675"/>
                </a:cubicBezTo>
                <a:cubicBezTo>
                  <a:pt x="465309" y="211675"/>
                  <a:pt x="472379" y="213014"/>
                  <a:pt x="478965" y="215656"/>
                </a:cubicBezTo>
                <a:cubicBezTo>
                  <a:pt x="496340" y="222651"/>
                  <a:pt x="509921" y="238464"/>
                  <a:pt x="509921" y="262984"/>
                </a:cubicBezTo>
                <a:lnTo>
                  <a:pt x="509921" y="274555"/>
                </a:lnTo>
                <a:cubicBezTo>
                  <a:pt x="509921" y="284935"/>
                  <a:pt x="507502" y="293791"/>
                  <a:pt x="503372" y="301046"/>
                </a:cubicBezTo>
                <a:cubicBezTo>
                  <a:pt x="514460" y="306999"/>
                  <a:pt x="524357" y="315333"/>
                  <a:pt x="531985" y="326086"/>
                </a:cubicBezTo>
                <a:cubicBezTo>
                  <a:pt x="541807" y="339927"/>
                  <a:pt x="547798" y="357526"/>
                  <a:pt x="547798" y="378883"/>
                </a:cubicBezTo>
                <a:lnTo>
                  <a:pt x="547798" y="411700"/>
                </a:lnTo>
                <a:cubicBezTo>
                  <a:pt x="547798" y="418174"/>
                  <a:pt x="542552" y="423420"/>
                  <a:pt x="536077" y="423420"/>
                </a:cubicBezTo>
                <a:lnTo>
                  <a:pt x="455189" y="423420"/>
                </a:lnTo>
                <a:cubicBezTo>
                  <a:pt x="458315" y="433280"/>
                  <a:pt x="460063" y="444256"/>
                  <a:pt x="460063" y="456274"/>
                </a:cubicBezTo>
                <a:lnTo>
                  <a:pt x="460063" y="492923"/>
                </a:lnTo>
                <a:cubicBezTo>
                  <a:pt x="460063" y="499397"/>
                  <a:pt x="454817" y="504644"/>
                  <a:pt x="448343" y="504644"/>
                </a:cubicBezTo>
                <a:lnTo>
                  <a:pt x="274626" y="504644"/>
                </a:lnTo>
                <a:cubicBezTo>
                  <a:pt x="268152" y="504644"/>
                  <a:pt x="262905" y="499397"/>
                  <a:pt x="262905" y="492923"/>
                </a:cubicBezTo>
                <a:lnTo>
                  <a:pt x="262905" y="456274"/>
                </a:lnTo>
                <a:cubicBezTo>
                  <a:pt x="262905" y="444256"/>
                  <a:pt x="264654" y="433317"/>
                  <a:pt x="267780" y="423420"/>
                </a:cubicBezTo>
                <a:lnTo>
                  <a:pt x="180231" y="423420"/>
                </a:lnTo>
                <a:cubicBezTo>
                  <a:pt x="173757" y="423420"/>
                  <a:pt x="168511" y="418174"/>
                  <a:pt x="168511" y="411700"/>
                </a:cubicBezTo>
                <a:lnTo>
                  <a:pt x="168511" y="378883"/>
                </a:lnTo>
                <a:cubicBezTo>
                  <a:pt x="168511" y="357563"/>
                  <a:pt x="174501" y="339928"/>
                  <a:pt x="184324" y="326086"/>
                </a:cubicBezTo>
                <a:cubicBezTo>
                  <a:pt x="191952" y="315333"/>
                  <a:pt x="201811" y="306999"/>
                  <a:pt x="212936" y="301046"/>
                </a:cubicBezTo>
                <a:cubicBezTo>
                  <a:pt x="208807" y="293790"/>
                  <a:pt x="206388" y="284972"/>
                  <a:pt x="206388" y="274555"/>
                </a:cubicBezTo>
                <a:lnTo>
                  <a:pt x="206388" y="262984"/>
                </a:lnTo>
                <a:cubicBezTo>
                  <a:pt x="206388" y="238428"/>
                  <a:pt x="219969" y="222614"/>
                  <a:pt x="237344" y="215656"/>
                </a:cubicBezTo>
                <a:cubicBezTo>
                  <a:pt x="243930" y="213014"/>
                  <a:pt x="250999" y="211675"/>
                  <a:pt x="258032" y="211675"/>
                </a:cubicBezTo>
                <a:cubicBezTo>
                  <a:pt x="265027" y="211675"/>
                  <a:pt x="272096" y="213014"/>
                  <a:pt x="278682" y="215656"/>
                </a:cubicBezTo>
                <a:cubicBezTo>
                  <a:pt x="296057" y="222651"/>
                  <a:pt x="309638" y="238464"/>
                  <a:pt x="309638" y="262984"/>
                </a:cubicBezTo>
                <a:lnTo>
                  <a:pt x="309638" y="274555"/>
                </a:lnTo>
                <a:cubicBezTo>
                  <a:pt x="309601" y="284973"/>
                  <a:pt x="307145" y="293791"/>
                  <a:pt x="303015" y="301046"/>
                </a:cubicBezTo>
                <a:close/>
                <a:moveTo>
                  <a:pt x="305169" y="331108"/>
                </a:moveTo>
                <a:cubicBezTo>
                  <a:pt x="302267" y="328355"/>
                  <a:pt x="299105" y="325937"/>
                  <a:pt x="295756" y="323853"/>
                </a:cubicBezTo>
                <a:cubicBezTo>
                  <a:pt x="292482" y="321807"/>
                  <a:pt x="289022" y="320058"/>
                  <a:pt x="285413" y="318607"/>
                </a:cubicBezTo>
                <a:cubicBezTo>
                  <a:pt x="283218" y="319872"/>
                  <a:pt x="280985" y="320951"/>
                  <a:pt x="278641" y="321918"/>
                </a:cubicBezTo>
                <a:cubicBezTo>
                  <a:pt x="272056" y="324560"/>
                  <a:pt x="264986" y="325899"/>
                  <a:pt x="257991" y="325899"/>
                </a:cubicBezTo>
                <a:cubicBezTo>
                  <a:pt x="250996" y="325899"/>
                  <a:pt x="243926" y="324560"/>
                  <a:pt x="237304" y="321918"/>
                </a:cubicBezTo>
                <a:cubicBezTo>
                  <a:pt x="234960" y="320988"/>
                  <a:pt x="232727" y="319872"/>
                  <a:pt x="230532" y="318607"/>
                </a:cubicBezTo>
                <a:cubicBezTo>
                  <a:pt x="219779" y="322923"/>
                  <a:pt x="210217" y="329955"/>
                  <a:pt x="203370" y="339628"/>
                </a:cubicBezTo>
                <a:cubicBezTo>
                  <a:pt x="196264" y="349637"/>
                  <a:pt x="191948" y="362660"/>
                  <a:pt x="191948" y="378845"/>
                </a:cubicBezTo>
                <a:lnTo>
                  <a:pt x="191948" y="399941"/>
                </a:lnTo>
                <a:lnTo>
                  <a:pt x="279049" y="399941"/>
                </a:lnTo>
                <a:cubicBezTo>
                  <a:pt x="279459" y="399308"/>
                  <a:pt x="279905" y="398676"/>
                  <a:pt x="280352" y="398080"/>
                </a:cubicBezTo>
                <a:cubicBezTo>
                  <a:pt x="289021" y="385839"/>
                  <a:pt x="300369" y="376463"/>
                  <a:pt x="313131" y="369878"/>
                </a:cubicBezTo>
                <a:cubicBezTo>
                  <a:pt x="308183" y="361729"/>
                  <a:pt x="305243" y="351683"/>
                  <a:pt x="305243" y="339777"/>
                </a:cubicBezTo>
                <a:close/>
                <a:moveTo>
                  <a:pt x="296128" y="416648"/>
                </a:moveTo>
                <a:cubicBezTo>
                  <a:pt x="297133" y="414899"/>
                  <a:pt x="298212" y="413225"/>
                  <a:pt x="299365" y="411625"/>
                </a:cubicBezTo>
                <a:cubicBezTo>
                  <a:pt x="307327" y="400388"/>
                  <a:pt x="318452" y="392315"/>
                  <a:pt x="330954" y="387440"/>
                </a:cubicBezTo>
                <a:cubicBezTo>
                  <a:pt x="333484" y="388965"/>
                  <a:pt x="336163" y="390268"/>
                  <a:pt x="338916" y="391384"/>
                </a:cubicBezTo>
                <a:cubicBezTo>
                  <a:pt x="346134" y="394286"/>
                  <a:pt x="353836" y="395737"/>
                  <a:pt x="361501" y="395737"/>
                </a:cubicBezTo>
                <a:cubicBezTo>
                  <a:pt x="369166" y="395737"/>
                  <a:pt x="376905" y="394286"/>
                  <a:pt x="384086" y="391384"/>
                </a:cubicBezTo>
                <a:cubicBezTo>
                  <a:pt x="386839" y="390267"/>
                  <a:pt x="389481" y="388965"/>
                  <a:pt x="392048" y="387440"/>
                </a:cubicBezTo>
                <a:cubicBezTo>
                  <a:pt x="404550" y="392314"/>
                  <a:pt x="415675" y="400425"/>
                  <a:pt x="423637" y="411625"/>
                </a:cubicBezTo>
                <a:cubicBezTo>
                  <a:pt x="424790" y="413225"/>
                  <a:pt x="425869" y="414899"/>
                  <a:pt x="426874" y="416648"/>
                </a:cubicBezTo>
                <a:cubicBezTo>
                  <a:pt x="427097" y="417169"/>
                  <a:pt x="427395" y="417615"/>
                  <a:pt x="427692" y="418061"/>
                </a:cubicBezTo>
                <a:cubicBezTo>
                  <a:pt x="433348" y="428442"/>
                  <a:pt x="436659" y="441130"/>
                  <a:pt x="436659" y="456199"/>
                </a:cubicBezTo>
                <a:lnTo>
                  <a:pt x="436659" y="481127"/>
                </a:lnTo>
                <a:lnTo>
                  <a:pt x="286345" y="481165"/>
                </a:lnTo>
                <a:lnTo>
                  <a:pt x="286345" y="456236"/>
                </a:lnTo>
                <a:cubicBezTo>
                  <a:pt x="286345" y="441167"/>
                  <a:pt x="289657" y="428442"/>
                  <a:pt x="295312" y="418099"/>
                </a:cubicBezTo>
                <a:cubicBezTo>
                  <a:pt x="295610" y="417652"/>
                  <a:pt x="295870" y="417169"/>
                  <a:pt x="296131" y="416648"/>
                </a:cubicBezTo>
                <a:close/>
                <a:moveTo>
                  <a:pt x="286119" y="274554"/>
                </a:moveTo>
                <a:lnTo>
                  <a:pt x="286119" y="262983"/>
                </a:lnTo>
                <a:cubicBezTo>
                  <a:pt x="286119" y="249551"/>
                  <a:pt x="279013" y="240993"/>
                  <a:pt x="269934" y="237347"/>
                </a:cubicBezTo>
                <a:cubicBezTo>
                  <a:pt x="266251" y="235859"/>
                  <a:pt x="262121" y="235115"/>
                  <a:pt x="257954" y="235115"/>
                </a:cubicBezTo>
                <a:cubicBezTo>
                  <a:pt x="253787" y="235115"/>
                  <a:pt x="249694" y="235859"/>
                  <a:pt x="245973" y="237347"/>
                </a:cubicBezTo>
                <a:cubicBezTo>
                  <a:pt x="236895" y="240993"/>
                  <a:pt x="229788" y="249513"/>
                  <a:pt x="229788" y="262983"/>
                </a:cubicBezTo>
                <a:lnTo>
                  <a:pt x="229788" y="274554"/>
                </a:lnTo>
                <a:cubicBezTo>
                  <a:pt x="229788" y="287986"/>
                  <a:pt x="236895" y="296543"/>
                  <a:pt x="246010" y="300189"/>
                </a:cubicBezTo>
                <a:cubicBezTo>
                  <a:pt x="249694" y="301678"/>
                  <a:pt x="253824" y="302422"/>
                  <a:pt x="257991" y="302422"/>
                </a:cubicBezTo>
                <a:cubicBezTo>
                  <a:pt x="262158" y="302422"/>
                  <a:pt x="266251" y="301678"/>
                  <a:pt x="269972" y="300189"/>
                </a:cubicBezTo>
                <a:cubicBezTo>
                  <a:pt x="279013" y="296543"/>
                  <a:pt x="286119" y="287986"/>
                  <a:pt x="286119" y="274554"/>
                </a:cubicBezTo>
                <a:close/>
                <a:moveTo>
                  <a:pt x="486478" y="274554"/>
                </a:moveTo>
                <a:lnTo>
                  <a:pt x="486478" y="262983"/>
                </a:lnTo>
                <a:cubicBezTo>
                  <a:pt x="486478" y="249551"/>
                  <a:pt x="479371" y="240993"/>
                  <a:pt x="470293" y="237347"/>
                </a:cubicBezTo>
                <a:cubicBezTo>
                  <a:pt x="466572" y="235859"/>
                  <a:pt x="462479" y="235115"/>
                  <a:pt x="458312" y="235115"/>
                </a:cubicBezTo>
                <a:cubicBezTo>
                  <a:pt x="454145" y="235115"/>
                  <a:pt x="450052" y="235859"/>
                  <a:pt x="446332" y="237347"/>
                </a:cubicBezTo>
                <a:cubicBezTo>
                  <a:pt x="437253" y="240993"/>
                  <a:pt x="430147" y="249513"/>
                  <a:pt x="430147" y="262983"/>
                </a:cubicBezTo>
                <a:lnTo>
                  <a:pt x="430147" y="274554"/>
                </a:lnTo>
                <a:cubicBezTo>
                  <a:pt x="430147" y="287986"/>
                  <a:pt x="437253" y="296543"/>
                  <a:pt x="446332" y="300189"/>
                </a:cubicBezTo>
                <a:cubicBezTo>
                  <a:pt x="450015" y="301678"/>
                  <a:pt x="454145" y="302422"/>
                  <a:pt x="458312" y="302422"/>
                </a:cubicBezTo>
                <a:cubicBezTo>
                  <a:pt x="462479" y="302422"/>
                  <a:pt x="466572" y="301678"/>
                  <a:pt x="470293" y="300189"/>
                </a:cubicBezTo>
                <a:cubicBezTo>
                  <a:pt x="479334" y="296543"/>
                  <a:pt x="486478" y="287986"/>
                  <a:pt x="486478" y="274554"/>
                </a:cubicBezTo>
                <a:close/>
                <a:moveTo>
                  <a:pt x="394316" y="339741"/>
                </a:moveTo>
                <a:lnTo>
                  <a:pt x="394316" y="326830"/>
                </a:lnTo>
                <a:cubicBezTo>
                  <a:pt x="394316" y="311166"/>
                  <a:pt x="386019" y="301194"/>
                  <a:pt x="375340" y="296953"/>
                </a:cubicBezTo>
                <a:cubicBezTo>
                  <a:pt x="371024" y="295204"/>
                  <a:pt x="366299" y="294348"/>
                  <a:pt x="361462" y="294348"/>
                </a:cubicBezTo>
                <a:cubicBezTo>
                  <a:pt x="356662" y="294348"/>
                  <a:pt x="351900" y="295204"/>
                  <a:pt x="347584" y="296953"/>
                </a:cubicBezTo>
                <a:cubicBezTo>
                  <a:pt x="336943" y="301231"/>
                  <a:pt x="328608" y="311166"/>
                  <a:pt x="328608" y="326830"/>
                </a:cubicBezTo>
                <a:lnTo>
                  <a:pt x="328608" y="339778"/>
                </a:lnTo>
                <a:cubicBezTo>
                  <a:pt x="328608" y="355442"/>
                  <a:pt x="336943" y="365414"/>
                  <a:pt x="347584" y="369655"/>
                </a:cubicBezTo>
                <a:cubicBezTo>
                  <a:pt x="351900" y="371404"/>
                  <a:pt x="356625" y="372260"/>
                  <a:pt x="361462" y="372260"/>
                </a:cubicBezTo>
                <a:cubicBezTo>
                  <a:pt x="366299" y="372260"/>
                  <a:pt x="371024" y="371404"/>
                  <a:pt x="375340" y="369655"/>
                </a:cubicBezTo>
                <a:cubicBezTo>
                  <a:pt x="385981" y="365376"/>
                  <a:pt x="394316" y="355405"/>
                  <a:pt x="394316" y="339741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43CC8E0F-B566-57A9-B248-82087A3ABED4}"/>
              </a:ext>
            </a:extLst>
          </p:cNvPr>
          <p:cNvSpPr/>
          <p:nvPr/>
        </p:nvSpPr>
        <p:spPr>
          <a:xfrm>
            <a:off x="566271" y="3102435"/>
            <a:ext cx="244466" cy="226918"/>
          </a:xfrm>
          <a:custGeom>
            <a:avLst/>
            <a:gdLst>
              <a:gd name="connsiteX0" fmla="*/ 855430 w 905617"/>
              <a:gd name="connsiteY0" fmla="*/ 365966 h 840617"/>
              <a:gd name="connsiteX1" fmla="*/ 805908 w 905617"/>
              <a:gd name="connsiteY1" fmla="*/ 409201 h 840617"/>
              <a:gd name="connsiteX2" fmla="*/ 640258 w 905617"/>
              <a:gd name="connsiteY2" fmla="*/ 409201 h 840617"/>
              <a:gd name="connsiteX3" fmla="*/ 605693 w 905617"/>
              <a:gd name="connsiteY3" fmla="*/ 301482 h 840617"/>
              <a:gd name="connsiteX4" fmla="*/ 642825 w 905617"/>
              <a:gd name="connsiteY4" fmla="*/ 301482 h 840617"/>
              <a:gd name="connsiteX5" fmla="*/ 651122 w 905617"/>
              <a:gd name="connsiteY5" fmla="*/ 297687 h 840617"/>
              <a:gd name="connsiteX6" fmla="*/ 711323 w 905617"/>
              <a:gd name="connsiteY6" fmla="*/ 229003 h 840617"/>
              <a:gd name="connsiteX7" fmla="*/ 741237 w 905617"/>
              <a:gd name="connsiteY7" fmla="*/ 229003 h 840617"/>
              <a:gd name="connsiteX8" fmla="*/ 790202 w 905617"/>
              <a:gd name="connsiteY8" fmla="*/ 268146 h 840617"/>
              <a:gd name="connsiteX9" fmla="*/ 840394 w 905617"/>
              <a:gd name="connsiteY9" fmla="*/ 217954 h 840617"/>
              <a:gd name="connsiteX10" fmla="*/ 790202 w 905617"/>
              <a:gd name="connsiteY10" fmla="*/ 167762 h 840617"/>
              <a:gd name="connsiteX11" fmla="*/ 741237 w 905617"/>
              <a:gd name="connsiteY11" fmla="*/ 206904 h 840617"/>
              <a:gd name="connsiteX12" fmla="*/ 706263 w 905617"/>
              <a:gd name="connsiteY12" fmla="*/ 206904 h 840617"/>
              <a:gd name="connsiteX13" fmla="*/ 697965 w 905617"/>
              <a:gd name="connsiteY13" fmla="*/ 210699 h 840617"/>
              <a:gd name="connsiteX14" fmla="*/ 637765 w 905617"/>
              <a:gd name="connsiteY14" fmla="*/ 279383 h 840617"/>
              <a:gd name="connsiteX15" fmla="*/ 589470 w 905617"/>
              <a:gd name="connsiteY15" fmla="*/ 279383 h 840617"/>
              <a:gd name="connsiteX16" fmla="*/ 431155 w 905617"/>
              <a:gd name="connsiteY16" fmla="*/ 200132 h 840617"/>
              <a:gd name="connsiteX17" fmla="*/ 431155 w 905617"/>
              <a:gd name="connsiteY17" fmla="*/ 166310 h 840617"/>
              <a:gd name="connsiteX18" fmla="*/ 483245 w 905617"/>
              <a:gd name="connsiteY18" fmla="*/ 166310 h 840617"/>
              <a:gd name="connsiteX19" fmla="*/ 491542 w 905617"/>
              <a:gd name="connsiteY19" fmla="*/ 162515 h 840617"/>
              <a:gd name="connsiteX20" fmla="*/ 551743 w 905617"/>
              <a:gd name="connsiteY20" fmla="*/ 93831 h 840617"/>
              <a:gd name="connsiteX21" fmla="*/ 605210 w 905617"/>
              <a:gd name="connsiteY21" fmla="*/ 93831 h 840617"/>
              <a:gd name="connsiteX22" fmla="*/ 654174 w 905617"/>
              <a:gd name="connsiteY22" fmla="*/ 132973 h 840617"/>
              <a:gd name="connsiteX23" fmla="*/ 704366 w 905617"/>
              <a:gd name="connsiteY23" fmla="*/ 82781 h 840617"/>
              <a:gd name="connsiteX24" fmla="*/ 654174 w 905617"/>
              <a:gd name="connsiteY24" fmla="*/ 32589 h 840617"/>
              <a:gd name="connsiteX25" fmla="*/ 605210 w 905617"/>
              <a:gd name="connsiteY25" fmla="*/ 71731 h 840617"/>
              <a:gd name="connsiteX26" fmla="*/ 546832 w 905617"/>
              <a:gd name="connsiteY26" fmla="*/ 71731 h 840617"/>
              <a:gd name="connsiteX27" fmla="*/ 538535 w 905617"/>
              <a:gd name="connsiteY27" fmla="*/ 75527 h 840617"/>
              <a:gd name="connsiteX28" fmla="*/ 478334 w 905617"/>
              <a:gd name="connsiteY28" fmla="*/ 144210 h 840617"/>
              <a:gd name="connsiteX29" fmla="*/ 431267 w 905617"/>
              <a:gd name="connsiteY29" fmla="*/ 144210 h 840617"/>
              <a:gd name="connsiteX30" fmla="*/ 431267 w 905617"/>
              <a:gd name="connsiteY30" fmla="*/ 11051 h 840617"/>
              <a:gd name="connsiteX31" fmla="*/ 420217 w 905617"/>
              <a:gd name="connsiteY31" fmla="*/ 0 h 840617"/>
              <a:gd name="connsiteX32" fmla="*/ 377651 w 905617"/>
              <a:gd name="connsiteY32" fmla="*/ 0 h 840617"/>
              <a:gd name="connsiteX33" fmla="*/ 344017 w 905617"/>
              <a:gd name="connsiteY33" fmla="*/ 28091 h 840617"/>
              <a:gd name="connsiteX34" fmla="*/ 335161 w 905617"/>
              <a:gd name="connsiteY34" fmla="*/ 76758 h 840617"/>
              <a:gd name="connsiteX35" fmla="*/ 326492 w 905617"/>
              <a:gd name="connsiteY35" fmla="*/ 86283 h 840617"/>
              <a:gd name="connsiteX36" fmla="*/ 250292 w 905617"/>
              <a:gd name="connsiteY36" fmla="*/ 117909 h 840617"/>
              <a:gd name="connsiteX37" fmla="*/ 237418 w 905617"/>
              <a:gd name="connsiteY37" fmla="*/ 117351 h 840617"/>
              <a:gd name="connsiteX38" fmla="*/ 196751 w 905617"/>
              <a:gd name="connsiteY38" fmla="*/ 89148 h 840617"/>
              <a:gd name="connsiteX39" fmla="*/ 153145 w 905617"/>
              <a:gd name="connsiteY39" fmla="*/ 93055 h 840617"/>
              <a:gd name="connsiteX40" fmla="*/ 92944 w 905617"/>
              <a:gd name="connsiteY40" fmla="*/ 153256 h 840617"/>
              <a:gd name="connsiteX41" fmla="*/ 89037 w 905617"/>
              <a:gd name="connsiteY41" fmla="*/ 196862 h 840617"/>
              <a:gd name="connsiteX42" fmla="*/ 117239 w 905617"/>
              <a:gd name="connsiteY42" fmla="*/ 237529 h 840617"/>
              <a:gd name="connsiteX43" fmla="*/ 117798 w 905617"/>
              <a:gd name="connsiteY43" fmla="*/ 250403 h 840617"/>
              <a:gd name="connsiteX44" fmla="*/ 86172 w 905617"/>
              <a:gd name="connsiteY44" fmla="*/ 326603 h 840617"/>
              <a:gd name="connsiteX45" fmla="*/ 76647 w 905617"/>
              <a:gd name="connsiteY45" fmla="*/ 335273 h 840617"/>
              <a:gd name="connsiteX46" fmla="*/ 28091 w 905617"/>
              <a:gd name="connsiteY46" fmla="*/ 344054 h 840617"/>
              <a:gd name="connsiteX47" fmla="*/ 0 w 905617"/>
              <a:gd name="connsiteY47" fmla="*/ 377688 h 840617"/>
              <a:gd name="connsiteX48" fmla="*/ 0 w 905617"/>
              <a:gd name="connsiteY48" fmla="*/ 462855 h 840617"/>
              <a:gd name="connsiteX49" fmla="*/ 28091 w 905617"/>
              <a:gd name="connsiteY49" fmla="*/ 496490 h 840617"/>
              <a:gd name="connsiteX50" fmla="*/ 76758 w 905617"/>
              <a:gd name="connsiteY50" fmla="*/ 505345 h 840617"/>
              <a:gd name="connsiteX51" fmla="*/ 86283 w 905617"/>
              <a:gd name="connsiteY51" fmla="*/ 514014 h 840617"/>
              <a:gd name="connsiteX52" fmla="*/ 117909 w 905617"/>
              <a:gd name="connsiteY52" fmla="*/ 590214 h 840617"/>
              <a:gd name="connsiteX53" fmla="*/ 117351 w 905617"/>
              <a:gd name="connsiteY53" fmla="*/ 603088 h 840617"/>
              <a:gd name="connsiteX54" fmla="*/ 89148 w 905617"/>
              <a:gd name="connsiteY54" fmla="*/ 643755 h 840617"/>
              <a:gd name="connsiteX55" fmla="*/ 93055 w 905617"/>
              <a:gd name="connsiteY55" fmla="*/ 687362 h 840617"/>
              <a:gd name="connsiteX56" fmla="*/ 153256 w 905617"/>
              <a:gd name="connsiteY56" fmla="*/ 747563 h 840617"/>
              <a:gd name="connsiteX57" fmla="*/ 196862 w 905617"/>
              <a:gd name="connsiteY57" fmla="*/ 751469 h 840617"/>
              <a:gd name="connsiteX58" fmla="*/ 237529 w 905617"/>
              <a:gd name="connsiteY58" fmla="*/ 723267 h 840617"/>
              <a:gd name="connsiteX59" fmla="*/ 250403 w 905617"/>
              <a:gd name="connsiteY59" fmla="*/ 722709 h 840617"/>
              <a:gd name="connsiteX60" fmla="*/ 326603 w 905617"/>
              <a:gd name="connsiteY60" fmla="*/ 754335 h 840617"/>
              <a:gd name="connsiteX61" fmla="*/ 335273 w 905617"/>
              <a:gd name="connsiteY61" fmla="*/ 763860 h 840617"/>
              <a:gd name="connsiteX62" fmla="*/ 344128 w 905617"/>
              <a:gd name="connsiteY62" fmla="*/ 812527 h 840617"/>
              <a:gd name="connsiteX63" fmla="*/ 377763 w 905617"/>
              <a:gd name="connsiteY63" fmla="*/ 840618 h 840617"/>
              <a:gd name="connsiteX64" fmla="*/ 420328 w 905617"/>
              <a:gd name="connsiteY64" fmla="*/ 840618 h 840617"/>
              <a:gd name="connsiteX65" fmla="*/ 431379 w 905617"/>
              <a:gd name="connsiteY65" fmla="*/ 829567 h 840617"/>
              <a:gd name="connsiteX66" fmla="*/ 431379 w 905617"/>
              <a:gd name="connsiteY66" fmla="*/ 696179 h 840617"/>
              <a:gd name="connsiteX67" fmla="*/ 478446 w 905617"/>
              <a:gd name="connsiteY67" fmla="*/ 696179 h 840617"/>
              <a:gd name="connsiteX68" fmla="*/ 538535 w 905617"/>
              <a:gd name="connsiteY68" fmla="*/ 764975 h 840617"/>
              <a:gd name="connsiteX69" fmla="*/ 546832 w 905617"/>
              <a:gd name="connsiteY69" fmla="*/ 768770 h 840617"/>
              <a:gd name="connsiteX70" fmla="*/ 605210 w 905617"/>
              <a:gd name="connsiteY70" fmla="*/ 768770 h 840617"/>
              <a:gd name="connsiteX71" fmla="*/ 654174 w 905617"/>
              <a:gd name="connsiteY71" fmla="*/ 807912 h 840617"/>
              <a:gd name="connsiteX72" fmla="*/ 704366 w 905617"/>
              <a:gd name="connsiteY72" fmla="*/ 757720 h 840617"/>
              <a:gd name="connsiteX73" fmla="*/ 654174 w 905617"/>
              <a:gd name="connsiteY73" fmla="*/ 707528 h 840617"/>
              <a:gd name="connsiteX74" fmla="*/ 605210 w 905617"/>
              <a:gd name="connsiteY74" fmla="*/ 746670 h 840617"/>
              <a:gd name="connsiteX75" fmla="*/ 551855 w 905617"/>
              <a:gd name="connsiteY75" fmla="*/ 746670 h 840617"/>
              <a:gd name="connsiteX76" fmla="*/ 491654 w 905617"/>
              <a:gd name="connsiteY76" fmla="*/ 677986 h 840617"/>
              <a:gd name="connsiteX77" fmla="*/ 483357 w 905617"/>
              <a:gd name="connsiteY77" fmla="*/ 674191 h 840617"/>
              <a:gd name="connsiteX78" fmla="*/ 431266 w 905617"/>
              <a:gd name="connsiteY78" fmla="*/ 674191 h 840617"/>
              <a:gd name="connsiteX79" fmla="*/ 431266 w 905617"/>
              <a:gd name="connsiteY79" fmla="*/ 640370 h 840617"/>
              <a:gd name="connsiteX80" fmla="*/ 589581 w 905617"/>
              <a:gd name="connsiteY80" fmla="*/ 561119 h 840617"/>
              <a:gd name="connsiteX81" fmla="*/ 637876 w 905617"/>
              <a:gd name="connsiteY81" fmla="*/ 561119 h 840617"/>
              <a:gd name="connsiteX82" fmla="*/ 698077 w 905617"/>
              <a:gd name="connsiteY82" fmla="*/ 629803 h 840617"/>
              <a:gd name="connsiteX83" fmla="*/ 706374 w 905617"/>
              <a:gd name="connsiteY83" fmla="*/ 633598 h 840617"/>
              <a:gd name="connsiteX84" fmla="*/ 741349 w 905617"/>
              <a:gd name="connsiteY84" fmla="*/ 633598 h 840617"/>
              <a:gd name="connsiteX85" fmla="*/ 790313 w 905617"/>
              <a:gd name="connsiteY85" fmla="*/ 672740 h 840617"/>
              <a:gd name="connsiteX86" fmla="*/ 840505 w 905617"/>
              <a:gd name="connsiteY86" fmla="*/ 622548 h 840617"/>
              <a:gd name="connsiteX87" fmla="*/ 790313 w 905617"/>
              <a:gd name="connsiteY87" fmla="*/ 572356 h 840617"/>
              <a:gd name="connsiteX88" fmla="*/ 741349 w 905617"/>
              <a:gd name="connsiteY88" fmla="*/ 611498 h 840617"/>
              <a:gd name="connsiteX89" fmla="*/ 711435 w 905617"/>
              <a:gd name="connsiteY89" fmla="*/ 611498 h 840617"/>
              <a:gd name="connsiteX90" fmla="*/ 651234 w 905617"/>
              <a:gd name="connsiteY90" fmla="*/ 542814 h 840617"/>
              <a:gd name="connsiteX91" fmla="*/ 642937 w 905617"/>
              <a:gd name="connsiteY91" fmla="*/ 539019 h 840617"/>
              <a:gd name="connsiteX92" fmla="*/ 605804 w 905617"/>
              <a:gd name="connsiteY92" fmla="*/ 539019 h 840617"/>
              <a:gd name="connsiteX93" fmla="*/ 640370 w 905617"/>
              <a:gd name="connsiteY93" fmla="*/ 431301 h 840617"/>
              <a:gd name="connsiteX94" fmla="*/ 807800 w 905617"/>
              <a:gd name="connsiteY94" fmla="*/ 431301 h 840617"/>
              <a:gd name="connsiteX95" fmla="*/ 855425 w 905617"/>
              <a:gd name="connsiteY95" fmla="*/ 466350 h 840617"/>
              <a:gd name="connsiteX96" fmla="*/ 905617 w 905617"/>
              <a:gd name="connsiteY96" fmla="*/ 416158 h 840617"/>
              <a:gd name="connsiteX97" fmla="*/ 855425 w 905617"/>
              <a:gd name="connsiteY97" fmla="*/ 365966 h 840617"/>
              <a:gd name="connsiteX98" fmla="*/ 790206 w 905617"/>
              <a:gd name="connsiteY98" fmla="*/ 189829 h 840617"/>
              <a:gd name="connsiteX99" fmla="*/ 818297 w 905617"/>
              <a:gd name="connsiteY99" fmla="*/ 217921 h 840617"/>
              <a:gd name="connsiteX100" fmla="*/ 790206 w 905617"/>
              <a:gd name="connsiteY100" fmla="*/ 246012 h 840617"/>
              <a:gd name="connsiteX101" fmla="*/ 762114 w 905617"/>
              <a:gd name="connsiteY101" fmla="*/ 217921 h 840617"/>
              <a:gd name="connsiteX102" fmla="*/ 790206 w 905617"/>
              <a:gd name="connsiteY102" fmla="*/ 189829 h 840617"/>
              <a:gd name="connsiteX103" fmla="*/ 654179 w 905617"/>
              <a:gd name="connsiteY103" fmla="*/ 54689 h 840617"/>
              <a:gd name="connsiteX104" fmla="*/ 682270 w 905617"/>
              <a:gd name="connsiteY104" fmla="*/ 82780 h 840617"/>
              <a:gd name="connsiteX105" fmla="*/ 654179 w 905617"/>
              <a:gd name="connsiteY105" fmla="*/ 110871 h 840617"/>
              <a:gd name="connsiteX106" fmla="*/ 626088 w 905617"/>
              <a:gd name="connsiteY106" fmla="*/ 82780 h 840617"/>
              <a:gd name="connsiteX107" fmla="*/ 654179 w 905617"/>
              <a:gd name="connsiteY107" fmla="*/ 54689 h 840617"/>
              <a:gd name="connsiteX108" fmla="*/ 654179 w 905617"/>
              <a:gd name="connsiteY108" fmla="*/ 729516 h 840617"/>
              <a:gd name="connsiteX109" fmla="*/ 682270 w 905617"/>
              <a:gd name="connsiteY109" fmla="*/ 757607 h 840617"/>
              <a:gd name="connsiteX110" fmla="*/ 654179 w 905617"/>
              <a:gd name="connsiteY110" fmla="*/ 785698 h 840617"/>
              <a:gd name="connsiteX111" fmla="*/ 626088 w 905617"/>
              <a:gd name="connsiteY111" fmla="*/ 757607 h 840617"/>
              <a:gd name="connsiteX112" fmla="*/ 654179 w 905617"/>
              <a:gd name="connsiteY112" fmla="*/ 729516 h 840617"/>
              <a:gd name="connsiteX113" fmla="*/ 790206 w 905617"/>
              <a:gd name="connsiteY113" fmla="*/ 594375 h 840617"/>
              <a:gd name="connsiteX114" fmla="*/ 818297 w 905617"/>
              <a:gd name="connsiteY114" fmla="*/ 622466 h 840617"/>
              <a:gd name="connsiteX115" fmla="*/ 790206 w 905617"/>
              <a:gd name="connsiteY115" fmla="*/ 650558 h 840617"/>
              <a:gd name="connsiteX116" fmla="*/ 762114 w 905617"/>
              <a:gd name="connsiteY116" fmla="*/ 622466 h 840617"/>
              <a:gd name="connsiteX117" fmla="*/ 790206 w 905617"/>
              <a:gd name="connsiteY117" fmla="*/ 594375 h 840617"/>
              <a:gd name="connsiteX118" fmla="*/ 541660 w 905617"/>
              <a:gd name="connsiteY118" fmla="*/ 409200 h 840617"/>
              <a:gd name="connsiteX119" fmla="*/ 530238 w 905617"/>
              <a:gd name="connsiteY119" fmla="*/ 326340 h 840617"/>
              <a:gd name="connsiteX120" fmla="*/ 581212 w 905617"/>
              <a:gd name="connsiteY120" fmla="*/ 305020 h 840617"/>
              <a:gd name="connsiteX121" fmla="*/ 617898 w 905617"/>
              <a:gd name="connsiteY121" fmla="*/ 409233 h 840617"/>
              <a:gd name="connsiteX122" fmla="*/ 519671 w 905617"/>
              <a:gd name="connsiteY122" fmla="*/ 409200 h 840617"/>
              <a:gd name="connsiteX123" fmla="*/ 431267 w 905617"/>
              <a:gd name="connsiteY123" fmla="*/ 409200 h 840617"/>
              <a:gd name="connsiteX124" fmla="*/ 431267 w 905617"/>
              <a:gd name="connsiteY124" fmla="*/ 341297 h 840617"/>
              <a:gd name="connsiteX125" fmla="*/ 508695 w 905617"/>
              <a:gd name="connsiteY125" fmla="*/ 331958 h 840617"/>
              <a:gd name="connsiteX126" fmla="*/ 519671 w 905617"/>
              <a:gd name="connsiteY126" fmla="*/ 409200 h 840617"/>
              <a:gd name="connsiteX127" fmla="*/ 338134 w 905617"/>
              <a:gd name="connsiteY127" fmla="*/ 529786 h 840617"/>
              <a:gd name="connsiteX128" fmla="*/ 409199 w 905617"/>
              <a:gd name="connsiteY128" fmla="*/ 521229 h 840617"/>
              <a:gd name="connsiteX129" fmla="*/ 409199 w 905617"/>
              <a:gd name="connsiteY129" fmla="*/ 614767 h 840617"/>
              <a:gd name="connsiteX130" fmla="*/ 338134 w 905617"/>
              <a:gd name="connsiteY130" fmla="*/ 529786 h 840617"/>
              <a:gd name="connsiteX131" fmla="*/ 409199 w 905617"/>
              <a:gd name="connsiteY131" fmla="*/ 499202 h 840617"/>
              <a:gd name="connsiteX132" fmla="*/ 331771 w 905617"/>
              <a:gd name="connsiteY132" fmla="*/ 508541 h 840617"/>
              <a:gd name="connsiteX133" fmla="*/ 320907 w 905617"/>
              <a:gd name="connsiteY133" fmla="*/ 431299 h 840617"/>
              <a:gd name="connsiteX134" fmla="*/ 409310 w 905617"/>
              <a:gd name="connsiteY134" fmla="*/ 431299 h 840617"/>
              <a:gd name="connsiteX135" fmla="*/ 409273 w 905617"/>
              <a:gd name="connsiteY135" fmla="*/ 499202 h 840617"/>
              <a:gd name="connsiteX136" fmla="*/ 320796 w 905617"/>
              <a:gd name="connsiteY136" fmla="*/ 409199 h 840617"/>
              <a:gd name="connsiteX137" fmla="*/ 331660 w 905617"/>
              <a:gd name="connsiteY137" fmla="*/ 331957 h 840617"/>
              <a:gd name="connsiteX138" fmla="*/ 409087 w 905617"/>
              <a:gd name="connsiteY138" fmla="*/ 341296 h 840617"/>
              <a:gd name="connsiteX139" fmla="*/ 409087 w 905617"/>
              <a:gd name="connsiteY139" fmla="*/ 409198 h 840617"/>
              <a:gd name="connsiteX140" fmla="*/ 409199 w 905617"/>
              <a:gd name="connsiteY140" fmla="*/ 225728 h 840617"/>
              <a:gd name="connsiteX141" fmla="*/ 409199 w 905617"/>
              <a:gd name="connsiteY141" fmla="*/ 319267 h 840617"/>
              <a:gd name="connsiteX142" fmla="*/ 338134 w 905617"/>
              <a:gd name="connsiteY142" fmla="*/ 310709 h 840617"/>
              <a:gd name="connsiteX143" fmla="*/ 409199 w 905617"/>
              <a:gd name="connsiteY143" fmla="*/ 225728 h 840617"/>
              <a:gd name="connsiteX144" fmla="*/ 431263 w 905617"/>
              <a:gd name="connsiteY144" fmla="*/ 319192 h 840617"/>
              <a:gd name="connsiteX145" fmla="*/ 431263 w 905617"/>
              <a:gd name="connsiteY145" fmla="*/ 225654 h 840617"/>
              <a:gd name="connsiteX146" fmla="*/ 502328 w 905617"/>
              <a:gd name="connsiteY146" fmla="*/ 310635 h 840617"/>
              <a:gd name="connsiteX147" fmla="*/ 431263 w 905617"/>
              <a:gd name="connsiteY147" fmla="*/ 319193 h 840617"/>
              <a:gd name="connsiteX148" fmla="*/ 332107 w 905617"/>
              <a:gd name="connsiteY148" fmla="*/ 268702 h 840617"/>
              <a:gd name="connsiteX149" fmla="*/ 316481 w 905617"/>
              <a:gd name="connsiteY149" fmla="*/ 305091 h 840617"/>
              <a:gd name="connsiteX150" fmla="*/ 273246 w 905617"/>
              <a:gd name="connsiteY150" fmla="*/ 287566 h 840617"/>
              <a:gd name="connsiteX151" fmla="*/ 358115 w 905617"/>
              <a:gd name="connsiteY151" fmla="*/ 232054 h 840617"/>
              <a:gd name="connsiteX152" fmla="*/ 332107 w 905617"/>
              <a:gd name="connsiteY152" fmla="*/ 268703 h 840617"/>
              <a:gd name="connsiteX153" fmla="*/ 259182 w 905617"/>
              <a:gd name="connsiteY153" fmla="*/ 304979 h 840617"/>
              <a:gd name="connsiteX154" fmla="*/ 310156 w 905617"/>
              <a:gd name="connsiteY154" fmla="*/ 326299 h 840617"/>
              <a:gd name="connsiteX155" fmla="*/ 298734 w 905617"/>
              <a:gd name="connsiteY155" fmla="*/ 409159 h 840617"/>
              <a:gd name="connsiteX156" fmla="*/ 222534 w 905617"/>
              <a:gd name="connsiteY156" fmla="*/ 409159 h 840617"/>
              <a:gd name="connsiteX157" fmla="*/ 259183 w 905617"/>
              <a:gd name="connsiteY157" fmla="*/ 304974 h 840617"/>
              <a:gd name="connsiteX158" fmla="*/ 298696 w 905617"/>
              <a:gd name="connsiteY158" fmla="*/ 431300 h 840617"/>
              <a:gd name="connsiteX159" fmla="*/ 310118 w 905617"/>
              <a:gd name="connsiteY159" fmla="*/ 514160 h 840617"/>
              <a:gd name="connsiteX160" fmla="*/ 259144 w 905617"/>
              <a:gd name="connsiteY160" fmla="*/ 535479 h 840617"/>
              <a:gd name="connsiteX161" fmla="*/ 222457 w 905617"/>
              <a:gd name="connsiteY161" fmla="*/ 431266 h 840617"/>
              <a:gd name="connsiteX162" fmla="*/ 316518 w 905617"/>
              <a:gd name="connsiteY162" fmla="*/ 535408 h 840617"/>
              <a:gd name="connsiteX163" fmla="*/ 332145 w 905617"/>
              <a:gd name="connsiteY163" fmla="*/ 571796 h 840617"/>
              <a:gd name="connsiteX164" fmla="*/ 358041 w 905617"/>
              <a:gd name="connsiteY164" fmla="*/ 608483 h 840617"/>
              <a:gd name="connsiteX165" fmla="*/ 273171 w 905617"/>
              <a:gd name="connsiteY165" fmla="*/ 552970 h 840617"/>
              <a:gd name="connsiteX166" fmla="*/ 316518 w 905617"/>
              <a:gd name="connsiteY166" fmla="*/ 535408 h 840617"/>
              <a:gd name="connsiteX167" fmla="*/ 431266 w 905617"/>
              <a:gd name="connsiteY167" fmla="*/ 614770 h 840617"/>
              <a:gd name="connsiteX168" fmla="*/ 431266 w 905617"/>
              <a:gd name="connsiteY168" fmla="*/ 521232 h 840617"/>
              <a:gd name="connsiteX169" fmla="*/ 502331 w 905617"/>
              <a:gd name="connsiteY169" fmla="*/ 529789 h 840617"/>
              <a:gd name="connsiteX170" fmla="*/ 431266 w 905617"/>
              <a:gd name="connsiteY170" fmla="*/ 614771 h 840617"/>
              <a:gd name="connsiteX171" fmla="*/ 431266 w 905617"/>
              <a:gd name="connsiteY171" fmla="*/ 499203 h 840617"/>
              <a:gd name="connsiteX172" fmla="*/ 431266 w 905617"/>
              <a:gd name="connsiteY172" fmla="*/ 431301 h 840617"/>
              <a:gd name="connsiteX173" fmla="*/ 519669 w 905617"/>
              <a:gd name="connsiteY173" fmla="*/ 431301 h 840617"/>
              <a:gd name="connsiteX174" fmla="*/ 508805 w 905617"/>
              <a:gd name="connsiteY174" fmla="*/ 508543 h 840617"/>
              <a:gd name="connsiteX175" fmla="*/ 431266 w 905617"/>
              <a:gd name="connsiteY175" fmla="*/ 499204 h 840617"/>
              <a:gd name="connsiteX176" fmla="*/ 541660 w 905617"/>
              <a:gd name="connsiteY176" fmla="*/ 431301 h 840617"/>
              <a:gd name="connsiteX177" fmla="*/ 617860 w 905617"/>
              <a:gd name="connsiteY177" fmla="*/ 431301 h 840617"/>
              <a:gd name="connsiteX178" fmla="*/ 581174 w 905617"/>
              <a:gd name="connsiteY178" fmla="*/ 535514 h 840617"/>
              <a:gd name="connsiteX179" fmla="*/ 530200 w 905617"/>
              <a:gd name="connsiteY179" fmla="*/ 514194 h 840617"/>
              <a:gd name="connsiteX180" fmla="*/ 541659 w 905617"/>
              <a:gd name="connsiteY180" fmla="*/ 431297 h 840617"/>
              <a:gd name="connsiteX181" fmla="*/ 567222 w 905617"/>
              <a:gd name="connsiteY181" fmla="*/ 287645 h 840617"/>
              <a:gd name="connsiteX182" fmla="*/ 523987 w 905617"/>
              <a:gd name="connsiteY182" fmla="*/ 305169 h 840617"/>
              <a:gd name="connsiteX183" fmla="*/ 508360 w 905617"/>
              <a:gd name="connsiteY183" fmla="*/ 268780 h 840617"/>
              <a:gd name="connsiteX184" fmla="*/ 482463 w 905617"/>
              <a:gd name="connsiteY184" fmla="*/ 232094 h 840617"/>
              <a:gd name="connsiteX185" fmla="*/ 567221 w 905617"/>
              <a:gd name="connsiteY185" fmla="*/ 287644 h 840617"/>
              <a:gd name="connsiteX186" fmla="*/ 377655 w 905617"/>
              <a:gd name="connsiteY186" fmla="*/ 818406 h 840617"/>
              <a:gd name="connsiteX187" fmla="*/ 365749 w 905617"/>
              <a:gd name="connsiteY187" fmla="*/ 808509 h 840617"/>
              <a:gd name="connsiteX188" fmla="*/ 356893 w 905617"/>
              <a:gd name="connsiteY188" fmla="*/ 759842 h 840617"/>
              <a:gd name="connsiteX189" fmla="*/ 332523 w 905617"/>
              <a:gd name="connsiteY189" fmla="*/ 732978 h 840617"/>
              <a:gd name="connsiteX190" fmla="*/ 261197 w 905617"/>
              <a:gd name="connsiteY190" fmla="*/ 703436 h 840617"/>
              <a:gd name="connsiteX191" fmla="*/ 244342 w 905617"/>
              <a:gd name="connsiteY191" fmla="*/ 698971 h 840617"/>
              <a:gd name="connsiteX192" fmla="*/ 224920 w 905617"/>
              <a:gd name="connsiteY192" fmla="*/ 705147 h 840617"/>
              <a:gd name="connsiteX193" fmla="*/ 184253 w 905617"/>
              <a:gd name="connsiteY193" fmla="*/ 733350 h 840617"/>
              <a:gd name="connsiteX194" fmla="*/ 168812 w 905617"/>
              <a:gd name="connsiteY194" fmla="*/ 731936 h 840617"/>
              <a:gd name="connsiteX195" fmla="*/ 108611 w 905617"/>
              <a:gd name="connsiteY195" fmla="*/ 671735 h 840617"/>
              <a:gd name="connsiteX196" fmla="*/ 107197 w 905617"/>
              <a:gd name="connsiteY196" fmla="*/ 656294 h 840617"/>
              <a:gd name="connsiteX197" fmla="*/ 135400 w 905617"/>
              <a:gd name="connsiteY197" fmla="*/ 615627 h 840617"/>
              <a:gd name="connsiteX198" fmla="*/ 137111 w 905617"/>
              <a:gd name="connsiteY198" fmla="*/ 579350 h 840617"/>
              <a:gd name="connsiteX199" fmla="*/ 107568 w 905617"/>
              <a:gd name="connsiteY199" fmla="*/ 508098 h 840617"/>
              <a:gd name="connsiteX200" fmla="*/ 80705 w 905617"/>
              <a:gd name="connsiteY200" fmla="*/ 483728 h 840617"/>
              <a:gd name="connsiteX201" fmla="*/ 32038 w 905617"/>
              <a:gd name="connsiteY201" fmla="*/ 474872 h 840617"/>
              <a:gd name="connsiteX202" fmla="*/ 22141 w 905617"/>
              <a:gd name="connsiteY202" fmla="*/ 462966 h 840617"/>
              <a:gd name="connsiteX203" fmla="*/ 22141 w 905617"/>
              <a:gd name="connsiteY203" fmla="*/ 377799 h 840617"/>
              <a:gd name="connsiteX204" fmla="*/ 32038 w 905617"/>
              <a:gd name="connsiteY204" fmla="*/ 365893 h 840617"/>
              <a:gd name="connsiteX205" fmla="*/ 80705 w 905617"/>
              <a:gd name="connsiteY205" fmla="*/ 357038 h 840617"/>
              <a:gd name="connsiteX206" fmla="*/ 107568 w 905617"/>
              <a:gd name="connsiteY206" fmla="*/ 332667 h 840617"/>
              <a:gd name="connsiteX207" fmla="*/ 137111 w 905617"/>
              <a:gd name="connsiteY207" fmla="*/ 261341 h 840617"/>
              <a:gd name="connsiteX208" fmla="*/ 135400 w 905617"/>
              <a:gd name="connsiteY208" fmla="*/ 225064 h 840617"/>
              <a:gd name="connsiteX209" fmla="*/ 107197 w 905617"/>
              <a:gd name="connsiteY209" fmla="*/ 184397 h 840617"/>
              <a:gd name="connsiteX210" fmla="*/ 108611 w 905617"/>
              <a:gd name="connsiteY210" fmla="*/ 168956 h 840617"/>
              <a:gd name="connsiteX211" fmla="*/ 168812 w 905617"/>
              <a:gd name="connsiteY211" fmla="*/ 108755 h 840617"/>
              <a:gd name="connsiteX212" fmla="*/ 184253 w 905617"/>
              <a:gd name="connsiteY212" fmla="*/ 107341 h 840617"/>
              <a:gd name="connsiteX213" fmla="*/ 224920 w 905617"/>
              <a:gd name="connsiteY213" fmla="*/ 135544 h 840617"/>
              <a:gd name="connsiteX214" fmla="*/ 261197 w 905617"/>
              <a:gd name="connsiteY214" fmla="*/ 137255 h 840617"/>
              <a:gd name="connsiteX215" fmla="*/ 332448 w 905617"/>
              <a:gd name="connsiteY215" fmla="*/ 107713 h 840617"/>
              <a:gd name="connsiteX216" fmla="*/ 356819 w 905617"/>
              <a:gd name="connsiteY216" fmla="*/ 80849 h 840617"/>
              <a:gd name="connsiteX217" fmla="*/ 365674 w 905617"/>
              <a:gd name="connsiteY217" fmla="*/ 32182 h 840617"/>
              <a:gd name="connsiteX218" fmla="*/ 377581 w 905617"/>
              <a:gd name="connsiteY218" fmla="*/ 22285 h 840617"/>
              <a:gd name="connsiteX219" fmla="*/ 409095 w 905617"/>
              <a:gd name="connsiteY219" fmla="*/ 22285 h 840617"/>
              <a:gd name="connsiteX220" fmla="*/ 409095 w 905617"/>
              <a:gd name="connsiteY220" fmla="*/ 200317 h 840617"/>
              <a:gd name="connsiteX221" fmla="*/ 199840 w 905617"/>
              <a:gd name="connsiteY221" fmla="*/ 420249 h 840617"/>
              <a:gd name="connsiteX222" fmla="*/ 409095 w 905617"/>
              <a:gd name="connsiteY222" fmla="*/ 640362 h 840617"/>
              <a:gd name="connsiteX223" fmla="*/ 409095 w 905617"/>
              <a:gd name="connsiteY223" fmla="*/ 818394 h 840617"/>
              <a:gd name="connsiteX224" fmla="*/ 482354 w 905617"/>
              <a:gd name="connsiteY224" fmla="*/ 608370 h 840617"/>
              <a:gd name="connsiteX225" fmla="*/ 508250 w 905617"/>
              <a:gd name="connsiteY225" fmla="*/ 571684 h 840617"/>
              <a:gd name="connsiteX226" fmla="*/ 523877 w 905617"/>
              <a:gd name="connsiteY226" fmla="*/ 535296 h 840617"/>
              <a:gd name="connsiteX227" fmla="*/ 567223 w 905617"/>
              <a:gd name="connsiteY227" fmla="*/ 552820 h 840617"/>
              <a:gd name="connsiteX228" fmla="*/ 482354 w 905617"/>
              <a:gd name="connsiteY228" fmla="*/ 608369 h 840617"/>
              <a:gd name="connsiteX229" fmla="*/ 855429 w 905617"/>
              <a:gd name="connsiteY229" fmla="*/ 444255 h 840617"/>
              <a:gd name="connsiteX230" fmla="*/ 827338 w 905617"/>
              <a:gd name="connsiteY230" fmla="*/ 416163 h 840617"/>
              <a:gd name="connsiteX231" fmla="*/ 855429 w 905617"/>
              <a:gd name="connsiteY231" fmla="*/ 388072 h 840617"/>
              <a:gd name="connsiteX232" fmla="*/ 883520 w 905617"/>
              <a:gd name="connsiteY232" fmla="*/ 416163 h 840617"/>
              <a:gd name="connsiteX233" fmla="*/ 855429 w 905617"/>
              <a:gd name="connsiteY233" fmla="*/ 444255 h 840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905617" h="840617">
                <a:moveTo>
                  <a:pt x="855430" y="365966"/>
                </a:moveTo>
                <a:cubicBezTo>
                  <a:pt x="830092" y="365966"/>
                  <a:pt x="809331" y="384830"/>
                  <a:pt x="805908" y="409201"/>
                </a:cubicBezTo>
                <a:lnTo>
                  <a:pt x="640258" y="409201"/>
                </a:lnTo>
                <a:cubicBezTo>
                  <a:pt x="638249" y="369687"/>
                  <a:pt x="625859" y="332889"/>
                  <a:pt x="605693" y="301482"/>
                </a:cubicBezTo>
                <a:lnTo>
                  <a:pt x="642825" y="301482"/>
                </a:lnTo>
                <a:cubicBezTo>
                  <a:pt x="645951" y="301482"/>
                  <a:pt x="649002" y="300143"/>
                  <a:pt x="651122" y="297687"/>
                </a:cubicBezTo>
                <a:lnTo>
                  <a:pt x="711323" y="229003"/>
                </a:lnTo>
                <a:lnTo>
                  <a:pt x="741237" y="229003"/>
                </a:lnTo>
                <a:cubicBezTo>
                  <a:pt x="746298" y="251402"/>
                  <a:pt x="766278" y="268146"/>
                  <a:pt x="790202" y="268146"/>
                </a:cubicBezTo>
                <a:cubicBezTo>
                  <a:pt x="817921" y="268146"/>
                  <a:pt x="840394" y="245561"/>
                  <a:pt x="840394" y="217954"/>
                </a:cubicBezTo>
                <a:cubicBezTo>
                  <a:pt x="840394" y="190234"/>
                  <a:pt x="817809" y="167762"/>
                  <a:pt x="790202" y="167762"/>
                </a:cubicBezTo>
                <a:cubicBezTo>
                  <a:pt x="766278" y="167762"/>
                  <a:pt x="746297" y="184542"/>
                  <a:pt x="741237" y="206904"/>
                </a:cubicBezTo>
                <a:lnTo>
                  <a:pt x="706263" y="206904"/>
                </a:lnTo>
                <a:cubicBezTo>
                  <a:pt x="703137" y="206904"/>
                  <a:pt x="700086" y="208243"/>
                  <a:pt x="697965" y="210699"/>
                </a:cubicBezTo>
                <a:lnTo>
                  <a:pt x="637765" y="279383"/>
                </a:lnTo>
                <a:lnTo>
                  <a:pt x="589470" y="279383"/>
                </a:lnTo>
                <a:cubicBezTo>
                  <a:pt x="551184" y="233469"/>
                  <a:pt x="494704" y="203294"/>
                  <a:pt x="431155" y="200132"/>
                </a:cubicBezTo>
                <a:lnTo>
                  <a:pt x="431155" y="166310"/>
                </a:lnTo>
                <a:lnTo>
                  <a:pt x="483245" y="166310"/>
                </a:lnTo>
                <a:cubicBezTo>
                  <a:pt x="486371" y="166310"/>
                  <a:pt x="489422" y="164971"/>
                  <a:pt x="491542" y="162515"/>
                </a:cubicBezTo>
                <a:lnTo>
                  <a:pt x="551743" y="93831"/>
                </a:lnTo>
                <a:lnTo>
                  <a:pt x="605210" y="93831"/>
                </a:lnTo>
                <a:cubicBezTo>
                  <a:pt x="610270" y="116230"/>
                  <a:pt x="630250" y="132973"/>
                  <a:pt x="654174" y="132973"/>
                </a:cubicBezTo>
                <a:cubicBezTo>
                  <a:pt x="681894" y="132973"/>
                  <a:pt x="704366" y="110389"/>
                  <a:pt x="704366" y="82781"/>
                </a:cubicBezTo>
                <a:cubicBezTo>
                  <a:pt x="704366" y="55174"/>
                  <a:pt x="681893" y="32589"/>
                  <a:pt x="654174" y="32589"/>
                </a:cubicBezTo>
                <a:cubicBezTo>
                  <a:pt x="630250" y="32589"/>
                  <a:pt x="610270" y="49370"/>
                  <a:pt x="605210" y="71731"/>
                </a:cubicBezTo>
                <a:lnTo>
                  <a:pt x="546832" y="71731"/>
                </a:lnTo>
                <a:cubicBezTo>
                  <a:pt x="543707" y="71731"/>
                  <a:pt x="540656" y="73071"/>
                  <a:pt x="538535" y="75527"/>
                </a:cubicBezTo>
                <a:lnTo>
                  <a:pt x="478334" y="144210"/>
                </a:lnTo>
                <a:lnTo>
                  <a:pt x="431267" y="144210"/>
                </a:lnTo>
                <a:lnTo>
                  <a:pt x="431267" y="11051"/>
                </a:lnTo>
                <a:cubicBezTo>
                  <a:pt x="431267" y="4949"/>
                  <a:pt x="426319" y="0"/>
                  <a:pt x="420217" y="0"/>
                </a:cubicBezTo>
                <a:lnTo>
                  <a:pt x="377651" y="0"/>
                </a:lnTo>
                <a:cubicBezTo>
                  <a:pt x="361094" y="0"/>
                  <a:pt x="346992" y="11795"/>
                  <a:pt x="344017" y="28091"/>
                </a:cubicBezTo>
                <a:lnTo>
                  <a:pt x="335161" y="76758"/>
                </a:lnTo>
                <a:cubicBezTo>
                  <a:pt x="334305" y="81521"/>
                  <a:pt x="331143" y="84944"/>
                  <a:pt x="326492" y="86283"/>
                </a:cubicBezTo>
                <a:cubicBezTo>
                  <a:pt x="300001" y="93725"/>
                  <a:pt x="274402" y="104291"/>
                  <a:pt x="250292" y="117909"/>
                </a:cubicBezTo>
                <a:cubicBezTo>
                  <a:pt x="246013" y="120290"/>
                  <a:pt x="241437" y="120104"/>
                  <a:pt x="237418" y="117351"/>
                </a:cubicBezTo>
                <a:lnTo>
                  <a:pt x="196751" y="89148"/>
                </a:lnTo>
                <a:cubicBezTo>
                  <a:pt x="183133" y="79735"/>
                  <a:pt x="164753" y="81335"/>
                  <a:pt x="153145" y="93055"/>
                </a:cubicBezTo>
                <a:lnTo>
                  <a:pt x="92944" y="153256"/>
                </a:lnTo>
                <a:cubicBezTo>
                  <a:pt x="81223" y="164976"/>
                  <a:pt x="79624" y="183357"/>
                  <a:pt x="89037" y="196862"/>
                </a:cubicBezTo>
                <a:lnTo>
                  <a:pt x="117239" y="237529"/>
                </a:lnTo>
                <a:cubicBezTo>
                  <a:pt x="119993" y="241548"/>
                  <a:pt x="120179" y="246087"/>
                  <a:pt x="117798" y="250403"/>
                </a:cubicBezTo>
                <a:cubicBezTo>
                  <a:pt x="104254" y="274402"/>
                  <a:pt x="93613" y="300112"/>
                  <a:pt x="86172" y="326603"/>
                </a:cubicBezTo>
                <a:cubicBezTo>
                  <a:pt x="84832" y="331254"/>
                  <a:pt x="81521" y="334417"/>
                  <a:pt x="76647" y="335273"/>
                </a:cubicBezTo>
                <a:lnTo>
                  <a:pt x="28091" y="344054"/>
                </a:lnTo>
                <a:cubicBezTo>
                  <a:pt x="11795" y="346993"/>
                  <a:pt x="0" y="361206"/>
                  <a:pt x="0" y="377688"/>
                </a:cubicBezTo>
                <a:lnTo>
                  <a:pt x="0" y="462855"/>
                </a:lnTo>
                <a:cubicBezTo>
                  <a:pt x="0" y="479412"/>
                  <a:pt x="11795" y="493514"/>
                  <a:pt x="28091" y="496490"/>
                </a:cubicBezTo>
                <a:lnTo>
                  <a:pt x="76758" y="505345"/>
                </a:lnTo>
                <a:cubicBezTo>
                  <a:pt x="81521" y="506201"/>
                  <a:pt x="84944" y="509363"/>
                  <a:pt x="86283" y="514014"/>
                </a:cubicBezTo>
                <a:cubicBezTo>
                  <a:pt x="93725" y="540505"/>
                  <a:pt x="104291" y="566105"/>
                  <a:pt x="117909" y="590214"/>
                </a:cubicBezTo>
                <a:cubicBezTo>
                  <a:pt x="120290" y="594419"/>
                  <a:pt x="120104" y="599070"/>
                  <a:pt x="117351" y="603088"/>
                </a:cubicBezTo>
                <a:lnTo>
                  <a:pt x="89148" y="643755"/>
                </a:lnTo>
                <a:cubicBezTo>
                  <a:pt x="79735" y="657373"/>
                  <a:pt x="81335" y="675754"/>
                  <a:pt x="93055" y="687362"/>
                </a:cubicBezTo>
                <a:lnTo>
                  <a:pt x="153256" y="747563"/>
                </a:lnTo>
                <a:cubicBezTo>
                  <a:pt x="164976" y="759283"/>
                  <a:pt x="183357" y="760882"/>
                  <a:pt x="196862" y="751469"/>
                </a:cubicBezTo>
                <a:lnTo>
                  <a:pt x="237529" y="723267"/>
                </a:lnTo>
                <a:cubicBezTo>
                  <a:pt x="241548" y="720513"/>
                  <a:pt x="246087" y="720327"/>
                  <a:pt x="250403" y="722709"/>
                </a:cubicBezTo>
                <a:cubicBezTo>
                  <a:pt x="274402" y="736252"/>
                  <a:pt x="300112" y="746894"/>
                  <a:pt x="326603" y="754335"/>
                </a:cubicBezTo>
                <a:cubicBezTo>
                  <a:pt x="331254" y="755674"/>
                  <a:pt x="334417" y="758985"/>
                  <a:pt x="335273" y="763860"/>
                </a:cubicBezTo>
                <a:lnTo>
                  <a:pt x="344128" y="812527"/>
                </a:lnTo>
                <a:cubicBezTo>
                  <a:pt x="347067" y="828823"/>
                  <a:pt x="361281" y="840618"/>
                  <a:pt x="377763" y="840618"/>
                </a:cubicBezTo>
                <a:lnTo>
                  <a:pt x="420328" y="840618"/>
                </a:lnTo>
                <a:cubicBezTo>
                  <a:pt x="426430" y="840618"/>
                  <a:pt x="431379" y="835669"/>
                  <a:pt x="431379" y="829567"/>
                </a:cubicBezTo>
                <a:lnTo>
                  <a:pt x="431379" y="696179"/>
                </a:lnTo>
                <a:lnTo>
                  <a:pt x="478446" y="696179"/>
                </a:lnTo>
                <a:lnTo>
                  <a:pt x="538535" y="764975"/>
                </a:lnTo>
                <a:cubicBezTo>
                  <a:pt x="540619" y="767356"/>
                  <a:pt x="543670" y="768770"/>
                  <a:pt x="546832" y="768770"/>
                </a:cubicBezTo>
                <a:lnTo>
                  <a:pt x="605210" y="768770"/>
                </a:lnTo>
                <a:cubicBezTo>
                  <a:pt x="610270" y="791169"/>
                  <a:pt x="630250" y="807912"/>
                  <a:pt x="654174" y="807912"/>
                </a:cubicBezTo>
                <a:cubicBezTo>
                  <a:pt x="681894" y="807912"/>
                  <a:pt x="704366" y="785327"/>
                  <a:pt x="704366" y="757720"/>
                </a:cubicBezTo>
                <a:cubicBezTo>
                  <a:pt x="704366" y="730113"/>
                  <a:pt x="681782" y="707528"/>
                  <a:pt x="654174" y="707528"/>
                </a:cubicBezTo>
                <a:cubicBezTo>
                  <a:pt x="630250" y="707528"/>
                  <a:pt x="610270" y="724308"/>
                  <a:pt x="605210" y="746670"/>
                </a:cubicBezTo>
                <a:lnTo>
                  <a:pt x="551855" y="746670"/>
                </a:lnTo>
                <a:lnTo>
                  <a:pt x="491654" y="677986"/>
                </a:lnTo>
                <a:cubicBezTo>
                  <a:pt x="489570" y="675605"/>
                  <a:pt x="486519" y="674191"/>
                  <a:pt x="483357" y="674191"/>
                </a:cubicBezTo>
                <a:lnTo>
                  <a:pt x="431266" y="674191"/>
                </a:lnTo>
                <a:lnTo>
                  <a:pt x="431266" y="640370"/>
                </a:lnTo>
                <a:cubicBezTo>
                  <a:pt x="494816" y="637244"/>
                  <a:pt x="551301" y="607032"/>
                  <a:pt x="589581" y="561119"/>
                </a:cubicBezTo>
                <a:lnTo>
                  <a:pt x="637876" y="561119"/>
                </a:lnTo>
                <a:lnTo>
                  <a:pt x="698077" y="629803"/>
                </a:lnTo>
                <a:cubicBezTo>
                  <a:pt x="700161" y="632184"/>
                  <a:pt x="703212" y="633598"/>
                  <a:pt x="706374" y="633598"/>
                </a:cubicBezTo>
                <a:lnTo>
                  <a:pt x="741349" y="633598"/>
                </a:lnTo>
                <a:cubicBezTo>
                  <a:pt x="746409" y="655997"/>
                  <a:pt x="766389" y="672740"/>
                  <a:pt x="790313" y="672740"/>
                </a:cubicBezTo>
                <a:cubicBezTo>
                  <a:pt x="818033" y="672740"/>
                  <a:pt x="840505" y="650155"/>
                  <a:pt x="840505" y="622548"/>
                </a:cubicBezTo>
                <a:cubicBezTo>
                  <a:pt x="840505" y="594828"/>
                  <a:pt x="817920" y="572356"/>
                  <a:pt x="790313" y="572356"/>
                </a:cubicBezTo>
                <a:cubicBezTo>
                  <a:pt x="766389" y="572356"/>
                  <a:pt x="746409" y="589136"/>
                  <a:pt x="741349" y="611498"/>
                </a:cubicBezTo>
                <a:lnTo>
                  <a:pt x="711435" y="611498"/>
                </a:lnTo>
                <a:lnTo>
                  <a:pt x="651234" y="542814"/>
                </a:lnTo>
                <a:cubicBezTo>
                  <a:pt x="649150" y="540433"/>
                  <a:pt x="646099" y="539019"/>
                  <a:pt x="642937" y="539019"/>
                </a:cubicBezTo>
                <a:lnTo>
                  <a:pt x="605804" y="539019"/>
                </a:lnTo>
                <a:cubicBezTo>
                  <a:pt x="626008" y="507579"/>
                  <a:pt x="638472" y="470818"/>
                  <a:pt x="640370" y="431301"/>
                </a:cubicBezTo>
                <a:lnTo>
                  <a:pt x="807800" y="431301"/>
                </a:lnTo>
                <a:cubicBezTo>
                  <a:pt x="814274" y="451579"/>
                  <a:pt x="833026" y="466350"/>
                  <a:pt x="855425" y="466350"/>
                </a:cubicBezTo>
                <a:cubicBezTo>
                  <a:pt x="883145" y="466350"/>
                  <a:pt x="905617" y="443765"/>
                  <a:pt x="905617" y="416158"/>
                </a:cubicBezTo>
                <a:cubicBezTo>
                  <a:pt x="905617" y="388438"/>
                  <a:pt x="883144" y="365966"/>
                  <a:pt x="855425" y="365966"/>
                </a:cubicBezTo>
                <a:close/>
                <a:moveTo>
                  <a:pt x="790206" y="189829"/>
                </a:moveTo>
                <a:cubicBezTo>
                  <a:pt x="805721" y="189829"/>
                  <a:pt x="818297" y="202480"/>
                  <a:pt x="818297" y="217921"/>
                </a:cubicBezTo>
                <a:cubicBezTo>
                  <a:pt x="818297" y="233436"/>
                  <a:pt x="805647" y="246012"/>
                  <a:pt x="790206" y="246012"/>
                </a:cubicBezTo>
                <a:cubicBezTo>
                  <a:pt x="774690" y="246012"/>
                  <a:pt x="762114" y="233362"/>
                  <a:pt x="762114" y="217921"/>
                </a:cubicBezTo>
                <a:cubicBezTo>
                  <a:pt x="762077" y="202517"/>
                  <a:pt x="774653" y="189829"/>
                  <a:pt x="790206" y="189829"/>
                </a:cubicBezTo>
                <a:close/>
                <a:moveTo>
                  <a:pt x="654179" y="54689"/>
                </a:moveTo>
                <a:cubicBezTo>
                  <a:pt x="669694" y="54689"/>
                  <a:pt x="682270" y="67339"/>
                  <a:pt x="682270" y="82780"/>
                </a:cubicBezTo>
                <a:cubicBezTo>
                  <a:pt x="682270" y="98221"/>
                  <a:pt x="669620" y="110871"/>
                  <a:pt x="654179" y="110871"/>
                </a:cubicBezTo>
                <a:cubicBezTo>
                  <a:pt x="638738" y="110871"/>
                  <a:pt x="626088" y="98221"/>
                  <a:pt x="626088" y="82780"/>
                </a:cubicBezTo>
                <a:cubicBezTo>
                  <a:pt x="626088" y="67339"/>
                  <a:pt x="638664" y="54689"/>
                  <a:pt x="654179" y="54689"/>
                </a:cubicBezTo>
                <a:close/>
                <a:moveTo>
                  <a:pt x="654179" y="729516"/>
                </a:moveTo>
                <a:cubicBezTo>
                  <a:pt x="669694" y="729516"/>
                  <a:pt x="682270" y="742166"/>
                  <a:pt x="682270" y="757607"/>
                </a:cubicBezTo>
                <a:cubicBezTo>
                  <a:pt x="682270" y="773048"/>
                  <a:pt x="669620" y="785698"/>
                  <a:pt x="654179" y="785698"/>
                </a:cubicBezTo>
                <a:cubicBezTo>
                  <a:pt x="638738" y="785698"/>
                  <a:pt x="626088" y="773048"/>
                  <a:pt x="626088" y="757607"/>
                </a:cubicBezTo>
                <a:cubicBezTo>
                  <a:pt x="626088" y="742203"/>
                  <a:pt x="638664" y="729516"/>
                  <a:pt x="654179" y="729516"/>
                </a:cubicBezTo>
                <a:close/>
                <a:moveTo>
                  <a:pt x="790206" y="594375"/>
                </a:moveTo>
                <a:cubicBezTo>
                  <a:pt x="805721" y="594375"/>
                  <a:pt x="818297" y="607025"/>
                  <a:pt x="818297" y="622466"/>
                </a:cubicBezTo>
                <a:cubicBezTo>
                  <a:pt x="818297" y="637982"/>
                  <a:pt x="805647" y="650558"/>
                  <a:pt x="790206" y="650558"/>
                </a:cubicBezTo>
                <a:cubicBezTo>
                  <a:pt x="774690" y="650558"/>
                  <a:pt x="762114" y="637907"/>
                  <a:pt x="762114" y="622466"/>
                </a:cubicBezTo>
                <a:cubicBezTo>
                  <a:pt x="762077" y="606951"/>
                  <a:pt x="774653" y="594375"/>
                  <a:pt x="790206" y="594375"/>
                </a:cubicBezTo>
                <a:close/>
                <a:moveTo>
                  <a:pt x="541660" y="409200"/>
                </a:moveTo>
                <a:cubicBezTo>
                  <a:pt x="540916" y="380067"/>
                  <a:pt x="537009" y="352050"/>
                  <a:pt x="530238" y="326340"/>
                </a:cubicBezTo>
                <a:cubicBezTo>
                  <a:pt x="549102" y="320722"/>
                  <a:pt x="566254" y="313466"/>
                  <a:pt x="581212" y="305020"/>
                </a:cubicBezTo>
                <a:cubicBezTo>
                  <a:pt x="602532" y="334749"/>
                  <a:pt x="615703" y="370467"/>
                  <a:pt x="617898" y="409233"/>
                </a:cubicBezTo>
                <a:close/>
                <a:moveTo>
                  <a:pt x="519671" y="409200"/>
                </a:moveTo>
                <a:lnTo>
                  <a:pt x="431267" y="409200"/>
                </a:lnTo>
                <a:lnTo>
                  <a:pt x="431267" y="341297"/>
                </a:lnTo>
                <a:cubicBezTo>
                  <a:pt x="458429" y="340627"/>
                  <a:pt x="484623" y="337390"/>
                  <a:pt x="508695" y="331958"/>
                </a:cubicBezTo>
                <a:cubicBezTo>
                  <a:pt x="515020" y="355585"/>
                  <a:pt x="518815" y="381667"/>
                  <a:pt x="519671" y="409200"/>
                </a:cubicBezTo>
                <a:close/>
                <a:moveTo>
                  <a:pt x="338134" y="529786"/>
                </a:moveTo>
                <a:cubicBezTo>
                  <a:pt x="360309" y="524838"/>
                  <a:pt x="384420" y="521973"/>
                  <a:pt x="409199" y="521229"/>
                </a:cubicBezTo>
                <a:lnTo>
                  <a:pt x="409199" y="614767"/>
                </a:lnTo>
                <a:cubicBezTo>
                  <a:pt x="380029" y="608070"/>
                  <a:pt x="354319" y="575699"/>
                  <a:pt x="338134" y="529786"/>
                </a:cubicBezTo>
                <a:close/>
                <a:moveTo>
                  <a:pt x="409199" y="499202"/>
                </a:moveTo>
                <a:cubicBezTo>
                  <a:pt x="382037" y="499872"/>
                  <a:pt x="355844" y="503109"/>
                  <a:pt x="331771" y="508541"/>
                </a:cubicBezTo>
                <a:cubicBezTo>
                  <a:pt x="325483" y="485026"/>
                  <a:pt x="321688" y="458832"/>
                  <a:pt x="320907" y="431299"/>
                </a:cubicBezTo>
                <a:lnTo>
                  <a:pt x="409310" y="431299"/>
                </a:lnTo>
                <a:lnTo>
                  <a:pt x="409273" y="499202"/>
                </a:lnTo>
                <a:close/>
                <a:moveTo>
                  <a:pt x="320796" y="409199"/>
                </a:moveTo>
                <a:cubicBezTo>
                  <a:pt x="321651" y="381666"/>
                  <a:pt x="325446" y="355583"/>
                  <a:pt x="331660" y="331957"/>
                </a:cubicBezTo>
                <a:cubicBezTo>
                  <a:pt x="355845" y="337389"/>
                  <a:pt x="381963" y="340626"/>
                  <a:pt x="409087" y="341296"/>
                </a:cubicBezTo>
                <a:lnTo>
                  <a:pt x="409087" y="409198"/>
                </a:lnTo>
                <a:close/>
                <a:moveTo>
                  <a:pt x="409199" y="225728"/>
                </a:moveTo>
                <a:lnTo>
                  <a:pt x="409199" y="319267"/>
                </a:lnTo>
                <a:cubicBezTo>
                  <a:pt x="384419" y="318597"/>
                  <a:pt x="360420" y="315657"/>
                  <a:pt x="338134" y="310709"/>
                </a:cubicBezTo>
                <a:cubicBezTo>
                  <a:pt x="354319" y="264796"/>
                  <a:pt x="380029" y="232425"/>
                  <a:pt x="409199" y="225728"/>
                </a:cubicBezTo>
                <a:close/>
                <a:moveTo>
                  <a:pt x="431263" y="319192"/>
                </a:moveTo>
                <a:lnTo>
                  <a:pt x="431263" y="225654"/>
                </a:lnTo>
                <a:cubicBezTo>
                  <a:pt x="460396" y="232314"/>
                  <a:pt x="486143" y="264722"/>
                  <a:pt x="502328" y="310635"/>
                </a:cubicBezTo>
                <a:cubicBezTo>
                  <a:pt x="480041" y="315658"/>
                  <a:pt x="455930" y="318523"/>
                  <a:pt x="431263" y="319193"/>
                </a:cubicBezTo>
                <a:close/>
                <a:moveTo>
                  <a:pt x="332107" y="268702"/>
                </a:moveTo>
                <a:cubicBezTo>
                  <a:pt x="326117" y="279865"/>
                  <a:pt x="320945" y="292142"/>
                  <a:pt x="316481" y="305091"/>
                </a:cubicBezTo>
                <a:cubicBezTo>
                  <a:pt x="300482" y="300328"/>
                  <a:pt x="285897" y="294412"/>
                  <a:pt x="273246" y="287566"/>
                </a:cubicBezTo>
                <a:cubicBezTo>
                  <a:pt x="296016" y="262340"/>
                  <a:pt x="325075" y="242992"/>
                  <a:pt x="358115" y="232054"/>
                </a:cubicBezTo>
                <a:cubicBezTo>
                  <a:pt x="348590" y="242026"/>
                  <a:pt x="339921" y="254229"/>
                  <a:pt x="332107" y="268703"/>
                </a:cubicBezTo>
                <a:close/>
                <a:moveTo>
                  <a:pt x="259182" y="304979"/>
                </a:moveTo>
                <a:cubicBezTo>
                  <a:pt x="274139" y="313462"/>
                  <a:pt x="291292" y="320606"/>
                  <a:pt x="310156" y="326299"/>
                </a:cubicBezTo>
                <a:cubicBezTo>
                  <a:pt x="303384" y="352009"/>
                  <a:pt x="299478" y="380026"/>
                  <a:pt x="298734" y="409159"/>
                </a:cubicBezTo>
                <a:lnTo>
                  <a:pt x="222534" y="409159"/>
                </a:lnTo>
                <a:cubicBezTo>
                  <a:pt x="224692" y="370426"/>
                  <a:pt x="237826" y="334708"/>
                  <a:pt x="259183" y="304974"/>
                </a:cubicBezTo>
                <a:close/>
                <a:moveTo>
                  <a:pt x="298696" y="431300"/>
                </a:moveTo>
                <a:cubicBezTo>
                  <a:pt x="299440" y="460433"/>
                  <a:pt x="303346" y="488450"/>
                  <a:pt x="310118" y="514160"/>
                </a:cubicBezTo>
                <a:cubicBezTo>
                  <a:pt x="291254" y="519778"/>
                  <a:pt x="274102" y="527034"/>
                  <a:pt x="259144" y="535479"/>
                </a:cubicBezTo>
                <a:cubicBezTo>
                  <a:pt x="237824" y="505751"/>
                  <a:pt x="224653" y="470032"/>
                  <a:pt x="222457" y="431266"/>
                </a:cubicBezTo>
                <a:close/>
                <a:moveTo>
                  <a:pt x="316518" y="535408"/>
                </a:moveTo>
                <a:cubicBezTo>
                  <a:pt x="320983" y="548356"/>
                  <a:pt x="326154" y="560634"/>
                  <a:pt x="332145" y="571796"/>
                </a:cubicBezTo>
                <a:cubicBezTo>
                  <a:pt x="339846" y="586270"/>
                  <a:pt x="348628" y="598474"/>
                  <a:pt x="358041" y="608483"/>
                </a:cubicBezTo>
                <a:cubicBezTo>
                  <a:pt x="325076" y="597544"/>
                  <a:pt x="296017" y="578196"/>
                  <a:pt x="273171" y="552970"/>
                </a:cubicBezTo>
                <a:cubicBezTo>
                  <a:pt x="285933" y="545975"/>
                  <a:pt x="300519" y="540170"/>
                  <a:pt x="316518" y="535408"/>
                </a:cubicBezTo>
                <a:close/>
                <a:moveTo>
                  <a:pt x="431266" y="614770"/>
                </a:moveTo>
                <a:lnTo>
                  <a:pt x="431266" y="521232"/>
                </a:lnTo>
                <a:cubicBezTo>
                  <a:pt x="456046" y="521902"/>
                  <a:pt x="480044" y="524841"/>
                  <a:pt x="502331" y="529789"/>
                </a:cubicBezTo>
                <a:cubicBezTo>
                  <a:pt x="486146" y="575703"/>
                  <a:pt x="460323" y="608074"/>
                  <a:pt x="431266" y="614771"/>
                </a:cubicBezTo>
                <a:close/>
                <a:moveTo>
                  <a:pt x="431266" y="499203"/>
                </a:moveTo>
                <a:lnTo>
                  <a:pt x="431266" y="431301"/>
                </a:lnTo>
                <a:lnTo>
                  <a:pt x="519669" y="431301"/>
                </a:lnTo>
                <a:cubicBezTo>
                  <a:pt x="518813" y="458834"/>
                  <a:pt x="515018" y="484916"/>
                  <a:pt x="508805" y="508543"/>
                </a:cubicBezTo>
                <a:cubicBezTo>
                  <a:pt x="484620" y="503036"/>
                  <a:pt x="458426" y="499873"/>
                  <a:pt x="431266" y="499204"/>
                </a:cubicBezTo>
                <a:close/>
                <a:moveTo>
                  <a:pt x="541660" y="431301"/>
                </a:moveTo>
                <a:lnTo>
                  <a:pt x="617860" y="431301"/>
                </a:lnTo>
                <a:cubicBezTo>
                  <a:pt x="615665" y="470070"/>
                  <a:pt x="602531" y="505789"/>
                  <a:pt x="581174" y="535514"/>
                </a:cubicBezTo>
                <a:cubicBezTo>
                  <a:pt x="566217" y="527030"/>
                  <a:pt x="549064" y="519887"/>
                  <a:pt x="530200" y="514194"/>
                </a:cubicBezTo>
                <a:cubicBezTo>
                  <a:pt x="537009" y="488447"/>
                  <a:pt x="540915" y="460430"/>
                  <a:pt x="541659" y="431297"/>
                </a:cubicBezTo>
                <a:close/>
                <a:moveTo>
                  <a:pt x="567222" y="287645"/>
                </a:moveTo>
                <a:cubicBezTo>
                  <a:pt x="554460" y="294491"/>
                  <a:pt x="539874" y="300295"/>
                  <a:pt x="523987" y="305169"/>
                </a:cubicBezTo>
                <a:cubicBezTo>
                  <a:pt x="519522" y="292220"/>
                  <a:pt x="514350" y="279943"/>
                  <a:pt x="508360" y="268780"/>
                </a:cubicBezTo>
                <a:cubicBezTo>
                  <a:pt x="500658" y="254307"/>
                  <a:pt x="491877" y="242103"/>
                  <a:pt x="482463" y="232094"/>
                </a:cubicBezTo>
                <a:cubicBezTo>
                  <a:pt x="515280" y="242995"/>
                  <a:pt x="544339" y="262418"/>
                  <a:pt x="567221" y="287644"/>
                </a:cubicBezTo>
                <a:close/>
                <a:moveTo>
                  <a:pt x="377655" y="818406"/>
                </a:moveTo>
                <a:cubicBezTo>
                  <a:pt x="371739" y="818406"/>
                  <a:pt x="366791" y="814313"/>
                  <a:pt x="365749" y="808509"/>
                </a:cubicBezTo>
                <a:lnTo>
                  <a:pt x="356893" y="759842"/>
                </a:lnTo>
                <a:cubicBezTo>
                  <a:pt x="354512" y="746708"/>
                  <a:pt x="345360" y="736587"/>
                  <a:pt x="332523" y="732978"/>
                </a:cubicBezTo>
                <a:cubicBezTo>
                  <a:pt x="307743" y="726021"/>
                  <a:pt x="283744" y="716124"/>
                  <a:pt x="261197" y="703436"/>
                </a:cubicBezTo>
                <a:cubicBezTo>
                  <a:pt x="255876" y="700385"/>
                  <a:pt x="250034" y="698971"/>
                  <a:pt x="244342" y="698971"/>
                </a:cubicBezTo>
                <a:cubicBezTo>
                  <a:pt x="237571" y="698971"/>
                  <a:pt x="230910" y="701054"/>
                  <a:pt x="224920" y="705147"/>
                </a:cubicBezTo>
                <a:lnTo>
                  <a:pt x="184253" y="733350"/>
                </a:lnTo>
                <a:cubicBezTo>
                  <a:pt x="179379" y="736773"/>
                  <a:pt x="173016" y="736215"/>
                  <a:pt x="168812" y="731936"/>
                </a:cubicBezTo>
                <a:lnTo>
                  <a:pt x="108611" y="671735"/>
                </a:lnTo>
                <a:cubicBezTo>
                  <a:pt x="104407" y="667531"/>
                  <a:pt x="103848" y="661168"/>
                  <a:pt x="107197" y="656294"/>
                </a:cubicBezTo>
                <a:lnTo>
                  <a:pt x="135400" y="615627"/>
                </a:lnTo>
                <a:cubicBezTo>
                  <a:pt x="143027" y="604576"/>
                  <a:pt x="143697" y="591071"/>
                  <a:pt x="137111" y="579350"/>
                </a:cubicBezTo>
                <a:cubicBezTo>
                  <a:pt x="124461" y="556877"/>
                  <a:pt x="114452" y="532879"/>
                  <a:pt x="107568" y="508098"/>
                </a:cubicBezTo>
                <a:cubicBezTo>
                  <a:pt x="103959" y="495224"/>
                  <a:pt x="93951" y="486109"/>
                  <a:pt x="80705" y="483728"/>
                </a:cubicBezTo>
                <a:lnTo>
                  <a:pt x="32038" y="474872"/>
                </a:lnTo>
                <a:cubicBezTo>
                  <a:pt x="26234" y="473830"/>
                  <a:pt x="22141" y="468882"/>
                  <a:pt x="22141" y="462966"/>
                </a:cubicBezTo>
                <a:lnTo>
                  <a:pt x="22141" y="377799"/>
                </a:lnTo>
                <a:cubicBezTo>
                  <a:pt x="22141" y="371883"/>
                  <a:pt x="26233" y="366935"/>
                  <a:pt x="32038" y="365893"/>
                </a:cubicBezTo>
                <a:lnTo>
                  <a:pt x="80705" y="357038"/>
                </a:lnTo>
                <a:cubicBezTo>
                  <a:pt x="93839" y="354656"/>
                  <a:pt x="103959" y="345504"/>
                  <a:pt x="107568" y="332667"/>
                </a:cubicBezTo>
                <a:cubicBezTo>
                  <a:pt x="114526" y="307887"/>
                  <a:pt x="124423" y="283889"/>
                  <a:pt x="137111" y="261341"/>
                </a:cubicBezTo>
                <a:cubicBezTo>
                  <a:pt x="143697" y="249620"/>
                  <a:pt x="143027" y="236115"/>
                  <a:pt x="135400" y="225064"/>
                </a:cubicBezTo>
                <a:lnTo>
                  <a:pt x="107197" y="184397"/>
                </a:lnTo>
                <a:cubicBezTo>
                  <a:pt x="103774" y="179523"/>
                  <a:pt x="104332" y="173160"/>
                  <a:pt x="108611" y="168956"/>
                </a:cubicBezTo>
                <a:lnTo>
                  <a:pt x="168812" y="108755"/>
                </a:lnTo>
                <a:cubicBezTo>
                  <a:pt x="173016" y="104551"/>
                  <a:pt x="179379" y="103993"/>
                  <a:pt x="184253" y="107341"/>
                </a:cubicBezTo>
                <a:lnTo>
                  <a:pt x="224920" y="135544"/>
                </a:lnTo>
                <a:cubicBezTo>
                  <a:pt x="235971" y="143171"/>
                  <a:pt x="249476" y="143841"/>
                  <a:pt x="261197" y="137255"/>
                </a:cubicBezTo>
                <a:cubicBezTo>
                  <a:pt x="283670" y="124605"/>
                  <a:pt x="307668" y="114596"/>
                  <a:pt x="332448" y="107713"/>
                </a:cubicBezTo>
                <a:cubicBezTo>
                  <a:pt x="345322" y="104104"/>
                  <a:pt x="354438" y="94095"/>
                  <a:pt x="356819" y="80849"/>
                </a:cubicBezTo>
                <a:lnTo>
                  <a:pt x="365674" y="32182"/>
                </a:lnTo>
                <a:cubicBezTo>
                  <a:pt x="366716" y="26378"/>
                  <a:pt x="371665" y="22285"/>
                  <a:pt x="377581" y="22285"/>
                </a:cubicBezTo>
                <a:lnTo>
                  <a:pt x="409095" y="22285"/>
                </a:lnTo>
                <a:lnTo>
                  <a:pt x="409095" y="200317"/>
                </a:lnTo>
                <a:cubicBezTo>
                  <a:pt x="292785" y="205935"/>
                  <a:pt x="199840" y="302415"/>
                  <a:pt x="199840" y="420249"/>
                </a:cubicBezTo>
                <a:cubicBezTo>
                  <a:pt x="199840" y="538083"/>
                  <a:pt x="292821" y="634561"/>
                  <a:pt x="409095" y="640362"/>
                </a:cubicBezTo>
                <a:lnTo>
                  <a:pt x="409095" y="818394"/>
                </a:lnTo>
                <a:close/>
                <a:moveTo>
                  <a:pt x="482354" y="608370"/>
                </a:moveTo>
                <a:cubicBezTo>
                  <a:pt x="491767" y="598473"/>
                  <a:pt x="500548" y="586270"/>
                  <a:pt x="508250" y="571684"/>
                </a:cubicBezTo>
                <a:cubicBezTo>
                  <a:pt x="514241" y="560522"/>
                  <a:pt x="519413" y="548244"/>
                  <a:pt x="523877" y="535296"/>
                </a:cubicBezTo>
                <a:cubicBezTo>
                  <a:pt x="539876" y="540058"/>
                  <a:pt x="554461" y="545974"/>
                  <a:pt x="567223" y="552820"/>
                </a:cubicBezTo>
                <a:cubicBezTo>
                  <a:pt x="544342" y="578083"/>
                  <a:pt x="515283" y="597505"/>
                  <a:pt x="482354" y="608369"/>
                </a:cubicBezTo>
                <a:close/>
                <a:moveTo>
                  <a:pt x="855429" y="444255"/>
                </a:moveTo>
                <a:cubicBezTo>
                  <a:pt x="839914" y="444255"/>
                  <a:pt x="827338" y="431604"/>
                  <a:pt x="827338" y="416163"/>
                </a:cubicBezTo>
                <a:cubicBezTo>
                  <a:pt x="827338" y="400648"/>
                  <a:pt x="839988" y="388072"/>
                  <a:pt x="855429" y="388072"/>
                </a:cubicBezTo>
                <a:cubicBezTo>
                  <a:pt x="870944" y="388072"/>
                  <a:pt x="883520" y="400722"/>
                  <a:pt x="883520" y="416163"/>
                </a:cubicBezTo>
                <a:cubicBezTo>
                  <a:pt x="883520" y="431679"/>
                  <a:pt x="870944" y="444255"/>
                  <a:pt x="855429" y="444255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dirty="0"/>
          </a:p>
        </p:txBody>
      </p:sp>
      <p:sp>
        <p:nvSpPr>
          <p:cNvPr id="9" name="Title 20">
            <a:extLst>
              <a:ext uri="{FF2B5EF4-FFF2-40B4-BE49-F238E27FC236}">
                <a16:creationId xmlns:a16="http://schemas.microsoft.com/office/drawing/2014/main" id="{65988164-6719-D3DE-8AFB-02722C068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863" y="454025"/>
            <a:ext cx="11163300" cy="331788"/>
          </a:xfrm>
        </p:spPr>
        <p:txBody>
          <a:bodyPr vert="horz"/>
          <a:lstStyle/>
          <a:p>
            <a:r>
              <a:rPr lang="en-US" b="1" dirty="0"/>
              <a:t>IMO:</a:t>
            </a:r>
            <a:r>
              <a:rPr lang="en-US" dirty="0"/>
              <a:t> Pre-close planning &amp; Day-1 readiness playbook</a:t>
            </a:r>
            <a:endParaRPr lang="en-AU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F95100F-FF6E-CB8C-D6F9-9A9E4963C5E6}"/>
              </a:ext>
            </a:extLst>
          </p:cNvPr>
          <p:cNvSpPr/>
          <p:nvPr/>
        </p:nvSpPr>
        <p:spPr>
          <a:xfrm>
            <a:off x="557712" y="3537576"/>
            <a:ext cx="261584" cy="242764"/>
          </a:xfrm>
          <a:custGeom>
            <a:avLst/>
            <a:gdLst>
              <a:gd name="connsiteX0" fmla="*/ 556289 w 857221"/>
              <a:gd name="connsiteY0" fmla="*/ 325927 h 795547"/>
              <a:gd name="connsiteX1" fmla="*/ 612848 w 857221"/>
              <a:gd name="connsiteY1" fmla="*/ 382486 h 795547"/>
              <a:gd name="connsiteX2" fmla="*/ 637965 w 857221"/>
              <a:gd name="connsiteY2" fmla="*/ 382486 h 795547"/>
              <a:gd name="connsiteX3" fmla="*/ 658178 w 857221"/>
              <a:gd name="connsiteY3" fmla="*/ 362274 h 795547"/>
              <a:gd name="connsiteX4" fmla="*/ 576501 w 857221"/>
              <a:gd name="connsiteY4" fmla="*/ 280597 h 795547"/>
              <a:gd name="connsiteX5" fmla="*/ 555174 w 857221"/>
              <a:gd name="connsiteY5" fmla="*/ 302029 h 795547"/>
              <a:gd name="connsiteX6" fmla="*/ 556279 w 857221"/>
              <a:gd name="connsiteY6" fmla="*/ 325927 h 795547"/>
              <a:gd name="connsiteX7" fmla="*/ 556279 w 857221"/>
              <a:gd name="connsiteY7" fmla="*/ 325927 h 795547"/>
              <a:gd name="connsiteX8" fmla="*/ 469935 w 857221"/>
              <a:gd name="connsiteY8" fmla="*/ 525409 h 795547"/>
              <a:gd name="connsiteX9" fmla="*/ 413376 w 857221"/>
              <a:gd name="connsiteY9" fmla="*/ 468849 h 795547"/>
              <a:gd name="connsiteX10" fmla="*/ 388258 w 857221"/>
              <a:gd name="connsiteY10" fmla="*/ 468849 h 795547"/>
              <a:gd name="connsiteX11" fmla="*/ 368046 w 857221"/>
              <a:gd name="connsiteY11" fmla="*/ 489062 h 795547"/>
              <a:gd name="connsiteX12" fmla="*/ 449723 w 857221"/>
              <a:gd name="connsiteY12" fmla="*/ 570738 h 795547"/>
              <a:gd name="connsiteX13" fmla="*/ 469935 w 857221"/>
              <a:gd name="connsiteY13" fmla="*/ 550526 h 795547"/>
              <a:gd name="connsiteX14" fmla="*/ 469935 w 857221"/>
              <a:gd name="connsiteY14" fmla="*/ 525409 h 795547"/>
              <a:gd name="connsiteX15" fmla="*/ 469935 w 857221"/>
              <a:gd name="connsiteY15" fmla="*/ 525409 h 795547"/>
              <a:gd name="connsiteX16" fmla="*/ 438836 w 857221"/>
              <a:gd name="connsiteY16" fmla="*/ 462039 h 795547"/>
              <a:gd name="connsiteX17" fmla="*/ 549554 w 857221"/>
              <a:gd name="connsiteY17" fmla="*/ 351444 h 795547"/>
              <a:gd name="connsiteX18" fmla="*/ 587340 w 857221"/>
              <a:gd name="connsiteY18" fmla="*/ 389230 h 795547"/>
              <a:gd name="connsiteX19" fmla="*/ 476745 w 857221"/>
              <a:gd name="connsiteY19" fmla="*/ 499949 h 795547"/>
              <a:gd name="connsiteX20" fmla="*/ 438836 w 857221"/>
              <a:gd name="connsiteY20" fmla="*/ 462049 h 795547"/>
              <a:gd name="connsiteX21" fmla="*/ 438836 w 857221"/>
              <a:gd name="connsiteY21" fmla="*/ 462049 h 795547"/>
              <a:gd name="connsiteX22" fmla="*/ 156696 w 857221"/>
              <a:gd name="connsiteY22" fmla="*/ 166593 h 795547"/>
              <a:gd name="connsiteX23" fmla="*/ 168107 w 857221"/>
              <a:gd name="connsiteY23" fmla="*/ 155182 h 795547"/>
              <a:gd name="connsiteX24" fmla="*/ 179518 w 857221"/>
              <a:gd name="connsiteY24" fmla="*/ 166593 h 795547"/>
              <a:gd name="connsiteX25" fmla="*/ 179518 w 857221"/>
              <a:gd name="connsiteY25" fmla="*/ 168936 h 795547"/>
              <a:gd name="connsiteX26" fmla="*/ 204073 w 857221"/>
              <a:gd name="connsiteY26" fmla="*/ 202073 h 795547"/>
              <a:gd name="connsiteX27" fmla="*/ 192662 w 857221"/>
              <a:gd name="connsiteY27" fmla="*/ 213484 h 795547"/>
              <a:gd name="connsiteX28" fmla="*/ 181251 w 857221"/>
              <a:gd name="connsiteY28" fmla="*/ 202073 h 795547"/>
              <a:gd name="connsiteX29" fmla="*/ 158620 w 857221"/>
              <a:gd name="connsiteY29" fmla="*/ 193634 h 795547"/>
              <a:gd name="connsiteX30" fmla="*/ 168097 w 857221"/>
              <a:gd name="connsiteY30" fmla="*/ 214208 h 795547"/>
              <a:gd name="connsiteX31" fmla="*/ 193348 w 857221"/>
              <a:gd name="connsiteY31" fmla="*/ 273997 h 795547"/>
              <a:gd name="connsiteX32" fmla="*/ 179499 w 857221"/>
              <a:gd name="connsiteY32" fmla="*/ 282293 h 795547"/>
              <a:gd name="connsiteX33" fmla="*/ 179499 w 857221"/>
              <a:gd name="connsiteY33" fmla="*/ 284636 h 795547"/>
              <a:gd name="connsiteX34" fmla="*/ 168088 w 857221"/>
              <a:gd name="connsiteY34" fmla="*/ 296047 h 795547"/>
              <a:gd name="connsiteX35" fmla="*/ 156677 w 857221"/>
              <a:gd name="connsiteY35" fmla="*/ 284636 h 795547"/>
              <a:gd name="connsiteX36" fmla="*/ 156677 w 857221"/>
              <a:gd name="connsiteY36" fmla="*/ 282293 h 795547"/>
              <a:gd name="connsiteX37" fmla="*/ 132121 w 857221"/>
              <a:gd name="connsiteY37" fmla="*/ 249155 h 795547"/>
              <a:gd name="connsiteX38" fmla="*/ 143532 w 857221"/>
              <a:gd name="connsiteY38" fmla="*/ 237744 h 795547"/>
              <a:gd name="connsiteX39" fmla="*/ 154943 w 857221"/>
              <a:gd name="connsiteY39" fmla="*/ 249155 h 795547"/>
              <a:gd name="connsiteX40" fmla="*/ 177575 w 857221"/>
              <a:gd name="connsiteY40" fmla="*/ 257594 h 795547"/>
              <a:gd name="connsiteX41" fmla="*/ 168097 w 857221"/>
              <a:gd name="connsiteY41" fmla="*/ 237020 h 795547"/>
              <a:gd name="connsiteX42" fmla="*/ 142846 w 857221"/>
              <a:gd name="connsiteY42" fmla="*/ 177232 h 795547"/>
              <a:gd name="connsiteX43" fmla="*/ 156696 w 857221"/>
              <a:gd name="connsiteY43" fmla="*/ 168936 h 795547"/>
              <a:gd name="connsiteX44" fmla="*/ 156696 w 857221"/>
              <a:gd name="connsiteY44" fmla="*/ 166593 h 795547"/>
              <a:gd name="connsiteX45" fmla="*/ 156696 w 857221"/>
              <a:gd name="connsiteY45" fmla="*/ 166593 h 795547"/>
              <a:gd name="connsiteX46" fmla="*/ 226076 w 857221"/>
              <a:gd name="connsiteY46" fmla="*/ 167631 h 795547"/>
              <a:gd name="connsiteX47" fmla="*/ 110128 w 857221"/>
              <a:gd name="connsiteY47" fmla="*/ 167631 h 795547"/>
              <a:gd name="connsiteX48" fmla="*/ 110128 w 857221"/>
              <a:gd name="connsiteY48" fmla="*/ 283579 h 795547"/>
              <a:gd name="connsiteX49" fmla="*/ 226076 w 857221"/>
              <a:gd name="connsiteY49" fmla="*/ 283579 h 795547"/>
              <a:gd name="connsiteX50" fmla="*/ 226076 w 857221"/>
              <a:gd name="connsiteY50" fmla="*/ 167631 h 795547"/>
              <a:gd name="connsiteX51" fmla="*/ 226076 w 857221"/>
              <a:gd name="connsiteY51" fmla="*/ 167631 h 795547"/>
              <a:gd name="connsiteX52" fmla="*/ 168107 w 857221"/>
              <a:gd name="connsiteY52" fmla="*/ 120806 h 795547"/>
              <a:gd name="connsiteX53" fmla="*/ 63303 w 857221"/>
              <a:gd name="connsiteY53" fmla="*/ 225600 h 795547"/>
              <a:gd name="connsiteX54" fmla="*/ 168107 w 857221"/>
              <a:gd name="connsiteY54" fmla="*/ 330404 h 795547"/>
              <a:gd name="connsiteX55" fmla="*/ 272910 w 857221"/>
              <a:gd name="connsiteY55" fmla="*/ 225600 h 795547"/>
              <a:gd name="connsiteX56" fmla="*/ 168107 w 857221"/>
              <a:gd name="connsiteY56" fmla="*/ 120806 h 795547"/>
              <a:gd name="connsiteX57" fmla="*/ 168107 w 857221"/>
              <a:gd name="connsiteY57" fmla="*/ 120806 h 795547"/>
              <a:gd name="connsiteX58" fmla="*/ 85468 w 857221"/>
              <a:gd name="connsiteY58" fmla="*/ 591436 h 795547"/>
              <a:gd name="connsiteX59" fmla="*/ 70275 w 857221"/>
              <a:gd name="connsiteY59" fmla="*/ 596827 h 795547"/>
              <a:gd name="connsiteX60" fmla="*/ 64884 w 857221"/>
              <a:gd name="connsiteY60" fmla="*/ 581635 h 795547"/>
              <a:gd name="connsiteX61" fmla="*/ 142037 w 857221"/>
              <a:gd name="connsiteY61" fmla="*/ 580273 h 795547"/>
              <a:gd name="connsiteX62" fmla="*/ 154829 w 857221"/>
              <a:gd name="connsiteY62" fmla="*/ 572186 h 795547"/>
              <a:gd name="connsiteX63" fmla="*/ 169107 w 857221"/>
              <a:gd name="connsiteY63" fmla="*/ 573939 h 795547"/>
              <a:gd name="connsiteX64" fmla="*/ 179403 w 857221"/>
              <a:gd name="connsiteY64" fmla="*/ 584388 h 795547"/>
              <a:gd name="connsiteX65" fmla="*/ 191767 w 857221"/>
              <a:gd name="connsiteY65" fmla="*/ 575787 h 795547"/>
              <a:gd name="connsiteX66" fmla="*/ 204330 w 857221"/>
              <a:gd name="connsiteY66" fmla="*/ 575491 h 795547"/>
              <a:gd name="connsiteX67" fmla="*/ 207312 w 857221"/>
              <a:gd name="connsiteY67" fmla="*/ 560166 h 795547"/>
              <a:gd name="connsiteX68" fmla="*/ 228381 w 857221"/>
              <a:gd name="connsiteY68" fmla="*/ 556651 h 795547"/>
              <a:gd name="connsiteX69" fmla="*/ 252355 w 857221"/>
              <a:gd name="connsiteY69" fmla="*/ 598437 h 795547"/>
              <a:gd name="connsiteX70" fmla="*/ 248126 w 857221"/>
              <a:gd name="connsiteY70" fmla="*/ 613991 h 795547"/>
              <a:gd name="connsiteX71" fmla="*/ 232572 w 857221"/>
              <a:gd name="connsiteY71" fmla="*/ 609762 h 795547"/>
              <a:gd name="connsiteX72" fmla="*/ 223828 w 857221"/>
              <a:gd name="connsiteY72" fmla="*/ 594522 h 795547"/>
              <a:gd name="connsiteX73" fmla="*/ 222018 w 857221"/>
              <a:gd name="connsiteY73" fmla="*/ 603800 h 795547"/>
              <a:gd name="connsiteX74" fmla="*/ 201720 w 857221"/>
              <a:gd name="connsiteY74" fmla="*/ 608657 h 795547"/>
              <a:gd name="connsiteX75" fmla="*/ 195777 w 857221"/>
              <a:gd name="connsiteY75" fmla="*/ 600780 h 795547"/>
              <a:gd name="connsiteX76" fmla="*/ 184537 w 857221"/>
              <a:gd name="connsiteY76" fmla="*/ 608581 h 795547"/>
              <a:gd name="connsiteX77" fmla="*/ 169936 w 857221"/>
              <a:gd name="connsiteY77" fmla="*/ 607219 h 795547"/>
              <a:gd name="connsiteX78" fmla="*/ 159220 w 857221"/>
              <a:gd name="connsiteY78" fmla="*/ 596351 h 795547"/>
              <a:gd name="connsiteX79" fmla="*/ 138598 w 857221"/>
              <a:gd name="connsiteY79" fmla="*/ 609372 h 795547"/>
              <a:gd name="connsiteX80" fmla="*/ 121177 w 857221"/>
              <a:gd name="connsiteY80" fmla="*/ 599580 h 795547"/>
              <a:gd name="connsiteX81" fmla="*/ 109099 w 857221"/>
              <a:gd name="connsiteY81" fmla="*/ 569176 h 795547"/>
              <a:gd name="connsiteX82" fmla="*/ 85477 w 857221"/>
              <a:gd name="connsiteY82" fmla="*/ 591455 h 795547"/>
              <a:gd name="connsiteX83" fmla="*/ 85477 w 857221"/>
              <a:gd name="connsiteY83" fmla="*/ 591455 h 795547"/>
              <a:gd name="connsiteX84" fmla="*/ 75171 w 857221"/>
              <a:gd name="connsiteY84" fmla="*/ 655949 h 795547"/>
              <a:gd name="connsiteX85" fmla="*/ 63760 w 857221"/>
              <a:gd name="connsiteY85" fmla="*/ 644538 h 795547"/>
              <a:gd name="connsiteX86" fmla="*/ 75171 w 857221"/>
              <a:gd name="connsiteY86" fmla="*/ 633127 h 795547"/>
              <a:gd name="connsiteX87" fmla="*/ 242440 w 857221"/>
              <a:gd name="connsiteY87" fmla="*/ 633127 h 795547"/>
              <a:gd name="connsiteX88" fmla="*/ 253851 w 857221"/>
              <a:gd name="connsiteY88" fmla="*/ 644538 h 795547"/>
              <a:gd name="connsiteX89" fmla="*/ 242440 w 857221"/>
              <a:gd name="connsiteY89" fmla="*/ 655949 h 795547"/>
              <a:gd name="connsiteX90" fmla="*/ 75162 w 857221"/>
              <a:gd name="connsiteY90" fmla="*/ 655949 h 795547"/>
              <a:gd name="connsiteX91" fmla="*/ 446656 w 857221"/>
              <a:gd name="connsiteY91" fmla="*/ 689296 h 795547"/>
              <a:gd name="connsiteX92" fmla="*/ 283283 w 857221"/>
              <a:gd name="connsiteY92" fmla="*/ 689296 h 795547"/>
              <a:gd name="connsiteX93" fmla="*/ 260509 w 857221"/>
              <a:gd name="connsiteY93" fmla="*/ 712070 h 795547"/>
              <a:gd name="connsiteX94" fmla="*/ 260509 w 857221"/>
              <a:gd name="connsiteY94" fmla="*/ 738512 h 795547"/>
              <a:gd name="connsiteX95" fmla="*/ 469421 w 857221"/>
              <a:gd name="connsiteY95" fmla="*/ 738512 h 795547"/>
              <a:gd name="connsiteX96" fmla="*/ 469421 w 857221"/>
              <a:gd name="connsiteY96" fmla="*/ 712070 h 795547"/>
              <a:gd name="connsiteX97" fmla="*/ 446646 w 857221"/>
              <a:gd name="connsiteY97" fmla="*/ 689296 h 795547"/>
              <a:gd name="connsiteX98" fmla="*/ 446646 w 857221"/>
              <a:gd name="connsiteY98" fmla="*/ 689296 h 795547"/>
              <a:gd name="connsiteX99" fmla="*/ 440522 w 857221"/>
              <a:gd name="connsiteY99" fmla="*/ 666484 h 795547"/>
              <a:gd name="connsiteX100" fmla="*/ 440522 w 857221"/>
              <a:gd name="connsiteY100" fmla="*/ 635813 h 795547"/>
              <a:gd name="connsiteX101" fmla="*/ 429149 w 857221"/>
              <a:gd name="connsiteY101" fmla="*/ 624440 h 795547"/>
              <a:gd name="connsiteX102" fmla="*/ 300800 w 857221"/>
              <a:gd name="connsiteY102" fmla="*/ 624440 h 795547"/>
              <a:gd name="connsiteX103" fmla="*/ 289427 w 857221"/>
              <a:gd name="connsiteY103" fmla="*/ 635813 h 795547"/>
              <a:gd name="connsiteX104" fmla="*/ 289427 w 857221"/>
              <a:gd name="connsiteY104" fmla="*/ 666484 h 795547"/>
              <a:gd name="connsiteX105" fmla="*/ 440531 w 857221"/>
              <a:gd name="connsiteY105" fmla="*/ 666484 h 795547"/>
              <a:gd name="connsiteX106" fmla="*/ 615553 w 857221"/>
              <a:gd name="connsiteY106" fmla="*/ 463896 h 795547"/>
              <a:gd name="connsiteX107" fmla="*/ 615553 w 857221"/>
              <a:gd name="connsiteY107" fmla="*/ 409271 h 795547"/>
              <a:gd name="connsiteX108" fmla="*/ 604590 w 857221"/>
              <a:gd name="connsiteY108" fmla="*/ 404756 h 795547"/>
              <a:gd name="connsiteX109" fmla="*/ 576358 w 857221"/>
              <a:gd name="connsiteY109" fmla="*/ 427168 h 795547"/>
              <a:gd name="connsiteX110" fmla="*/ 615553 w 857221"/>
              <a:gd name="connsiteY110" fmla="*/ 463887 h 795547"/>
              <a:gd name="connsiteX111" fmla="*/ 615553 w 857221"/>
              <a:gd name="connsiteY111" fmla="*/ 463887 h 795547"/>
              <a:gd name="connsiteX112" fmla="*/ 559289 w 857221"/>
              <a:gd name="connsiteY112" fmla="*/ 442370 h 795547"/>
              <a:gd name="connsiteX113" fmla="*/ 529876 w 857221"/>
              <a:gd name="connsiteY113" fmla="*/ 471926 h 795547"/>
              <a:gd name="connsiteX114" fmla="*/ 782869 w 857221"/>
              <a:gd name="connsiteY114" fmla="*/ 741941 h 795547"/>
              <a:gd name="connsiteX115" fmla="*/ 796700 w 857221"/>
              <a:gd name="connsiteY115" fmla="*/ 745627 h 795547"/>
              <a:gd name="connsiteX116" fmla="*/ 833057 w 857221"/>
              <a:gd name="connsiteY116" fmla="*/ 709270 h 795547"/>
              <a:gd name="connsiteX117" fmla="*/ 829370 w 857221"/>
              <a:gd name="connsiteY117" fmla="*/ 695440 h 795547"/>
              <a:gd name="connsiteX118" fmla="*/ 559279 w 857221"/>
              <a:gd name="connsiteY118" fmla="*/ 442379 h 795547"/>
              <a:gd name="connsiteX119" fmla="*/ 559279 w 857221"/>
              <a:gd name="connsiteY119" fmla="*/ 442379 h 795547"/>
              <a:gd name="connsiteX120" fmla="*/ 615553 w 857221"/>
              <a:gd name="connsiteY120" fmla="*/ 287379 h 795547"/>
              <a:gd name="connsiteX121" fmla="*/ 584578 w 857221"/>
              <a:gd name="connsiteY121" fmla="*/ 256404 h 795547"/>
              <a:gd name="connsiteX122" fmla="*/ 568443 w 857221"/>
              <a:gd name="connsiteY122" fmla="*/ 256404 h 795547"/>
              <a:gd name="connsiteX123" fmla="*/ 557794 w 857221"/>
              <a:gd name="connsiteY123" fmla="*/ 267053 h 795547"/>
              <a:gd name="connsiteX124" fmla="*/ 557794 w 857221"/>
              <a:gd name="connsiteY124" fmla="*/ 103394 h 795547"/>
              <a:gd name="connsiteX125" fmla="*/ 605219 w 857221"/>
              <a:gd name="connsiteY125" fmla="*/ 103394 h 795547"/>
              <a:gd name="connsiteX126" fmla="*/ 615544 w 857221"/>
              <a:gd name="connsiteY126" fmla="*/ 113719 h 795547"/>
              <a:gd name="connsiteX127" fmla="*/ 615544 w 857221"/>
              <a:gd name="connsiteY127" fmla="*/ 287379 h 795547"/>
              <a:gd name="connsiteX128" fmla="*/ 615544 w 857221"/>
              <a:gd name="connsiteY128" fmla="*/ 287379 h 795547"/>
              <a:gd name="connsiteX129" fmla="*/ 38957 w 857221"/>
              <a:gd name="connsiteY129" fmla="*/ 92260 h 795547"/>
              <a:gd name="connsiteX130" fmla="*/ 81944 w 857221"/>
              <a:gd name="connsiteY130" fmla="*/ 92260 h 795547"/>
              <a:gd name="connsiteX131" fmla="*/ 92269 w 857221"/>
              <a:gd name="connsiteY131" fmla="*/ 81934 h 795547"/>
              <a:gd name="connsiteX132" fmla="*/ 92269 w 857221"/>
              <a:gd name="connsiteY132" fmla="*/ 38948 h 795547"/>
              <a:gd name="connsiteX133" fmla="*/ 38957 w 857221"/>
              <a:gd name="connsiteY133" fmla="*/ 92260 h 795547"/>
              <a:gd name="connsiteX134" fmla="*/ 38957 w 857221"/>
              <a:gd name="connsiteY134" fmla="*/ 92260 h 795547"/>
              <a:gd name="connsiteX135" fmla="*/ 638366 w 857221"/>
              <a:gd name="connsiteY135" fmla="*/ 762334 h 795547"/>
              <a:gd name="connsiteX136" fmla="*/ 605219 w 857221"/>
              <a:gd name="connsiteY136" fmla="*/ 795547 h 795547"/>
              <a:gd name="connsiteX137" fmla="*/ 113719 w 857221"/>
              <a:gd name="connsiteY137" fmla="*/ 795547 h 795547"/>
              <a:gd name="connsiteX138" fmla="*/ 80572 w 857221"/>
              <a:gd name="connsiteY138" fmla="*/ 762400 h 795547"/>
              <a:gd name="connsiteX139" fmla="*/ 80572 w 857221"/>
              <a:gd name="connsiteY139" fmla="*/ 714976 h 795547"/>
              <a:gd name="connsiteX140" fmla="*/ 33147 w 857221"/>
              <a:gd name="connsiteY140" fmla="*/ 714976 h 795547"/>
              <a:gd name="connsiteX141" fmla="*/ 0 w 857221"/>
              <a:gd name="connsiteY141" fmla="*/ 681828 h 795547"/>
              <a:gd name="connsiteX142" fmla="*/ 0 w 857221"/>
              <a:gd name="connsiteY142" fmla="*/ 103661 h 795547"/>
              <a:gd name="connsiteX143" fmla="*/ 3410 w 857221"/>
              <a:gd name="connsiteY143" fmla="*/ 95527 h 795547"/>
              <a:gd name="connsiteX144" fmla="*/ 97155 w 857221"/>
              <a:gd name="connsiteY144" fmla="*/ 2039 h 795547"/>
              <a:gd name="connsiteX145" fmla="*/ 103813 w 857221"/>
              <a:gd name="connsiteY145" fmla="*/ 0 h 795547"/>
              <a:gd name="connsiteX146" fmla="*/ 524647 w 857221"/>
              <a:gd name="connsiteY146" fmla="*/ 0 h 795547"/>
              <a:gd name="connsiteX147" fmla="*/ 557794 w 857221"/>
              <a:gd name="connsiteY147" fmla="*/ 33147 h 795547"/>
              <a:gd name="connsiteX148" fmla="*/ 557794 w 857221"/>
              <a:gd name="connsiteY148" fmla="*/ 80572 h 795547"/>
              <a:gd name="connsiteX149" fmla="*/ 605219 w 857221"/>
              <a:gd name="connsiteY149" fmla="*/ 80572 h 795547"/>
              <a:gd name="connsiteX150" fmla="*/ 638366 w 857221"/>
              <a:gd name="connsiteY150" fmla="*/ 113719 h 795547"/>
              <a:gd name="connsiteX151" fmla="*/ 638366 w 857221"/>
              <a:gd name="connsiteY151" fmla="*/ 310192 h 795547"/>
              <a:gd name="connsiteX152" fmla="*/ 682381 w 857221"/>
              <a:gd name="connsiteY152" fmla="*/ 354207 h 795547"/>
              <a:gd name="connsiteX153" fmla="*/ 682381 w 857221"/>
              <a:gd name="connsiteY153" fmla="*/ 370342 h 795547"/>
              <a:gd name="connsiteX154" fmla="*/ 654101 w 857221"/>
              <a:gd name="connsiteY154" fmla="*/ 398622 h 795547"/>
              <a:gd name="connsiteX155" fmla="*/ 638366 w 857221"/>
              <a:gd name="connsiteY155" fmla="*/ 408366 h 795547"/>
              <a:gd name="connsiteX156" fmla="*/ 638366 w 857221"/>
              <a:gd name="connsiteY156" fmla="*/ 485271 h 795547"/>
              <a:gd name="connsiteX157" fmla="*/ 844972 w 857221"/>
              <a:gd name="connsiteY157" fmla="*/ 678847 h 795547"/>
              <a:gd name="connsiteX158" fmla="*/ 849192 w 857221"/>
              <a:gd name="connsiteY158" fmla="*/ 725386 h 795547"/>
              <a:gd name="connsiteX159" fmla="*/ 812835 w 857221"/>
              <a:gd name="connsiteY159" fmla="*/ 761743 h 795547"/>
              <a:gd name="connsiteX160" fmla="*/ 766296 w 857221"/>
              <a:gd name="connsiteY160" fmla="*/ 757524 h 795547"/>
              <a:gd name="connsiteX161" fmla="*/ 638366 w 857221"/>
              <a:gd name="connsiteY161" fmla="*/ 620992 h 795547"/>
              <a:gd name="connsiteX162" fmla="*/ 638366 w 857221"/>
              <a:gd name="connsiteY162" fmla="*/ 762334 h 795547"/>
              <a:gd name="connsiteX163" fmla="*/ 638366 w 857221"/>
              <a:gd name="connsiteY163" fmla="*/ 762334 h 795547"/>
              <a:gd name="connsiteX164" fmla="*/ 524647 w 857221"/>
              <a:gd name="connsiteY164" fmla="*/ 692163 h 795547"/>
              <a:gd name="connsiteX165" fmla="*/ 487651 w 857221"/>
              <a:gd name="connsiteY165" fmla="*/ 692163 h 795547"/>
              <a:gd name="connsiteX166" fmla="*/ 463334 w 857221"/>
              <a:gd name="connsiteY166" fmla="*/ 669636 h 795547"/>
              <a:gd name="connsiteX167" fmla="*/ 463334 w 857221"/>
              <a:gd name="connsiteY167" fmla="*/ 635804 h 795547"/>
              <a:gd name="connsiteX168" fmla="*/ 429139 w 857221"/>
              <a:gd name="connsiteY168" fmla="*/ 601609 h 795547"/>
              <a:gd name="connsiteX169" fmla="*/ 300790 w 857221"/>
              <a:gd name="connsiteY169" fmla="*/ 601609 h 795547"/>
              <a:gd name="connsiteX170" fmla="*/ 266595 w 857221"/>
              <a:gd name="connsiteY170" fmla="*/ 635804 h 795547"/>
              <a:gd name="connsiteX171" fmla="*/ 266595 w 857221"/>
              <a:gd name="connsiteY171" fmla="*/ 669636 h 795547"/>
              <a:gd name="connsiteX172" fmla="*/ 242278 w 857221"/>
              <a:gd name="connsiteY172" fmla="*/ 692163 h 795547"/>
              <a:gd name="connsiteX173" fmla="*/ 33147 w 857221"/>
              <a:gd name="connsiteY173" fmla="*/ 692163 h 795547"/>
              <a:gd name="connsiteX174" fmla="*/ 22822 w 857221"/>
              <a:gd name="connsiteY174" fmla="*/ 681838 h 795547"/>
              <a:gd name="connsiteX175" fmla="*/ 22822 w 857221"/>
              <a:gd name="connsiteY175" fmla="*/ 115072 h 795547"/>
              <a:gd name="connsiteX176" fmla="*/ 81934 w 857221"/>
              <a:gd name="connsiteY176" fmla="*/ 115072 h 795547"/>
              <a:gd name="connsiteX177" fmla="*/ 115081 w 857221"/>
              <a:gd name="connsiteY177" fmla="*/ 81925 h 795547"/>
              <a:gd name="connsiteX178" fmla="*/ 115081 w 857221"/>
              <a:gd name="connsiteY178" fmla="*/ 22813 h 795547"/>
              <a:gd name="connsiteX179" fmla="*/ 524647 w 857221"/>
              <a:gd name="connsiteY179" fmla="*/ 22813 h 795547"/>
              <a:gd name="connsiteX180" fmla="*/ 534972 w 857221"/>
              <a:gd name="connsiteY180" fmla="*/ 33138 h 795547"/>
              <a:gd name="connsiteX181" fmla="*/ 534972 w 857221"/>
              <a:gd name="connsiteY181" fmla="*/ 291027 h 795547"/>
              <a:gd name="connsiteX182" fmla="*/ 528304 w 857221"/>
              <a:gd name="connsiteY182" fmla="*/ 313363 h 795547"/>
              <a:gd name="connsiteX183" fmla="*/ 534019 w 857221"/>
              <a:gd name="connsiteY183" fmla="*/ 334185 h 795547"/>
              <a:gd name="connsiteX184" fmla="*/ 421548 w 857221"/>
              <a:gd name="connsiteY184" fmla="*/ 446532 h 795547"/>
              <a:gd name="connsiteX185" fmla="*/ 372113 w 857221"/>
              <a:gd name="connsiteY185" fmla="*/ 452714 h 795547"/>
              <a:gd name="connsiteX186" fmla="*/ 343833 w 857221"/>
              <a:gd name="connsiteY186" fmla="*/ 480994 h 795547"/>
              <a:gd name="connsiteX187" fmla="*/ 343833 w 857221"/>
              <a:gd name="connsiteY187" fmla="*/ 497129 h 795547"/>
              <a:gd name="connsiteX188" fmla="*/ 441646 w 857221"/>
              <a:gd name="connsiteY188" fmla="*/ 594941 h 795547"/>
              <a:gd name="connsiteX189" fmla="*/ 457781 w 857221"/>
              <a:gd name="connsiteY189" fmla="*/ 594941 h 795547"/>
              <a:gd name="connsiteX190" fmla="*/ 486061 w 857221"/>
              <a:gd name="connsiteY190" fmla="*/ 566662 h 795547"/>
              <a:gd name="connsiteX191" fmla="*/ 492242 w 857221"/>
              <a:gd name="connsiteY191" fmla="*/ 517227 h 795547"/>
              <a:gd name="connsiteX192" fmla="*/ 514722 w 857221"/>
              <a:gd name="connsiteY192" fmla="*/ 489042 h 795547"/>
              <a:gd name="connsiteX193" fmla="*/ 534972 w 857221"/>
              <a:gd name="connsiteY193" fmla="*/ 510655 h 795547"/>
              <a:gd name="connsiteX194" fmla="*/ 534972 w 857221"/>
              <a:gd name="connsiteY194" fmla="*/ 681838 h 795547"/>
              <a:gd name="connsiteX195" fmla="*/ 524647 w 857221"/>
              <a:gd name="connsiteY195" fmla="*/ 692163 h 795547"/>
              <a:gd name="connsiteX196" fmla="*/ 524647 w 857221"/>
              <a:gd name="connsiteY196" fmla="*/ 692163 h 795547"/>
              <a:gd name="connsiteX197" fmla="*/ 557794 w 857221"/>
              <a:gd name="connsiteY197" fmla="*/ 598037 h 795547"/>
              <a:gd name="connsiteX198" fmla="*/ 557794 w 857221"/>
              <a:gd name="connsiteY198" fmla="*/ 535001 h 795547"/>
              <a:gd name="connsiteX199" fmla="*/ 615553 w 857221"/>
              <a:gd name="connsiteY199" fmla="*/ 596646 h 795547"/>
              <a:gd name="connsiteX200" fmla="*/ 615553 w 857221"/>
              <a:gd name="connsiteY200" fmla="*/ 762410 h 795547"/>
              <a:gd name="connsiteX201" fmla="*/ 605228 w 857221"/>
              <a:gd name="connsiteY201" fmla="*/ 772735 h 795547"/>
              <a:gd name="connsiteX202" fmla="*/ 113719 w 857221"/>
              <a:gd name="connsiteY202" fmla="*/ 772735 h 795547"/>
              <a:gd name="connsiteX203" fmla="*/ 103394 w 857221"/>
              <a:gd name="connsiteY203" fmla="*/ 762410 h 795547"/>
              <a:gd name="connsiteX204" fmla="*/ 103394 w 857221"/>
              <a:gd name="connsiteY204" fmla="*/ 714985 h 795547"/>
              <a:gd name="connsiteX205" fmla="*/ 237687 w 857221"/>
              <a:gd name="connsiteY205" fmla="*/ 714985 h 795547"/>
              <a:gd name="connsiteX206" fmla="*/ 237687 w 857221"/>
              <a:gd name="connsiteY206" fmla="*/ 749913 h 795547"/>
              <a:gd name="connsiteX207" fmla="*/ 249098 w 857221"/>
              <a:gd name="connsiteY207" fmla="*/ 761324 h 795547"/>
              <a:gd name="connsiteX208" fmla="*/ 480822 w 857221"/>
              <a:gd name="connsiteY208" fmla="*/ 761324 h 795547"/>
              <a:gd name="connsiteX209" fmla="*/ 492233 w 857221"/>
              <a:gd name="connsiteY209" fmla="*/ 749913 h 795547"/>
              <a:gd name="connsiteX210" fmla="*/ 492233 w 857221"/>
              <a:gd name="connsiteY210" fmla="*/ 714985 h 795547"/>
              <a:gd name="connsiteX211" fmla="*/ 524647 w 857221"/>
              <a:gd name="connsiteY211" fmla="*/ 714985 h 795547"/>
              <a:gd name="connsiteX212" fmla="*/ 557794 w 857221"/>
              <a:gd name="connsiteY212" fmla="*/ 681838 h 795547"/>
              <a:gd name="connsiteX213" fmla="*/ 557794 w 857221"/>
              <a:gd name="connsiteY213" fmla="*/ 598037 h 795547"/>
              <a:gd name="connsiteX214" fmla="*/ 557794 w 857221"/>
              <a:gd name="connsiteY214" fmla="*/ 598037 h 795547"/>
              <a:gd name="connsiteX215" fmla="*/ 296618 w 857221"/>
              <a:gd name="connsiteY215" fmla="*/ 161249 h 795547"/>
              <a:gd name="connsiteX216" fmla="*/ 486566 w 857221"/>
              <a:gd name="connsiteY216" fmla="*/ 161249 h 795547"/>
              <a:gd name="connsiteX217" fmla="*/ 497977 w 857221"/>
              <a:gd name="connsiteY217" fmla="*/ 149838 h 795547"/>
              <a:gd name="connsiteX218" fmla="*/ 486566 w 857221"/>
              <a:gd name="connsiteY218" fmla="*/ 138427 h 795547"/>
              <a:gd name="connsiteX219" fmla="*/ 296618 w 857221"/>
              <a:gd name="connsiteY219" fmla="*/ 138427 h 795547"/>
              <a:gd name="connsiteX220" fmla="*/ 285207 w 857221"/>
              <a:gd name="connsiteY220" fmla="*/ 149838 h 795547"/>
              <a:gd name="connsiteX221" fmla="*/ 296618 w 857221"/>
              <a:gd name="connsiteY221" fmla="*/ 161249 h 795547"/>
              <a:gd name="connsiteX222" fmla="*/ 296618 w 857221"/>
              <a:gd name="connsiteY222" fmla="*/ 161249 h 795547"/>
              <a:gd name="connsiteX223" fmla="*/ 296618 w 857221"/>
              <a:gd name="connsiteY223" fmla="*/ 286274 h 795547"/>
              <a:gd name="connsiteX224" fmla="*/ 448742 w 857221"/>
              <a:gd name="connsiteY224" fmla="*/ 286274 h 795547"/>
              <a:gd name="connsiteX225" fmla="*/ 460153 w 857221"/>
              <a:gd name="connsiteY225" fmla="*/ 274863 h 795547"/>
              <a:gd name="connsiteX226" fmla="*/ 448742 w 857221"/>
              <a:gd name="connsiteY226" fmla="*/ 263452 h 795547"/>
              <a:gd name="connsiteX227" fmla="*/ 296618 w 857221"/>
              <a:gd name="connsiteY227" fmla="*/ 263452 h 795547"/>
              <a:gd name="connsiteX228" fmla="*/ 285207 w 857221"/>
              <a:gd name="connsiteY228" fmla="*/ 274863 h 795547"/>
              <a:gd name="connsiteX229" fmla="*/ 296618 w 857221"/>
              <a:gd name="connsiteY229" fmla="*/ 286274 h 795547"/>
              <a:gd name="connsiteX230" fmla="*/ 296618 w 857221"/>
              <a:gd name="connsiteY230" fmla="*/ 286274 h 795547"/>
              <a:gd name="connsiteX231" fmla="*/ 75162 w 857221"/>
              <a:gd name="connsiteY231" fmla="*/ 411299 h 795547"/>
              <a:gd name="connsiteX232" fmla="*/ 386258 w 857221"/>
              <a:gd name="connsiteY232" fmla="*/ 411299 h 795547"/>
              <a:gd name="connsiteX233" fmla="*/ 397669 w 857221"/>
              <a:gd name="connsiteY233" fmla="*/ 399888 h 795547"/>
              <a:gd name="connsiteX234" fmla="*/ 386258 w 857221"/>
              <a:gd name="connsiteY234" fmla="*/ 388478 h 795547"/>
              <a:gd name="connsiteX235" fmla="*/ 75162 w 857221"/>
              <a:gd name="connsiteY235" fmla="*/ 388478 h 795547"/>
              <a:gd name="connsiteX236" fmla="*/ 63751 w 857221"/>
              <a:gd name="connsiteY236" fmla="*/ 399888 h 795547"/>
              <a:gd name="connsiteX237" fmla="*/ 75162 w 857221"/>
              <a:gd name="connsiteY237" fmla="*/ 411299 h 795547"/>
              <a:gd name="connsiteX238" fmla="*/ 75162 w 857221"/>
              <a:gd name="connsiteY238" fmla="*/ 411299 h 795547"/>
              <a:gd name="connsiteX239" fmla="*/ 75162 w 857221"/>
              <a:gd name="connsiteY239" fmla="*/ 509902 h 795547"/>
              <a:gd name="connsiteX240" fmla="*/ 301542 w 857221"/>
              <a:gd name="connsiteY240" fmla="*/ 509902 h 795547"/>
              <a:gd name="connsiteX241" fmla="*/ 312953 w 857221"/>
              <a:gd name="connsiteY241" fmla="*/ 498491 h 795547"/>
              <a:gd name="connsiteX242" fmla="*/ 301542 w 857221"/>
              <a:gd name="connsiteY242" fmla="*/ 487080 h 795547"/>
              <a:gd name="connsiteX243" fmla="*/ 75162 w 857221"/>
              <a:gd name="connsiteY243" fmla="*/ 487080 h 795547"/>
              <a:gd name="connsiteX244" fmla="*/ 63751 w 857221"/>
              <a:gd name="connsiteY244" fmla="*/ 498491 h 795547"/>
              <a:gd name="connsiteX245" fmla="*/ 75162 w 857221"/>
              <a:gd name="connsiteY245" fmla="*/ 509902 h 795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</a:cxnLst>
            <a:rect l="l" t="t" r="r" b="b"/>
            <a:pathLst>
              <a:path w="857221" h="795547">
                <a:moveTo>
                  <a:pt x="556289" y="325927"/>
                </a:moveTo>
                <a:lnTo>
                  <a:pt x="612848" y="382486"/>
                </a:lnTo>
                <a:cubicBezTo>
                  <a:pt x="619744" y="389382"/>
                  <a:pt x="631088" y="389363"/>
                  <a:pt x="637965" y="382486"/>
                </a:cubicBezTo>
                <a:lnTo>
                  <a:pt x="658178" y="362274"/>
                </a:lnTo>
                <a:lnTo>
                  <a:pt x="576501" y="280597"/>
                </a:lnTo>
                <a:lnTo>
                  <a:pt x="555174" y="302029"/>
                </a:lnTo>
                <a:cubicBezTo>
                  <a:pt x="549383" y="308963"/>
                  <a:pt x="549831" y="319478"/>
                  <a:pt x="556279" y="325927"/>
                </a:cubicBezTo>
                <a:lnTo>
                  <a:pt x="556279" y="325927"/>
                </a:lnTo>
                <a:close/>
                <a:moveTo>
                  <a:pt x="469935" y="525409"/>
                </a:moveTo>
                <a:lnTo>
                  <a:pt x="413376" y="468849"/>
                </a:lnTo>
                <a:cubicBezTo>
                  <a:pt x="406489" y="461963"/>
                  <a:pt x="395145" y="461963"/>
                  <a:pt x="388258" y="468849"/>
                </a:cubicBezTo>
                <a:lnTo>
                  <a:pt x="368046" y="489062"/>
                </a:lnTo>
                <a:lnTo>
                  <a:pt x="449723" y="570738"/>
                </a:lnTo>
                <a:lnTo>
                  <a:pt x="469935" y="550526"/>
                </a:lnTo>
                <a:cubicBezTo>
                  <a:pt x="476822" y="543640"/>
                  <a:pt x="476822" y="532296"/>
                  <a:pt x="469935" y="525409"/>
                </a:cubicBezTo>
                <a:lnTo>
                  <a:pt x="469935" y="525409"/>
                </a:lnTo>
                <a:close/>
                <a:moveTo>
                  <a:pt x="438836" y="462039"/>
                </a:moveTo>
                <a:cubicBezTo>
                  <a:pt x="481051" y="429959"/>
                  <a:pt x="518017" y="393440"/>
                  <a:pt x="549554" y="351444"/>
                </a:cubicBezTo>
                <a:lnTo>
                  <a:pt x="587340" y="389230"/>
                </a:lnTo>
                <a:cubicBezTo>
                  <a:pt x="545335" y="420767"/>
                  <a:pt x="508826" y="457724"/>
                  <a:pt x="476745" y="499949"/>
                </a:cubicBezTo>
                <a:lnTo>
                  <a:pt x="438836" y="462049"/>
                </a:lnTo>
                <a:lnTo>
                  <a:pt x="438836" y="462049"/>
                </a:lnTo>
                <a:close/>
                <a:moveTo>
                  <a:pt x="156696" y="166593"/>
                </a:moveTo>
                <a:cubicBezTo>
                  <a:pt x="156696" y="160297"/>
                  <a:pt x="161801" y="155182"/>
                  <a:pt x="168107" y="155182"/>
                </a:cubicBezTo>
                <a:cubicBezTo>
                  <a:pt x="174412" y="155182"/>
                  <a:pt x="179518" y="160287"/>
                  <a:pt x="179518" y="166593"/>
                </a:cubicBezTo>
                <a:lnTo>
                  <a:pt x="179518" y="168936"/>
                </a:lnTo>
                <a:cubicBezTo>
                  <a:pt x="193758" y="173594"/>
                  <a:pt x="204073" y="186662"/>
                  <a:pt x="204073" y="202073"/>
                </a:cubicBezTo>
                <a:cubicBezTo>
                  <a:pt x="204073" y="208369"/>
                  <a:pt x="198968" y="213484"/>
                  <a:pt x="192662" y="213484"/>
                </a:cubicBezTo>
                <a:cubicBezTo>
                  <a:pt x="186357" y="213484"/>
                  <a:pt x="181251" y="208379"/>
                  <a:pt x="181251" y="202073"/>
                </a:cubicBezTo>
                <a:cubicBezTo>
                  <a:pt x="181251" y="191015"/>
                  <a:pt x="166668" y="185919"/>
                  <a:pt x="158620" y="193634"/>
                </a:cubicBezTo>
                <a:cubicBezTo>
                  <a:pt x="150714" y="201216"/>
                  <a:pt x="156324" y="214208"/>
                  <a:pt x="168097" y="214208"/>
                </a:cubicBezTo>
                <a:cubicBezTo>
                  <a:pt x="199930" y="214208"/>
                  <a:pt x="216313" y="251994"/>
                  <a:pt x="193348" y="273997"/>
                </a:cubicBezTo>
                <a:cubicBezTo>
                  <a:pt x="189481" y="277702"/>
                  <a:pt x="184756" y="280569"/>
                  <a:pt x="179499" y="282293"/>
                </a:cubicBezTo>
                <a:lnTo>
                  <a:pt x="179499" y="284636"/>
                </a:lnTo>
                <a:cubicBezTo>
                  <a:pt x="179499" y="290932"/>
                  <a:pt x="174393" y="296047"/>
                  <a:pt x="168088" y="296047"/>
                </a:cubicBezTo>
                <a:cubicBezTo>
                  <a:pt x="161782" y="296047"/>
                  <a:pt x="156677" y="290942"/>
                  <a:pt x="156677" y="284636"/>
                </a:cubicBezTo>
                <a:lnTo>
                  <a:pt x="156677" y="282293"/>
                </a:lnTo>
                <a:cubicBezTo>
                  <a:pt x="142437" y="277635"/>
                  <a:pt x="132121" y="264567"/>
                  <a:pt x="132121" y="249155"/>
                </a:cubicBezTo>
                <a:cubicBezTo>
                  <a:pt x="132121" y="242859"/>
                  <a:pt x="137227" y="237744"/>
                  <a:pt x="143532" y="237744"/>
                </a:cubicBezTo>
                <a:cubicBezTo>
                  <a:pt x="149838" y="237744"/>
                  <a:pt x="154943" y="242850"/>
                  <a:pt x="154943" y="249155"/>
                </a:cubicBezTo>
                <a:cubicBezTo>
                  <a:pt x="154943" y="260214"/>
                  <a:pt x="169526" y="265310"/>
                  <a:pt x="177575" y="257594"/>
                </a:cubicBezTo>
                <a:cubicBezTo>
                  <a:pt x="185480" y="250022"/>
                  <a:pt x="179880" y="237020"/>
                  <a:pt x="168097" y="237020"/>
                </a:cubicBezTo>
                <a:cubicBezTo>
                  <a:pt x="136265" y="237020"/>
                  <a:pt x="119882" y="199244"/>
                  <a:pt x="142846" y="177232"/>
                </a:cubicBezTo>
                <a:cubicBezTo>
                  <a:pt x="146714" y="173527"/>
                  <a:pt x="151438" y="170660"/>
                  <a:pt x="156696" y="168936"/>
                </a:cubicBezTo>
                <a:lnTo>
                  <a:pt x="156696" y="166593"/>
                </a:lnTo>
                <a:lnTo>
                  <a:pt x="156696" y="166593"/>
                </a:lnTo>
                <a:close/>
                <a:moveTo>
                  <a:pt x="226076" y="167631"/>
                </a:moveTo>
                <a:cubicBezTo>
                  <a:pt x="194062" y="135617"/>
                  <a:pt x="142151" y="135617"/>
                  <a:pt x="110128" y="167631"/>
                </a:cubicBezTo>
                <a:cubicBezTo>
                  <a:pt x="78115" y="199644"/>
                  <a:pt x="78115" y="251556"/>
                  <a:pt x="110128" y="283579"/>
                </a:cubicBezTo>
                <a:cubicBezTo>
                  <a:pt x="142142" y="315592"/>
                  <a:pt x="194053" y="315592"/>
                  <a:pt x="226076" y="283579"/>
                </a:cubicBezTo>
                <a:cubicBezTo>
                  <a:pt x="258089" y="251565"/>
                  <a:pt x="258089" y="199654"/>
                  <a:pt x="226076" y="167631"/>
                </a:cubicBezTo>
                <a:lnTo>
                  <a:pt x="226076" y="167631"/>
                </a:lnTo>
                <a:close/>
                <a:moveTo>
                  <a:pt x="168107" y="120806"/>
                </a:moveTo>
                <a:cubicBezTo>
                  <a:pt x="110233" y="120806"/>
                  <a:pt x="63303" y="167726"/>
                  <a:pt x="63303" y="225600"/>
                </a:cubicBezTo>
                <a:cubicBezTo>
                  <a:pt x="63303" y="283474"/>
                  <a:pt x="110223" y="330404"/>
                  <a:pt x="168107" y="330404"/>
                </a:cubicBezTo>
                <a:cubicBezTo>
                  <a:pt x="225990" y="330404"/>
                  <a:pt x="272910" y="283483"/>
                  <a:pt x="272910" y="225600"/>
                </a:cubicBezTo>
                <a:cubicBezTo>
                  <a:pt x="272910" y="167717"/>
                  <a:pt x="225990" y="120806"/>
                  <a:pt x="168107" y="120806"/>
                </a:cubicBezTo>
                <a:lnTo>
                  <a:pt x="168107" y="120806"/>
                </a:lnTo>
                <a:close/>
                <a:moveTo>
                  <a:pt x="85468" y="591436"/>
                </a:moveTo>
                <a:cubicBezTo>
                  <a:pt x="82763" y="597123"/>
                  <a:pt x="75952" y="599532"/>
                  <a:pt x="70275" y="596827"/>
                </a:cubicBezTo>
                <a:cubicBezTo>
                  <a:pt x="64599" y="594122"/>
                  <a:pt x="62179" y="587312"/>
                  <a:pt x="64884" y="581635"/>
                </a:cubicBezTo>
                <a:cubicBezTo>
                  <a:pt x="89183" y="530629"/>
                  <a:pt x="132617" y="538449"/>
                  <a:pt x="142037" y="580273"/>
                </a:cubicBezTo>
                <a:lnTo>
                  <a:pt x="154829" y="572186"/>
                </a:lnTo>
                <a:cubicBezTo>
                  <a:pt x="159487" y="569252"/>
                  <a:pt x="165440" y="570110"/>
                  <a:pt x="169107" y="573939"/>
                </a:cubicBezTo>
                <a:lnTo>
                  <a:pt x="179403" y="584388"/>
                </a:lnTo>
                <a:lnTo>
                  <a:pt x="191767" y="575787"/>
                </a:lnTo>
                <a:cubicBezTo>
                  <a:pt x="195634" y="573101"/>
                  <a:pt x="200577" y="573139"/>
                  <a:pt x="204330" y="575491"/>
                </a:cubicBezTo>
                <a:lnTo>
                  <a:pt x="207312" y="560166"/>
                </a:lnTo>
                <a:cubicBezTo>
                  <a:pt x="209321" y="549755"/>
                  <a:pt x="223180" y="547564"/>
                  <a:pt x="228381" y="556651"/>
                </a:cubicBezTo>
                <a:lnTo>
                  <a:pt x="252355" y="598437"/>
                </a:lnTo>
                <a:cubicBezTo>
                  <a:pt x="255480" y="603904"/>
                  <a:pt x="253584" y="610867"/>
                  <a:pt x="248126" y="613991"/>
                </a:cubicBezTo>
                <a:cubicBezTo>
                  <a:pt x="242659" y="617116"/>
                  <a:pt x="235696" y="615220"/>
                  <a:pt x="232572" y="609762"/>
                </a:cubicBezTo>
                <a:lnTo>
                  <a:pt x="223828" y="594522"/>
                </a:lnTo>
                <a:lnTo>
                  <a:pt x="222018" y="603800"/>
                </a:lnTo>
                <a:cubicBezTo>
                  <a:pt x="220180" y="613677"/>
                  <a:pt x="207626" y="616496"/>
                  <a:pt x="201720" y="608657"/>
                </a:cubicBezTo>
                <a:lnTo>
                  <a:pt x="195777" y="600780"/>
                </a:lnTo>
                <a:lnTo>
                  <a:pt x="184537" y="608581"/>
                </a:lnTo>
                <a:cubicBezTo>
                  <a:pt x="180070" y="611696"/>
                  <a:pt x="173879" y="611229"/>
                  <a:pt x="169936" y="607219"/>
                </a:cubicBezTo>
                <a:lnTo>
                  <a:pt x="159220" y="596351"/>
                </a:lnTo>
                <a:lnTo>
                  <a:pt x="138598" y="609372"/>
                </a:lnTo>
                <a:cubicBezTo>
                  <a:pt x="131035" y="614144"/>
                  <a:pt x="121025" y="608619"/>
                  <a:pt x="121177" y="599580"/>
                </a:cubicBezTo>
                <a:cubicBezTo>
                  <a:pt x="121396" y="586788"/>
                  <a:pt x="117681" y="571367"/>
                  <a:pt x="109099" y="569176"/>
                </a:cubicBezTo>
                <a:cubicBezTo>
                  <a:pt x="100746" y="567052"/>
                  <a:pt x="91059" y="579739"/>
                  <a:pt x="85477" y="591455"/>
                </a:cubicBezTo>
                <a:lnTo>
                  <a:pt x="85477" y="591455"/>
                </a:lnTo>
                <a:close/>
                <a:moveTo>
                  <a:pt x="75171" y="655949"/>
                </a:moveTo>
                <a:cubicBezTo>
                  <a:pt x="68875" y="655949"/>
                  <a:pt x="63760" y="650844"/>
                  <a:pt x="63760" y="644538"/>
                </a:cubicBezTo>
                <a:cubicBezTo>
                  <a:pt x="63760" y="638233"/>
                  <a:pt x="68866" y="633127"/>
                  <a:pt x="75171" y="633127"/>
                </a:cubicBezTo>
                <a:lnTo>
                  <a:pt x="242440" y="633127"/>
                </a:lnTo>
                <a:cubicBezTo>
                  <a:pt x="248736" y="633127"/>
                  <a:pt x="253851" y="638233"/>
                  <a:pt x="253851" y="644538"/>
                </a:cubicBezTo>
                <a:cubicBezTo>
                  <a:pt x="253851" y="650844"/>
                  <a:pt x="248745" y="655949"/>
                  <a:pt x="242440" y="655949"/>
                </a:cubicBezTo>
                <a:lnTo>
                  <a:pt x="75162" y="655949"/>
                </a:lnTo>
                <a:close/>
                <a:moveTo>
                  <a:pt x="446656" y="689296"/>
                </a:moveTo>
                <a:lnTo>
                  <a:pt x="283283" y="689296"/>
                </a:lnTo>
                <a:cubicBezTo>
                  <a:pt x="270624" y="689296"/>
                  <a:pt x="260509" y="699669"/>
                  <a:pt x="260509" y="712070"/>
                </a:cubicBezTo>
                <a:lnTo>
                  <a:pt x="260509" y="738512"/>
                </a:lnTo>
                <a:lnTo>
                  <a:pt x="469421" y="738512"/>
                </a:lnTo>
                <a:lnTo>
                  <a:pt x="469421" y="712070"/>
                </a:lnTo>
                <a:cubicBezTo>
                  <a:pt x="469421" y="699545"/>
                  <a:pt x="459181" y="689296"/>
                  <a:pt x="446646" y="689296"/>
                </a:cubicBezTo>
                <a:lnTo>
                  <a:pt x="446646" y="689296"/>
                </a:lnTo>
                <a:close/>
                <a:moveTo>
                  <a:pt x="440522" y="666484"/>
                </a:moveTo>
                <a:lnTo>
                  <a:pt x="440522" y="635813"/>
                </a:lnTo>
                <a:cubicBezTo>
                  <a:pt x="440522" y="629565"/>
                  <a:pt x="435397" y="624440"/>
                  <a:pt x="429149" y="624440"/>
                </a:cubicBezTo>
                <a:lnTo>
                  <a:pt x="300800" y="624440"/>
                </a:lnTo>
                <a:cubicBezTo>
                  <a:pt x="294551" y="624440"/>
                  <a:pt x="289427" y="629565"/>
                  <a:pt x="289427" y="635813"/>
                </a:cubicBezTo>
                <a:lnTo>
                  <a:pt x="289427" y="666484"/>
                </a:lnTo>
                <a:lnTo>
                  <a:pt x="440531" y="666484"/>
                </a:lnTo>
                <a:close/>
                <a:moveTo>
                  <a:pt x="615553" y="463896"/>
                </a:moveTo>
                <a:lnTo>
                  <a:pt x="615553" y="409271"/>
                </a:lnTo>
                <a:cubicBezTo>
                  <a:pt x="611743" y="408328"/>
                  <a:pt x="608047" y="406823"/>
                  <a:pt x="604590" y="404756"/>
                </a:cubicBezTo>
                <a:cubicBezTo>
                  <a:pt x="594960" y="411861"/>
                  <a:pt x="585549" y="419339"/>
                  <a:pt x="576358" y="427168"/>
                </a:cubicBezTo>
                <a:lnTo>
                  <a:pt x="615553" y="463887"/>
                </a:lnTo>
                <a:lnTo>
                  <a:pt x="615553" y="463887"/>
                </a:lnTo>
                <a:close/>
                <a:moveTo>
                  <a:pt x="559289" y="442370"/>
                </a:moveTo>
                <a:cubicBezTo>
                  <a:pt x="549126" y="451828"/>
                  <a:pt x="539315" y="461687"/>
                  <a:pt x="529876" y="471926"/>
                </a:cubicBezTo>
                <a:cubicBezTo>
                  <a:pt x="614210" y="561928"/>
                  <a:pt x="698535" y="651939"/>
                  <a:pt x="782869" y="741941"/>
                </a:cubicBezTo>
                <a:cubicBezTo>
                  <a:pt x="786403" y="745713"/>
                  <a:pt x="793232" y="749094"/>
                  <a:pt x="796700" y="745627"/>
                </a:cubicBezTo>
                <a:lnTo>
                  <a:pt x="833057" y="709270"/>
                </a:lnTo>
                <a:cubicBezTo>
                  <a:pt x="836524" y="705803"/>
                  <a:pt x="833133" y="698964"/>
                  <a:pt x="829370" y="695440"/>
                </a:cubicBezTo>
                <a:cubicBezTo>
                  <a:pt x="739340" y="611086"/>
                  <a:pt x="649310" y="526733"/>
                  <a:pt x="559279" y="442379"/>
                </a:cubicBezTo>
                <a:lnTo>
                  <a:pt x="559279" y="442379"/>
                </a:lnTo>
                <a:close/>
                <a:moveTo>
                  <a:pt x="615553" y="287379"/>
                </a:moveTo>
                <a:lnTo>
                  <a:pt x="584578" y="256404"/>
                </a:lnTo>
                <a:cubicBezTo>
                  <a:pt x="580120" y="251946"/>
                  <a:pt x="572900" y="251946"/>
                  <a:pt x="568443" y="256404"/>
                </a:cubicBezTo>
                <a:lnTo>
                  <a:pt x="557794" y="267053"/>
                </a:lnTo>
                <a:lnTo>
                  <a:pt x="557794" y="103394"/>
                </a:lnTo>
                <a:lnTo>
                  <a:pt x="605219" y="103394"/>
                </a:lnTo>
                <a:cubicBezTo>
                  <a:pt x="610895" y="103394"/>
                  <a:pt x="615544" y="108052"/>
                  <a:pt x="615544" y="113719"/>
                </a:cubicBezTo>
                <a:lnTo>
                  <a:pt x="615544" y="287379"/>
                </a:lnTo>
                <a:lnTo>
                  <a:pt x="615544" y="287379"/>
                </a:lnTo>
                <a:close/>
                <a:moveTo>
                  <a:pt x="38957" y="92260"/>
                </a:moveTo>
                <a:lnTo>
                  <a:pt x="81944" y="92260"/>
                </a:lnTo>
                <a:cubicBezTo>
                  <a:pt x="87620" y="92260"/>
                  <a:pt x="92269" y="87602"/>
                  <a:pt x="92269" y="81934"/>
                </a:cubicBezTo>
                <a:lnTo>
                  <a:pt x="92269" y="38948"/>
                </a:lnTo>
                <a:lnTo>
                  <a:pt x="38957" y="92260"/>
                </a:lnTo>
                <a:lnTo>
                  <a:pt x="38957" y="92260"/>
                </a:lnTo>
                <a:close/>
                <a:moveTo>
                  <a:pt x="638366" y="762334"/>
                </a:moveTo>
                <a:cubicBezTo>
                  <a:pt x="638594" y="780298"/>
                  <a:pt x="623630" y="795547"/>
                  <a:pt x="605219" y="795547"/>
                </a:cubicBezTo>
                <a:lnTo>
                  <a:pt x="113719" y="795547"/>
                </a:lnTo>
                <a:cubicBezTo>
                  <a:pt x="95450" y="795547"/>
                  <a:pt x="80572" y="780669"/>
                  <a:pt x="80572" y="762400"/>
                </a:cubicBezTo>
                <a:lnTo>
                  <a:pt x="80572" y="714976"/>
                </a:lnTo>
                <a:lnTo>
                  <a:pt x="33147" y="714976"/>
                </a:lnTo>
                <a:cubicBezTo>
                  <a:pt x="14878" y="714976"/>
                  <a:pt x="0" y="700097"/>
                  <a:pt x="0" y="681828"/>
                </a:cubicBezTo>
                <a:lnTo>
                  <a:pt x="0" y="103661"/>
                </a:lnTo>
                <a:cubicBezTo>
                  <a:pt x="0" y="100537"/>
                  <a:pt x="1229" y="97708"/>
                  <a:pt x="3410" y="95527"/>
                </a:cubicBezTo>
                <a:cubicBezTo>
                  <a:pt x="12840" y="86097"/>
                  <a:pt x="94888" y="3620"/>
                  <a:pt x="97155" y="2039"/>
                </a:cubicBezTo>
                <a:cubicBezTo>
                  <a:pt x="99098" y="677"/>
                  <a:pt x="101356" y="-19"/>
                  <a:pt x="103813" y="0"/>
                </a:cubicBezTo>
                <a:lnTo>
                  <a:pt x="524647" y="0"/>
                </a:lnTo>
                <a:cubicBezTo>
                  <a:pt x="542916" y="0"/>
                  <a:pt x="557794" y="14878"/>
                  <a:pt x="557794" y="33147"/>
                </a:cubicBezTo>
                <a:lnTo>
                  <a:pt x="557794" y="80572"/>
                </a:lnTo>
                <a:lnTo>
                  <a:pt x="605219" y="80572"/>
                </a:lnTo>
                <a:cubicBezTo>
                  <a:pt x="623487" y="80572"/>
                  <a:pt x="638366" y="95450"/>
                  <a:pt x="638366" y="113719"/>
                </a:cubicBezTo>
                <a:lnTo>
                  <a:pt x="638366" y="310192"/>
                </a:lnTo>
                <a:lnTo>
                  <a:pt x="682381" y="354207"/>
                </a:lnTo>
                <a:cubicBezTo>
                  <a:pt x="686838" y="358664"/>
                  <a:pt x="686838" y="365884"/>
                  <a:pt x="682381" y="370342"/>
                </a:cubicBezTo>
                <a:lnTo>
                  <a:pt x="654101" y="398622"/>
                </a:lnTo>
                <a:cubicBezTo>
                  <a:pt x="649529" y="403194"/>
                  <a:pt x="644128" y="406442"/>
                  <a:pt x="638366" y="408366"/>
                </a:cubicBezTo>
                <a:lnTo>
                  <a:pt x="638366" y="485271"/>
                </a:lnTo>
                <a:lnTo>
                  <a:pt x="844972" y="678847"/>
                </a:lnTo>
                <a:cubicBezTo>
                  <a:pt x="858412" y="691439"/>
                  <a:pt x="862193" y="712385"/>
                  <a:pt x="849192" y="725386"/>
                </a:cubicBezTo>
                <a:lnTo>
                  <a:pt x="812835" y="761743"/>
                </a:lnTo>
                <a:cubicBezTo>
                  <a:pt x="799833" y="774745"/>
                  <a:pt x="778888" y="770963"/>
                  <a:pt x="766296" y="757524"/>
                </a:cubicBezTo>
                <a:lnTo>
                  <a:pt x="638366" y="620992"/>
                </a:lnTo>
                <a:lnTo>
                  <a:pt x="638366" y="762334"/>
                </a:lnTo>
                <a:lnTo>
                  <a:pt x="638366" y="762334"/>
                </a:lnTo>
                <a:close/>
                <a:moveTo>
                  <a:pt x="524647" y="692163"/>
                </a:moveTo>
                <a:lnTo>
                  <a:pt x="487651" y="692163"/>
                </a:lnTo>
                <a:cubicBezTo>
                  <a:pt x="482660" y="681924"/>
                  <a:pt x="473954" y="673837"/>
                  <a:pt x="463334" y="669636"/>
                </a:cubicBezTo>
                <a:lnTo>
                  <a:pt x="463334" y="635804"/>
                </a:lnTo>
                <a:cubicBezTo>
                  <a:pt x="463334" y="616954"/>
                  <a:pt x="447989" y="601609"/>
                  <a:pt x="429139" y="601609"/>
                </a:cubicBezTo>
                <a:lnTo>
                  <a:pt x="300790" y="601609"/>
                </a:lnTo>
                <a:cubicBezTo>
                  <a:pt x="281940" y="601609"/>
                  <a:pt x="266595" y="616954"/>
                  <a:pt x="266595" y="635804"/>
                </a:cubicBezTo>
                <a:lnTo>
                  <a:pt x="266595" y="669636"/>
                </a:lnTo>
                <a:cubicBezTo>
                  <a:pt x="255965" y="673837"/>
                  <a:pt x="247269" y="681924"/>
                  <a:pt x="242278" y="692163"/>
                </a:cubicBezTo>
                <a:lnTo>
                  <a:pt x="33147" y="692163"/>
                </a:lnTo>
                <a:cubicBezTo>
                  <a:pt x="27470" y="692163"/>
                  <a:pt x="22822" y="687505"/>
                  <a:pt x="22822" y="681838"/>
                </a:cubicBezTo>
                <a:lnTo>
                  <a:pt x="22822" y="115072"/>
                </a:lnTo>
                <a:lnTo>
                  <a:pt x="81934" y="115072"/>
                </a:lnTo>
                <a:cubicBezTo>
                  <a:pt x="100203" y="115072"/>
                  <a:pt x="115081" y="100194"/>
                  <a:pt x="115081" y="81925"/>
                </a:cubicBezTo>
                <a:lnTo>
                  <a:pt x="115081" y="22813"/>
                </a:lnTo>
                <a:lnTo>
                  <a:pt x="524647" y="22813"/>
                </a:lnTo>
                <a:cubicBezTo>
                  <a:pt x="530323" y="22813"/>
                  <a:pt x="534972" y="27470"/>
                  <a:pt x="534972" y="33138"/>
                </a:cubicBezTo>
                <a:lnTo>
                  <a:pt x="534972" y="291027"/>
                </a:lnTo>
                <a:cubicBezTo>
                  <a:pt x="530523" y="297771"/>
                  <a:pt x="528304" y="305572"/>
                  <a:pt x="528304" y="313363"/>
                </a:cubicBezTo>
                <a:cubicBezTo>
                  <a:pt x="528304" y="320583"/>
                  <a:pt x="530209" y="327803"/>
                  <a:pt x="534019" y="334185"/>
                </a:cubicBezTo>
                <a:cubicBezTo>
                  <a:pt x="502510" y="376876"/>
                  <a:pt x="464525" y="414357"/>
                  <a:pt x="421548" y="446532"/>
                </a:cubicBezTo>
                <a:cubicBezTo>
                  <a:pt x="405822" y="437198"/>
                  <a:pt x="385353" y="439474"/>
                  <a:pt x="372113" y="452714"/>
                </a:cubicBezTo>
                <a:lnTo>
                  <a:pt x="343833" y="480994"/>
                </a:lnTo>
                <a:cubicBezTo>
                  <a:pt x="339376" y="485452"/>
                  <a:pt x="339376" y="492672"/>
                  <a:pt x="343833" y="497129"/>
                </a:cubicBezTo>
                <a:lnTo>
                  <a:pt x="441646" y="594941"/>
                </a:lnTo>
                <a:cubicBezTo>
                  <a:pt x="446103" y="599399"/>
                  <a:pt x="453323" y="599399"/>
                  <a:pt x="457781" y="594941"/>
                </a:cubicBezTo>
                <a:lnTo>
                  <a:pt x="486061" y="566662"/>
                </a:lnTo>
                <a:cubicBezTo>
                  <a:pt x="499301" y="553422"/>
                  <a:pt x="501577" y="532953"/>
                  <a:pt x="492242" y="517227"/>
                </a:cubicBezTo>
                <a:cubicBezTo>
                  <a:pt x="499510" y="507521"/>
                  <a:pt x="507006" y="498120"/>
                  <a:pt x="514722" y="489042"/>
                </a:cubicBezTo>
                <a:lnTo>
                  <a:pt x="534972" y="510655"/>
                </a:lnTo>
                <a:lnTo>
                  <a:pt x="534972" y="681838"/>
                </a:lnTo>
                <a:cubicBezTo>
                  <a:pt x="534972" y="687515"/>
                  <a:pt x="530314" y="692163"/>
                  <a:pt x="524647" y="692163"/>
                </a:cubicBezTo>
                <a:lnTo>
                  <a:pt x="524647" y="692163"/>
                </a:lnTo>
                <a:close/>
                <a:moveTo>
                  <a:pt x="557794" y="598037"/>
                </a:moveTo>
                <a:lnTo>
                  <a:pt x="557794" y="535001"/>
                </a:lnTo>
                <a:lnTo>
                  <a:pt x="615553" y="596646"/>
                </a:lnTo>
                <a:lnTo>
                  <a:pt x="615553" y="762410"/>
                </a:lnTo>
                <a:cubicBezTo>
                  <a:pt x="615582" y="768039"/>
                  <a:pt x="610914" y="772735"/>
                  <a:pt x="605228" y="772735"/>
                </a:cubicBezTo>
                <a:lnTo>
                  <a:pt x="113719" y="772735"/>
                </a:lnTo>
                <a:cubicBezTo>
                  <a:pt x="108042" y="772735"/>
                  <a:pt x="103394" y="768077"/>
                  <a:pt x="103394" y="762410"/>
                </a:cubicBezTo>
                <a:lnTo>
                  <a:pt x="103394" y="714985"/>
                </a:lnTo>
                <a:lnTo>
                  <a:pt x="237687" y="714985"/>
                </a:lnTo>
                <a:lnTo>
                  <a:pt x="237687" y="749913"/>
                </a:lnTo>
                <a:cubicBezTo>
                  <a:pt x="237687" y="756209"/>
                  <a:pt x="242792" y="761324"/>
                  <a:pt x="249098" y="761324"/>
                </a:cubicBezTo>
                <a:lnTo>
                  <a:pt x="480822" y="761324"/>
                </a:lnTo>
                <a:cubicBezTo>
                  <a:pt x="487118" y="761324"/>
                  <a:pt x="492233" y="756219"/>
                  <a:pt x="492233" y="749913"/>
                </a:cubicBezTo>
                <a:lnTo>
                  <a:pt x="492233" y="714985"/>
                </a:lnTo>
                <a:lnTo>
                  <a:pt x="524647" y="714985"/>
                </a:lnTo>
                <a:cubicBezTo>
                  <a:pt x="542916" y="714985"/>
                  <a:pt x="557794" y="700107"/>
                  <a:pt x="557794" y="681838"/>
                </a:cubicBezTo>
                <a:lnTo>
                  <a:pt x="557794" y="598037"/>
                </a:lnTo>
                <a:lnTo>
                  <a:pt x="557794" y="598037"/>
                </a:lnTo>
                <a:close/>
                <a:moveTo>
                  <a:pt x="296618" y="161249"/>
                </a:moveTo>
                <a:lnTo>
                  <a:pt x="486566" y="161249"/>
                </a:lnTo>
                <a:cubicBezTo>
                  <a:pt x="492862" y="161249"/>
                  <a:pt x="497977" y="156144"/>
                  <a:pt x="497977" y="149838"/>
                </a:cubicBezTo>
                <a:cubicBezTo>
                  <a:pt x="497977" y="143533"/>
                  <a:pt x="492871" y="138427"/>
                  <a:pt x="486566" y="138427"/>
                </a:cubicBezTo>
                <a:lnTo>
                  <a:pt x="296618" y="138427"/>
                </a:lnTo>
                <a:cubicBezTo>
                  <a:pt x="290322" y="138427"/>
                  <a:pt x="285207" y="143533"/>
                  <a:pt x="285207" y="149838"/>
                </a:cubicBezTo>
                <a:cubicBezTo>
                  <a:pt x="285207" y="156144"/>
                  <a:pt x="290312" y="161249"/>
                  <a:pt x="296618" y="161249"/>
                </a:cubicBezTo>
                <a:lnTo>
                  <a:pt x="296618" y="161249"/>
                </a:lnTo>
                <a:close/>
                <a:moveTo>
                  <a:pt x="296618" y="286274"/>
                </a:moveTo>
                <a:lnTo>
                  <a:pt x="448742" y="286274"/>
                </a:lnTo>
                <a:cubicBezTo>
                  <a:pt x="455038" y="286274"/>
                  <a:pt x="460153" y="281169"/>
                  <a:pt x="460153" y="274863"/>
                </a:cubicBezTo>
                <a:cubicBezTo>
                  <a:pt x="460153" y="268558"/>
                  <a:pt x="455047" y="263452"/>
                  <a:pt x="448742" y="263452"/>
                </a:cubicBezTo>
                <a:lnTo>
                  <a:pt x="296618" y="263452"/>
                </a:lnTo>
                <a:cubicBezTo>
                  <a:pt x="290322" y="263452"/>
                  <a:pt x="285207" y="268558"/>
                  <a:pt x="285207" y="274863"/>
                </a:cubicBezTo>
                <a:cubicBezTo>
                  <a:pt x="285207" y="281169"/>
                  <a:pt x="290312" y="286274"/>
                  <a:pt x="296618" y="286274"/>
                </a:cubicBezTo>
                <a:lnTo>
                  <a:pt x="296618" y="286274"/>
                </a:lnTo>
                <a:close/>
                <a:moveTo>
                  <a:pt x="75162" y="411299"/>
                </a:moveTo>
                <a:lnTo>
                  <a:pt x="386258" y="411299"/>
                </a:lnTo>
                <a:cubicBezTo>
                  <a:pt x="392554" y="411299"/>
                  <a:pt x="397669" y="406194"/>
                  <a:pt x="397669" y="399888"/>
                </a:cubicBezTo>
                <a:cubicBezTo>
                  <a:pt x="397669" y="393583"/>
                  <a:pt x="392563" y="388478"/>
                  <a:pt x="386258" y="388478"/>
                </a:cubicBezTo>
                <a:lnTo>
                  <a:pt x="75162" y="388478"/>
                </a:lnTo>
                <a:cubicBezTo>
                  <a:pt x="68866" y="388478"/>
                  <a:pt x="63751" y="393583"/>
                  <a:pt x="63751" y="399888"/>
                </a:cubicBezTo>
                <a:cubicBezTo>
                  <a:pt x="63751" y="406194"/>
                  <a:pt x="68856" y="411299"/>
                  <a:pt x="75162" y="411299"/>
                </a:cubicBezTo>
                <a:lnTo>
                  <a:pt x="75162" y="411299"/>
                </a:lnTo>
                <a:close/>
                <a:moveTo>
                  <a:pt x="75162" y="509902"/>
                </a:moveTo>
                <a:lnTo>
                  <a:pt x="301542" y="509902"/>
                </a:lnTo>
                <a:cubicBezTo>
                  <a:pt x="307838" y="509902"/>
                  <a:pt x="312953" y="504797"/>
                  <a:pt x="312953" y="498491"/>
                </a:cubicBezTo>
                <a:cubicBezTo>
                  <a:pt x="312953" y="492186"/>
                  <a:pt x="307848" y="487080"/>
                  <a:pt x="301542" y="487080"/>
                </a:cubicBezTo>
                <a:lnTo>
                  <a:pt x="75162" y="487080"/>
                </a:lnTo>
                <a:cubicBezTo>
                  <a:pt x="68866" y="487080"/>
                  <a:pt x="63751" y="492186"/>
                  <a:pt x="63751" y="498491"/>
                </a:cubicBezTo>
                <a:cubicBezTo>
                  <a:pt x="63751" y="504797"/>
                  <a:pt x="68856" y="509902"/>
                  <a:pt x="75162" y="509902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AEA707B4-E57D-58D5-7341-984E41349CDB}"/>
              </a:ext>
            </a:extLst>
          </p:cNvPr>
          <p:cNvSpPr/>
          <p:nvPr/>
        </p:nvSpPr>
        <p:spPr>
          <a:xfrm>
            <a:off x="557437" y="4079150"/>
            <a:ext cx="262134" cy="245722"/>
          </a:xfrm>
          <a:custGeom>
            <a:avLst/>
            <a:gdLst>
              <a:gd name="connsiteX0" fmla="*/ 327250 w 624496"/>
              <a:gd name="connsiteY0" fmla="*/ 497681 h 585398"/>
              <a:gd name="connsiteX1" fmla="*/ 344719 w 624496"/>
              <a:gd name="connsiteY1" fmla="*/ 515160 h 585398"/>
              <a:gd name="connsiteX2" fmla="*/ 391601 w 624496"/>
              <a:gd name="connsiteY2" fmla="*/ 515160 h 585398"/>
              <a:gd name="connsiteX3" fmla="*/ 409080 w 624496"/>
              <a:gd name="connsiteY3" fmla="*/ 497681 h 585398"/>
              <a:gd name="connsiteX4" fmla="*/ 409080 w 624496"/>
              <a:gd name="connsiteY4" fmla="*/ 488556 h 585398"/>
              <a:gd name="connsiteX5" fmla="*/ 448742 w 624496"/>
              <a:gd name="connsiteY5" fmla="*/ 472116 h 585398"/>
              <a:gd name="connsiteX6" fmla="*/ 455209 w 624496"/>
              <a:gd name="connsiteY6" fmla="*/ 478584 h 585398"/>
              <a:gd name="connsiteX7" fmla="*/ 479927 w 624496"/>
              <a:gd name="connsiteY7" fmla="*/ 478584 h 585398"/>
              <a:gd name="connsiteX8" fmla="*/ 513083 w 624496"/>
              <a:gd name="connsiteY8" fmla="*/ 445427 h 585398"/>
              <a:gd name="connsiteX9" fmla="*/ 513083 w 624496"/>
              <a:gd name="connsiteY9" fmla="*/ 420719 h 585398"/>
              <a:gd name="connsiteX10" fmla="*/ 506568 w 624496"/>
              <a:gd name="connsiteY10" fmla="*/ 414252 h 585398"/>
              <a:gd name="connsiteX11" fmla="*/ 523046 w 624496"/>
              <a:gd name="connsiteY11" fmla="*/ 374628 h 585398"/>
              <a:gd name="connsiteX12" fmla="*/ 532181 w 624496"/>
              <a:gd name="connsiteY12" fmla="*/ 374628 h 585398"/>
              <a:gd name="connsiteX13" fmla="*/ 549659 w 624496"/>
              <a:gd name="connsiteY13" fmla="*/ 357149 h 585398"/>
              <a:gd name="connsiteX14" fmla="*/ 549659 w 624496"/>
              <a:gd name="connsiteY14" fmla="*/ 310229 h 585398"/>
              <a:gd name="connsiteX15" fmla="*/ 532181 w 624496"/>
              <a:gd name="connsiteY15" fmla="*/ 292713 h 585398"/>
              <a:gd name="connsiteX16" fmla="*/ 523046 w 624496"/>
              <a:gd name="connsiteY16" fmla="*/ 292713 h 585398"/>
              <a:gd name="connsiteX17" fmla="*/ 506616 w 624496"/>
              <a:gd name="connsiteY17" fmla="*/ 253051 h 585398"/>
              <a:gd name="connsiteX18" fmla="*/ 513074 w 624496"/>
              <a:gd name="connsiteY18" fmla="*/ 246602 h 585398"/>
              <a:gd name="connsiteX19" fmla="*/ 513094 w 624496"/>
              <a:gd name="connsiteY19" fmla="*/ 221857 h 585398"/>
              <a:gd name="connsiteX20" fmla="*/ 513074 w 624496"/>
              <a:gd name="connsiteY20" fmla="*/ 221837 h 585398"/>
              <a:gd name="connsiteX21" fmla="*/ 479927 w 624496"/>
              <a:gd name="connsiteY21" fmla="*/ 188690 h 585398"/>
              <a:gd name="connsiteX22" fmla="*/ 455209 w 624496"/>
              <a:gd name="connsiteY22" fmla="*/ 188690 h 585398"/>
              <a:gd name="connsiteX23" fmla="*/ 448742 w 624496"/>
              <a:gd name="connsiteY23" fmla="*/ 195158 h 585398"/>
              <a:gd name="connsiteX24" fmla="*/ 409089 w 624496"/>
              <a:gd name="connsiteY24" fmla="*/ 178727 h 585398"/>
              <a:gd name="connsiteX25" fmla="*/ 409089 w 624496"/>
              <a:gd name="connsiteY25" fmla="*/ 169602 h 585398"/>
              <a:gd name="connsiteX26" fmla="*/ 391601 w 624496"/>
              <a:gd name="connsiteY26" fmla="*/ 152105 h 585398"/>
              <a:gd name="connsiteX27" fmla="*/ 344729 w 624496"/>
              <a:gd name="connsiteY27" fmla="*/ 152105 h 585398"/>
              <a:gd name="connsiteX28" fmla="*/ 327250 w 624496"/>
              <a:gd name="connsiteY28" fmla="*/ 169602 h 585398"/>
              <a:gd name="connsiteX29" fmla="*/ 327250 w 624496"/>
              <a:gd name="connsiteY29" fmla="*/ 178727 h 585398"/>
              <a:gd name="connsiteX30" fmla="*/ 287588 w 624496"/>
              <a:gd name="connsiteY30" fmla="*/ 195158 h 585398"/>
              <a:gd name="connsiteX31" fmla="*/ 281121 w 624496"/>
              <a:gd name="connsiteY31" fmla="*/ 188700 h 585398"/>
              <a:gd name="connsiteX32" fmla="*/ 256403 w 624496"/>
              <a:gd name="connsiteY32" fmla="*/ 188700 h 585398"/>
              <a:gd name="connsiteX33" fmla="*/ 223256 w 624496"/>
              <a:gd name="connsiteY33" fmla="*/ 221847 h 585398"/>
              <a:gd name="connsiteX34" fmla="*/ 223237 w 624496"/>
              <a:gd name="connsiteY34" fmla="*/ 246592 h 585398"/>
              <a:gd name="connsiteX35" fmla="*/ 223256 w 624496"/>
              <a:gd name="connsiteY35" fmla="*/ 246612 h 585398"/>
              <a:gd name="connsiteX36" fmla="*/ 229714 w 624496"/>
              <a:gd name="connsiteY36" fmla="*/ 253060 h 585398"/>
              <a:gd name="connsiteX37" fmla="*/ 213284 w 624496"/>
              <a:gd name="connsiteY37" fmla="*/ 292713 h 585398"/>
              <a:gd name="connsiteX38" fmla="*/ 204149 w 624496"/>
              <a:gd name="connsiteY38" fmla="*/ 292713 h 585398"/>
              <a:gd name="connsiteX39" fmla="*/ 186671 w 624496"/>
              <a:gd name="connsiteY39" fmla="*/ 310191 h 585398"/>
              <a:gd name="connsiteX40" fmla="*/ 186671 w 624496"/>
              <a:gd name="connsiteY40" fmla="*/ 357073 h 585398"/>
              <a:gd name="connsiteX41" fmla="*/ 204111 w 624496"/>
              <a:gd name="connsiteY41" fmla="*/ 374628 h 585398"/>
              <a:gd name="connsiteX42" fmla="*/ 204149 w 624496"/>
              <a:gd name="connsiteY42" fmla="*/ 374628 h 585398"/>
              <a:gd name="connsiteX43" fmla="*/ 213284 w 624496"/>
              <a:gd name="connsiteY43" fmla="*/ 374628 h 585398"/>
              <a:gd name="connsiteX44" fmla="*/ 229714 w 624496"/>
              <a:gd name="connsiteY44" fmla="*/ 414290 h 585398"/>
              <a:gd name="connsiteX45" fmla="*/ 223256 w 624496"/>
              <a:gd name="connsiteY45" fmla="*/ 420748 h 585398"/>
              <a:gd name="connsiteX46" fmla="*/ 223256 w 624496"/>
              <a:gd name="connsiteY46" fmla="*/ 445513 h 585398"/>
              <a:gd name="connsiteX47" fmla="*/ 256413 w 624496"/>
              <a:gd name="connsiteY47" fmla="*/ 478660 h 585398"/>
              <a:gd name="connsiteX48" fmla="*/ 281121 w 624496"/>
              <a:gd name="connsiteY48" fmla="*/ 478660 h 585398"/>
              <a:gd name="connsiteX49" fmla="*/ 287588 w 624496"/>
              <a:gd name="connsiteY49" fmla="*/ 472192 h 585398"/>
              <a:gd name="connsiteX50" fmla="*/ 327250 w 624496"/>
              <a:gd name="connsiteY50" fmla="*/ 488633 h 585398"/>
              <a:gd name="connsiteX51" fmla="*/ 290932 w 624496"/>
              <a:gd name="connsiteY51" fmla="*/ 454076 h 585398"/>
              <a:gd name="connsiteX52" fmla="*/ 280245 w 624496"/>
              <a:gd name="connsiteY52" fmla="*/ 455228 h 585398"/>
              <a:gd name="connsiteX53" fmla="*/ 268519 w 624496"/>
              <a:gd name="connsiteY53" fmla="*/ 466468 h 585398"/>
              <a:gd name="connsiteX54" fmla="*/ 235382 w 624496"/>
              <a:gd name="connsiteY54" fmla="*/ 432826 h 585398"/>
              <a:gd name="connsiteX55" fmla="*/ 246612 w 624496"/>
              <a:gd name="connsiteY55" fmla="*/ 421596 h 585398"/>
              <a:gd name="connsiteX56" fmla="*/ 247764 w 624496"/>
              <a:gd name="connsiteY56" fmla="*/ 410899 h 585398"/>
              <a:gd name="connsiteX57" fmla="*/ 228419 w 624496"/>
              <a:gd name="connsiteY57" fmla="*/ 364226 h 585398"/>
              <a:gd name="connsiteX58" fmla="*/ 220037 w 624496"/>
              <a:gd name="connsiteY58" fmla="*/ 357473 h 585398"/>
              <a:gd name="connsiteX59" fmla="*/ 203845 w 624496"/>
              <a:gd name="connsiteY59" fmla="*/ 357140 h 585398"/>
              <a:gd name="connsiteX60" fmla="*/ 204149 w 624496"/>
              <a:gd name="connsiteY60" fmla="*/ 309858 h 585398"/>
              <a:gd name="connsiteX61" fmla="*/ 220037 w 624496"/>
              <a:gd name="connsiteY61" fmla="*/ 309858 h 585398"/>
              <a:gd name="connsiteX62" fmla="*/ 228419 w 624496"/>
              <a:gd name="connsiteY62" fmla="*/ 303105 h 585398"/>
              <a:gd name="connsiteX63" fmla="*/ 247764 w 624496"/>
              <a:gd name="connsiteY63" fmla="*/ 256432 h 585398"/>
              <a:gd name="connsiteX64" fmla="*/ 246612 w 624496"/>
              <a:gd name="connsiteY64" fmla="*/ 245735 h 585398"/>
              <a:gd name="connsiteX65" fmla="*/ 235382 w 624496"/>
              <a:gd name="connsiteY65" fmla="*/ 234020 h 585398"/>
              <a:gd name="connsiteX66" fmla="*/ 269005 w 624496"/>
              <a:gd name="connsiteY66" fmla="*/ 200873 h 585398"/>
              <a:gd name="connsiteX67" fmla="*/ 280245 w 624496"/>
              <a:gd name="connsiteY67" fmla="*/ 212112 h 585398"/>
              <a:gd name="connsiteX68" fmla="*/ 290932 w 624496"/>
              <a:gd name="connsiteY68" fmla="*/ 213255 h 585398"/>
              <a:gd name="connsiteX69" fmla="*/ 337604 w 624496"/>
              <a:gd name="connsiteY69" fmla="*/ 193919 h 585398"/>
              <a:gd name="connsiteX70" fmla="*/ 344357 w 624496"/>
              <a:gd name="connsiteY70" fmla="*/ 185547 h 585398"/>
              <a:gd name="connsiteX71" fmla="*/ 344691 w 624496"/>
              <a:gd name="connsiteY71" fmla="*/ 169355 h 585398"/>
              <a:gd name="connsiteX72" fmla="*/ 391906 w 624496"/>
              <a:gd name="connsiteY72" fmla="*/ 169707 h 585398"/>
              <a:gd name="connsiteX73" fmla="*/ 391906 w 624496"/>
              <a:gd name="connsiteY73" fmla="*/ 185557 h 585398"/>
              <a:gd name="connsiteX74" fmla="*/ 398659 w 624496"/>
              <a:gd name="connsiteY74" fmla="*/ 193929 h 585398"/>
              <a:gd name="connsiteX75" fmla="*/ 445332 w 624496"/>
              <a:gd name="connsiteY75" fmla="*/ 213265 h 585398"/>
              <a:gd name="connsiteX76" fmla="*/ 456028 w 624496"/>
              <a:gd name="connsiteY76" fmla="*/ 212122 h 585398"/>
              <a:gd name="connsiteX77" fmla="*/ 467754 w 624496"/>
              <a:gd name="connsiteY77" fmla="*/ 200882 h 585398"/>
              <a:gd name="connsiteX78" fmla="*/ 500901 w 624496"/>
              <a:gd name="connsiteY78" fmla="*/ 234515 h 585398"/>
              <a:gd name="connsiteX79" fmla="*/ 489661 w 624496"/>
              <a:gd name="connsiteY79" fmla="*/ 245745 h 585398"/>
              <a:gd name="connsiteX80" fmla="*/ 488518 w 624496"/>
              <a:gd name="connsiteY80" fmla="*/ 256442 h 585398"/>
              <a:gd name="connsiteX81" fmla="*/ 507863 w 624496"/>
              <a:gd name="connsiteY81" fmla="*/ 303114 h 585398"/>
              <a:gd name="connsiteX82" fmla="*/ 516236 w 624496"/>
              <a:gd name="connsiteY82" fmla="*/ 309867 h 585398"/>
              <a:gd name="connsiteX83" fmla="*/ 532428 w 624496"/>
              <a:gd name="connsiteY83" fmla="*/ 310201 h 585398"/>
              <a:gd name="connsiteX84" fmla="*/ 532181 w 624496"/>
              <a:gd name="connsiteY84" fmla="*/ 357483 h 585398"/>
              <a:gd name="connsiteX85" fmla="*/ 516293 w 624496"/>
              <a:gd name="connsiteY85" fmla="*/ 357483 h 585398"/>
              <a:gd name="connsiteX86" fmla="*/ 507921 w 624496"/>
              <a:gd name="connsiteY86" fmla="*/ 364226 h 585398"/>
              <a:gd name="connsiteX87" fmla="*/ 488566 w 624496"/>
              <a:gd name="connsiteY87" fmla="*/ 410899 h 585398"/>
              <a:gd name="connsiteX88" fmla="*/ 489709 w 624496"/>
              <a:gd name="connsiteY88" fmla="*/ 421596 h 585398"/>
              <a:gd name="connsiteX89" fmla="*/ 500958 w 624496"/>
              <a:gd name="connsiteY89" fmla="*/ 433321 h 585398"/>
              <a:gd name="connsiteX90" fmla="*/ 467325 w 624496"/>
              <a:gd name="connsiteY90" fmla="*/ 466468 h 585398"/>
              <a:gd name="connsiteX91" fmla="*/ 456086 w 624496"/>
              <a:gd name="connsiteY91" fmla="*/ 455228 h 585398"/>
              <a:gd name="connsiteX92" fmla="*/ 445389 w 624496"/>
              <a:gd name="connsiteY92" fmla="*/ 454076 h 585398"/>
              <a:gd name="connsiteX93" fmla="*/ 398716 w 624496"/>
              <a:gd name="connsiteY93" fmla="*/ 473421 h 585398"/>
              <a:gd name="connsiteX94" fmla="*/ 391963 w 624496"/>
              <a:gd name="connsiteY94" fmla="*/ 481803 h 585398"/>
              <a:gd name="connsiteX95" fmla="*/ 391630 w 624496"/>
              <a:gd name="connsiteY95" fmla="*/ 497996 h 585398"/>
              <a:gd name="connsiteX96" fmla="*/ 344424 w 624496"/>
              <a:gd name="connsiteY96" fmla="*/ 497653 h 585398"/>
              <a:gd name="connsiteX97" fmla="*/ 344424 w 624496"/>
              <a:gd name="connsiteY97" fmla="*/ 481803 h 585398"/>
              <a:gd name="connsiteX98" fmla="*/ 337671 w 624496"/>
              <a:gd name="connsiteY98" fmla="*/ 473421 h 585398"/>
              <a:gd name="connsiteX99" fmla="*/ 290932 w 624496"/>
              <a:gd name="connsiteY99" fmla="*/ 454076 h 585398"/>
              <a:gd name="connsiteX100" fmla="*/ 447456 w 624496"/>
              <a:gd name="connsiteY100" fmla="*/ 415414 h 585398"/>
              <a:gd name="connsiteX101" fmla="*/ 448932 w 624496"/>
              <a:gd name="connsiteY101" fmla="*/ 414042 h 585398"/>
              <a:gd name="connsiteX102" fmla="*/ 449971 w 624496"/>
              <a:gd name="connsiteY102" fmla="*/ 413090 h 585398"/>
              <a:gd name="connsiteX103" fmla="*/ 450494 w 624496"/>
              <a:gd name="connsiteY103" fmla="*/ 412337 h 585398"/>
              <a:gd name="connsiteX104" fmla="*/ 447049 w 624496"/>
              <a:gd name="connsiteY104" fmla="*/ 251134 h 585398"/>
              <a:gd name="connsiteX105" fmla="*/ 285845 w 624496"/>
              <a:gd name="connsiteY105" fmla="*/ 254579 h 585398"/>
              <a:gd name="connsiteX106" fmla="*/ 285845 w 624496"/>
              <a:gd name="connsiteY106" fmla="*/ 412337 h 585398"/>
              <a:gd name="connsiteX107" fmla="*/ 286369 w 624496"/>
              <a:gd name="connsiteY107" fmla="*/ 413080 h 585398"/>
              <a:gd name="connsiteX108" fmla="*/ 287388 w 624496"/>
              <a:gd name="connsiteY108" fmla="*/ 414033 h 585398"/>
              <a:gd name="connsiteX109" fmla="*/ 288969 w 624496"/>
              <a:gd name="connsiteY109" fmla="*/ 415509 h 585398"/>
              <a:gd name="connsiteX110" fmla="*/ 447456 w 624496"/>
              <a:gd name="connsiteY110" fmla="*/ 415423 h 585398"/>
              <a:gd name="connsiteX111" fmla="*/ 358607 w 624496"/>
              <a:gd name="connsiteY111" fmla="*/ 430044 h 585398"/>
              <a:gd name="connsiteX112" fmla="*/ 356435 w 624496"/>
              <a:gd name="connsiteY112" fmla="*/ 429749 h 585398"/>
              <a:gd name="connsiteX113" fmla="*/ 349120 w 624496"/>
              <a:gd name="connsiteY113" fmla="*/ 428635 h 585398"/>
              <a:gd name="connsiteX114" fmla="*/ 347215 w 624496"/>
              <a:gd name="connsiteY114" fmla="*/ 428187 h 585398"/>
              <a:gd name="connsiteX115" fmla="*/ 339842 w 624496"/>
              <a:gd name="connsiteY115" fmla="*/ 426282 h 585398"/>
              <a:gd name="connsiteX116" fmla="*/ 338414 w 624496"/>
              <a:gd name="connsiteY116" fmla="*/ 425806 h 585398"/>
              <a:gd name="connsiteX117" fmla="*/ 330918 w 624496"/>
              <a:gd name="connsiteY117" fmla="*/ 423062 h 585398"/>
              <a:gd name="connsiteX118" fmla="*/ 329813 w 624496"/>
              <a:gd name="connsiteY118" fmla="*/ 422577 h 585398"/>
              <a:gd name="connsiteX119" fmla="*/ 322488 w 624496"/>
              <a:gd name="connsiteY119" fmla="*/ 419043 h 585398"/>
              <a:gd name="connsiteX120" fmla="*/ 321431 w 624496"/>
              <a:gd name="connsiteY120" fmla="*/ 418462 h 585398"/>
              <a:gd name="connsiteX121" fmla="*/ 314668 w 624496"/>
              <a:gd name="connsiteY121" fmla="*/ 414347 h 585398"/>
              <a:gd name="connsiteX122" fmla="*/ 313373 w 624496"/>
              <a:gd name="connsiteY122" fmla="*/ 413461 h 585398"/>
              <a:gd name="connsiteX123" fmla="*/ 307457 w 624496"/>
              <a:gd name="connsiteY123" fmla="*/ 409042 h 585398"/>
              <a:gd name="connsiteX124" fmla="*/ 305791 w 624496"/>
              <a:gd name="connsiteY124" fmla="*/ 407661 h 585398"/>
              <a:gd name="connsiteX125" fmla="*/ 303400 w 624496"/>
              <a:gd name="connsiteY125" fmla="*/ 405489 h 585398"/>
              <a:gd name="connsiteX126" fmla="*/ 409862 w 624496"/>
              <a:gd name="connsiteY126" fmla="*/ 382411 h 585398"/>
              <a:gd name="connsiteX127" fmla="*/ 432940 w 624496"/>
              <a:gd name="connsiteY127" fmla="*/ 405489 h 585398"/>
              <a:gd name="connsiteX128" fmla="*/ 430530 w 624496"/>
              <a:gd name="connsiteY128" fmla="*/ 407680 h 585398"/>
              <a:gd name="connsiteX129" fmla="*/ 428901 w 624496"/>
              <a:gd name="connsiteY129" fmla="*/ 409023 h 585398"/>
              <a:gd name="connsiteX130" fmla="*/ 422958 w 624496"/>
              <a:gd name="connsiteY130" fmla="*/ 413471 h 585398"/>
              <a:gd name="connsiteX131" fmla="*/ 421691 w 624496"/>
              <a:gd name="connsiteY131" fmla="*/ 414338 h 585398"/>
              <a:gd name="connsiteX132" fmla="*/ 414900 w 624496"/>
              <a:gd name="connsiteY132" fmla="*/ 418471 h 585398"/>
              <a:gd name="connsiteX133" fmla="*/ 413861 w 624496"/>
              <a:gd name="connsiteY133" fmla="*/ 419043 h 585398"/>
              <a:gd name="connsiteX134" fmla="*/ 406517 w 624496"/>
              <a:gd name="connsiteY134" fmla="*/ 422586 h 585398"/>
              <a:gd name="connsiteX135" fmla="*/ 405432 w 624496"/>
              <a:gd name="connsiteY135" fmla="*/ 423062 h 585398"/>
              <a:gd name="connsiteX136" fmla="*/ 397926 w 624496"/>
              <a:gd name="connsiteY136" fmla="*/ 425815 h 585398"/>
              <a:gd name="connsiteX137" fmla="*/ 396507 w 624496"/>
              <a:gd name="connsiteY137" fmla="*/ 426282 h 585398"/>
              <a:gd name="connsiteX138" fmla="*/ 389115 w 624496"/>
              <a:gd name="connsiteY138" fmla="*/ 428187 h 585398"/>
              <a:gd name="connsiteX139" fmla="*/ 387210 w 624496"/>
              <a:gd name="connsiteY139" fmla="*/ 428635 h 585398"/>
              <a:gd name="connsiteX140" fmla="*/ 379895 w 624496"/>
              <a:gd name="connsiteY140" fmla="*/ 429749 h 585398"/>
              <a:gd name="connsiteX141" fmla="*/ 377733 w 624496"/>
              <a:gd name="connsiteY141" fmla="*/ 430044 h 585398"/>
              <a:gd name="connsiteX142" fmla="*/ 368208 w 624496"/>
              <a:gd name="connsiteY142" fmla="*/ 430530 h 585398"/>
              <a:gd name="connsiteX143" fmla="*/ 358607 w 624496"/>
              <a:gd name="connsiteY143" fmla="*/ 430044 h 585398"/>
              <a:gd name="connsiteX144" fmla="*/ 368132 w 624496"/>
              <a:gd name="connsiteY144" fmla="*/ 236811 h 585398"/>
              <a:gd name="connsiteX145" fmla="*/ 464987 w 624496"/>
              <a:gd name="connsiteY145" fmla="*/ 333332 h 585398"/>
              <a:gd name="connsiteX146" fmla="*/ 444827 w 624496"/>
              <a:gd name="connsiteY146" fmla="*/ 392592 h 585398"/>
              <a:gd name="connsiteX147" fmla="*/ 313574 w 624496"/>
              <a:gd name="connsiteY147" fmla="*/ 370493 h 585398"/>
              <a:gd name="connsiteX148" fmla="*/ 291475 w 624496"/>
              <a:gd name="connsiteY148" fmla="*/ 392592 h 585398"/>
              <a:gd name="connsiteX149" fmla="*/ 308910 w 624496"/>
              <a:gd name="connsiteY149" fmla="*/ 256970 h 585398"/>
              <a:gd name="connsiteX150" fmla="*/ 368170 w 624496"/>
              <a:gd name="connsiteY150" fmla="*/ 236811 h 585398"/>
              <a:gd name="connsiteX151" fmla="*/ 368132 w 624496"/>
              <a:gd name="connsiteY151" fmla="*/ 344986 h 585398"/>
              <a:gd name="connsiteX152" fmla="*/ 412575 w 624496"/>
              <a:gd name="connsiteY152" fmla="*/ 300542 h 585398"/>
              <a:gd name="connsiteX153" fmla="*/ 368132 w 624496"/>
              <a:gd name="connsiteY153" fmla="*/ 256099 h 585398"/>
              <a:gd name="connsiteX154" fmla="*/ 323688 w 624496"/>
              <a:gd name="connsiteY154" fmla="*/ 300542 h 585398"/>
              <a:gd name="connsiteX155" fmla="*/ 368170 w 624496"/>
              <a:gd name="connsiteY155" fmla="*/ 344986 h 585398"/>
              <a:gd name="connsiteX156" fmla="*/ 368132 w 624496"/>
              <a:gd name="connsiteY156" fmla="*/ 273244 h 585398"/>
              <a:gd name="connsiteX157" fmla="*/ 395430 w 624496"/>
              <a:gd name="connsiteY157" fmla="*/ 300542 h 585398"/>
              <a:gd name="connsiteX158" fmla="*/ 368132 w 624496"/>
              <a:gd name="connsiteY158" fmla="*/ 327841 h 585398"/>
              <a:gd name="connsiteX159" fmla="*/ 340833 w 624496"/>
              <a:gd name="connsiteY159" fmla="*/ 300542 h 585398"/>
              <a:gd name="connsiteX160" fmla="*/ 368170 w 624496"/>
              <a:gd name="connsiteY160" fmla="*/ 273244 h 585398"/>
              <a:gd name="connsiteX161" fmla="*/ 423548 w 624496"/>
              <a:gd name="connsiteY161" fmla="*/ 121577 h 585398"/>
              <a:gd name="connsiteX162" fmla="*/ 425015 w 624496"/>
              <a:gd name="connsiteY162" fmla="*/ 121577 h 585398"/>
              <a:gd name="connsiteX163" fmla="*/ 431321 w 624496"/>
              <a:gd name="connsiteY163" fmla="*/ 136817 h 585398"/>
              <a:gd name="connsiteX164" fmla="*/ 430273 w 624496"/>
              <a:gd name="connsiteY164" fmla="*/ 137874 h 585398"/>
              <a:gd name="connsiteX165" fmla="*/ 430273 w 624496"/>
              <a:gd name="connsiteY165" fmla="*/ 156391 h 585398"/>
              <a:gd name="connsiteX166" fmla="*/ 447142 w 624496"/>
              <a:gd name="connsiteY166" fmla="*/ 173260 h 585398"/>
              <a:gd name="connsiteX167" fmla="*/ 465668 w 624496"/>
              <a:gd name="connsiteY167" fmla="*/ 173260 h 585398"/>
              <a:gd name="connsiteX168" fmla="*/ 466706 w 624496"/>
              <a:gd name="connsiteY168" fmla="*/ 172222 h 585398"/>
              <a:gd name="connsiteX169" fmla="*/ 481946 w 624496"/>
              <a:gd name="connsiteY169" fmla="*/ 178537 h 585398"/>
              <a:gd name="connsiteX170" fmla="*/ 481946 w 624496"/>
              <a:gd name="connsiteY170" fmla="*/ 179994 h 585398"/>
              <a:gd name="connsiteX171" fmla="*/ 495100 w 624496"/>
              <a:gd name="connsiteY171" fmla="*/ 193091 h 585398"/>
              <a:gd name="connsiteX172" fmla="*/ 495138 w 624496"/>
              <a:gd name="connsiteY172" fmla="*/ 193091 h 585398"/>
              <a:gd name="connsiteX173" fmla="*/ 518951 w 624496"/>
              <a:gd name="connsiteY173" fmla="*/ 193091 h 585398"/>
              <a:gd name="connsiteX174" fmla="*/ 532057 w 624496"/>
              <a:gd name="connsiteY174" fmla="*/ 179984 h 585398"/>
              <a:gd name="connsiteX175" fmla="*/ 532057 w 624496"/>
              <a:gd name="connsiteY175" fmla="*/ 178527 h 585398"/>
              <a:gd name="connsiteX176" fmla="*/ 547297 w 624496"/>
              <a:gd name="connsiteY176" fmla="*/ 172212 h 585398"/>
              <a:gd name="connsiteX177" fmla="*/ 548326 w 624496"/>
              <a:gd name="connsiteY177" fmla="*/ 173241 h 585398"/>
              <a:gd name="connsiteX178" fmla="*/ 557584 w 624496"/>
              <a:gd name="connsiteY178" fmla="*/ 177051 h 585398"/>
              <a:gd name="connsiteX179" fmla="*/ 557584 w 624496"/>
              <a:gd name="connsiteY179" fmla="*/ 177051 h 585398"/>
              <a:gd name="connsiteX180" fmla="*/ 566852 w 624496"/>
              <a:gd name="connsiteY180" fmla="*/ 173241 h 585398"/>
              <a:gd name="connsiteX181" fmla="*/ 583721 w 624496"/>
              <a:gd name="connsiteY181" fmla="*/ 156381 h 585398"/>
              <a:gd name="connsiteX182" fmla="*/ 583721 w 624496"/>
              <a:gd name="connsiteY182" fmla="*/ 137855 h 585398"/>
              <a:gd name="connsiteX183" fmla="*/ 582692 w 624496"/>
              <a:gd name="connsiteY183" fmla="*/ 136817 h 585398"/>
              <a:gd name="connsiteX184" fmla="*/ 589007 w 624496"/>
              <a:gd name="connsiteY184" fmla="*/ 121577 h 585398"/>
              <a:gd name="connsiteX185" fmla="*/ 590464 w 624496"/>
              <a:gd name="connsiteY185" fmla="*/ 121577 h 585398"/>
              <a:gd name="connsiteX186" fmla="*/ 603571 w 624496"/>
              <a:gd name="connsiteY186" fmla="*/ 108471 h 585398"/>
              <a:gd name="connsiteX187" fmla="*/ 603571 w 624496"/>
              <a:gd name="connsiteY187" fmla="*/ 84658 h 585398"/>
              <a:gd name="connsiteX188" fmla="*/ 590464 w 624496"/>
              <a:gd name="connsiteY188" fmla="*/ 71552 h 585398"/>
              <a:gd name="connsiteX189" fmla="*/ 589007 w 624496"/>
              <a:gd name="connsiteY189" fmla="*/ 71552 h 585398"/>
              <a:gd name="connsiteX190" fmla="*/ 582692 w 624496"/>
              <a:gd name="connsiteY190" fmla="*/ 56312 h 585398"/>
              <a:gd name="connsiteX191" fmla="*/ 583721 w 624496"/>
              <a:gd name="connsiteY191" fmla="*/ 55235 h 585398"/>
              <a:gd name="connsiteX192" fmla="*/ 583729 w 624496"/>
              <a:gd name="connsiteY192" fmla="*/ 36727 h 585398"/>
              <a:gd name="connsiteX193" fmla="*/ 583721 w 624496"/>
              <a:gd name="connsiteY193" fmla="*/ 36719 h 585398"/>
              <a:gd name="connsiteX194" fmla="*/ 566861 w 624496"/>
              <a:gd name="connsiteY194" fmla="*/ 19850 h 585398"/>
              <a:gd name="connsiteX195" fmla="*/ 548335 w 624496"/>
              <a:gd name="connsiteY195" fmla="*/ 19850 h 585398"/>
              <a:gd name="connsiteX196" fmla="*/ 547297 w 624496"/>
              <a:gd name="connsiteY196" fmla="*/ 20888 h 585398"/>
              <a:gd name="connsiteX197" fmla="*/ 532057 w 624496"/>
              <a:gd name="connsiteY197" fmla="*/ 14573 h 585398"/>
              <a:gd name="connsiteX198" fmla="*/ 532057 w 624496"/>
              <a:gd name="connsiteY198" fmla="*/ 13116 h 585398"/>
              <a:gd name="connsiteX199" fmla="*/ 518951 w 624496"/>
              <a:gd name="connsiteY199" fmla="*/ 0 h 585398"/>
              <a:gd name="connsiteX200" fmla="*/ 495138 w 624496"/>
              <a:gd name="connsiteY200" fmla="*/ 0 h 585398"/>
              <a:gd name="connsiteX201" fmla="*/ 482032 w 624496"/>
              <a:gd name="connsiteY201" fmla="*/ 13106 h 585398"/>
              <a:gd name="connsiteX202" fmla="*/ 482032 w 624496"/>
              <a:gd name="connsiteY202" fmla="*/ 14583 h 585398"/>
              <a:gd name="connsiteX203" fmla="*/ 466792 w 624496"/>
              <a:gd name="connsiteY203" fmla="*/ 20898 h 585398"/>
              <a:gd name="connsiteX204" fmla="*/ 465753 w 624496"/>
              <a:gd name="connsiteY204" fmla="*/ 19869 h 585398"/>
              <a:gd name="connsiteX205" fmla="*/ 447227 w 624496"/>
              <a:gd name="connsiteY205" fmla="*/ 19869 h 585398"/>
              <a:gd name="connsiteX206" fmla="*/ 430368 w 624496"/>
              <a:gd name="connsiteY206" fmla="*/ 36728 h 585398"/>
              <a:gd name="connsiteX207" fmla="*/ 430368 w 624496"/>
              <a:gd name="connsiteY207" fmla="*/ 55264 h 585398"/>
              <a:gd name="connsiteX208" fmla="*/ 431406 w 624496"/>
              <a:gd name="connsiteY208" fmla="*/ 56293 h 585398"/>
              <a:gd name="connsiteX209" fmla="*/ 425091 w 624496"/>
              <a:gd name="connsiteY209" fmla="*/ 71533 h 585398"/>
              <a:gd name="connsiteX210" fmla="*/ 423624 w 624496"/>
              <a:gd name="connsiteY210" fmla="*/ 71533 h 585398"/>
              <a:gd name="connsiteX211" fmla="*/ 410518 w 624496"/>
              <a:gd name="connsiteY211" fmla="*/ 84639 h 585398"/>
              <a:gd name="connsiteX212" fmla="*/ 410518 w 624496"/>
              <a:gd name="connsiteY212" fmla="*/ 108452 h 585398"/>
              <a:gd name="connsiteX213" fmla="*/ 423586 w 624496"/>
              <a:gd name="connsiteY213" fmla="*/ 121577 h 585398"/>
              <a:gd name="connsiteX214" fmla="*/ 427587 w 624496"/>
              <a:gd name="connsiteY214" fmla="*/ 88659 h 585398"/>
              <a:gd name="connsiteX215" fmla="*/ 431635 w 624496"/>
              <a:gd name="connsiteY215" fmla="*/ 88659 h 585398"/>
              <a:gd name="connsiteX216" fmla="*/ 440007 w 624496"/>
              <a:gd name="connsiteY216" fmla="*/ 81915 h 585398"/>
              <a:gd name="connsiteX217" fmla="*/ 449285 w 624496"/>
              <a:gd name="connsiteY217" fmla="*/ 59531 h 585398"/>
              <a:gd name="connsiteX218" fmla="*/ 448132 w 624496"/>
              <a:gd name="connsiteY218" fmla="*/ 48835 h 585398"/>
              <a:gd name="connsiteX219" fmla="*/ 445275 w 624496"/>
              <a:gd name="connsiteY219" fmla="*/ 45977 h 585398"/>
              <a:gd name="connsiteX220" fmla="*/ 456429 w 624496"/>
              <a:gd name="connsiteY220" fmla="*/ 34823 h 585398"/>
              <a:gd name="connsiteX221" fmla="*/ 459286 w 624496"/>
              <a:gd name="connsiteY221" fmla="*/ 37681 h 585398"/>
              <a:gd name="connsiteX222" fmla="*/ 469973 w 624496"/>
              <a:gd name="connsiteY222" fmla="*/ 38833 h 585398"/>
              <a:gd name="connsiteX223" fmla="*/ 492366 w 624496"/>
              <a:gd name="connsiteY223" fmla="*/ 29556 h 585398"/>
              <a:gd name="connsiteX224" fmla="*/ 499110 w 624496"/>
              <a:gd name="connsiteY224" fmla="*/ 21184 h 585398"/>
              <a:gd name="connsiteX225" fmla="*/ 499110 w 624496"/>
              <a:gd name="connsiteY225" fmla="*/ 17135 h 585398"/>
              <a:gd name="connsiteX226" fmla="*/ 514883 w 624496"/>
              <a:gd name="connsiteY226" fmla="*/ 17135 h 585398"/>
              <a:gd name="connsiteX227" fmla="*/ 514883 w 624496"/>
              <a:gd name="connsiteY227" fmla="*/ 21184 h 585398"/>
              <a:gd name="connsiteX228" fmla="*/ 521627 w 624496"/>
              <a:gd name="connsiteY228" fmla="*/ 29556 h 585398"/>
              <a:gd name="connsiteX229" fmla="*/ 544011 w 624496"/>
              <a:gd name="connsiteY229" fmla="*/ 38833 h 585398"/>
              <a:gd name="connsiteX230" fmla="*/ 554698 w 624496"/>
              <a:gd name="connsiteY230" fmla="*/ 37681 h 585398"/>
              <a:gd name="connsiteX231" fmla="*/ 557555 w 624496"/>
              <a:gd name="connsiteY231" fmla="*/ 34823 h 585398"/>
              <a:gd name="connsiteX232" fmla="*/ 568757 w 624496"/>
              <a:gd name="connsiteY232" fmla="*/ 46015 h 585398"/>
              <a:gd name="connsiteX233" fmla="*/ 565899 w 624496"/>
              <a:gd name="connsiteY233" fmla="*/ 48873 h 585398"/>
              <a:gd name="connsiteX234" fmla="*/ 564747 w 624496"/>
              <a:gd name="connsiteY234" fmla="*/ 59569 h 585398"/>
              <a:gd name="connsiteX235" fmla="*/ 574015 w 624496"/>
              <a:gd name="connsiteY235" fmla="*/ 81944 h 585398"/>
              <a:gd name="connsiteX236" fmla="*/ 582397 w 624496"/>
              <a:gd name="connsiteY236" fmla="*/ 88697 h 585398"/>
              <a:gd name="connsiteX237" fmla="*/ 586445 w 624496"/>
              <a:gd name="connsiteY237" fmla="*/ 88697 h 585398"/>
              <a:gd name="connsiteX238" fmla="*/ 586445 w 624496"/>
              <a:gd name="connsiteY238" fmla="*/ 104470 h 585398"/>
              <a:gd name="connsiteX239" fmla="*/ 582397 w 624496"/>
              <a:gd name="connsiteY239" fmla="*/ 104470 h 585398"/>
              <a:gd name="connsiteX240" fmla="*/ 574015 w 624496"/>
              <a:gd name="connsiteY240" fmla="*/ 111223 h 585398"/>
              <a:gd name="connsiteX241" fmla="*/ 564747 w 624496"/>
              <a:gd name="connsiteY241" fmla="*/ 133607 h 585398"/>
              <a:gd name="connsiteX242" fmla="*/ 565899 w 624496"/>
              <a:gd name="connsiteY242" fmla="*/ 144294 h 585398"/>
              <a:gd name="connsiteX243" fmla="*/ 568757 w 624496"/>
              <a:gd name="connsiteY243" fmla="*/ 147152 h 585398"/>
              <a:gd name="connsiteX244" fmla="*/ 557603 w 624496"/>
              <a:gd name="connsiteY244" fmla="*/ 158306 h 585398"/>
              <a:gd name="connsiteX245" fmla="*/ 554746 w 624496"/>
              <a:gd name="connsiteY245" fmla="*/ 155448 h 585398"/>
              <a:gd name="connsiteX246" fmla="*/ 544059 w 624496"/>
              <a:gd name="connsiteY246" fmla="*/ 154296 h 585398"/>
              <a:gd name="connsiteX247" fmla="*/ 521675 w 624496"/>
              <a:gd name="connsiteY247" fmla="*/ 163573 h 585398"/>
              <a:gd name="connsiteX248" fmla="*/ 514931 w 624496"/>
              <a:gd name="connsiteY248" fmla="*/ 171945 h 585398"/>
              <a:gd name="connsiteX249" fmla="*/ 514931 w 624496"/>
              <a:gd name="connsiteY249" fmla="*/ 175984 h 585398"/>
              <a:gd name="connsiteX250" fmla="*/ 499148 w 624496"/>
              <a:gd name="connsiteY250" fmla="*/ 175984 h 585398"/>
              <a:gd name="connsiteX251" fmla="*/ 499148 w 624496"/>
              <a:gd name="connsiteY251" fmla="*/ 171945 h 585398"/>
              <a:gd name="connsiteX252" fmla="*/ 492404 w 624496"/>
              <a:gd name="connsiteY252" fmla="*/ 163573 h 585398"/>
              <a:gd name="connsiteX253" fmla="*/ 470011 w 624496"/>
              <a:gd name="connsiteY253" fmla="*/ 154295 h 585398"/>
              <a:gd name="connsiteX254" fmla="*/ 459324 w 624496"/>
              <a:gd name="connsiteY254" fmla="*/ 155448 h 585398"/>
              <a:gd name="connsiteX255" fmla="*/ 456467 w 624496"/>
              <a:gd name="connsiteY255" fmla="*/ 158306 h 585398"/>
              <a:gd name="connsiteX256" fmla="*/ 445303 w 624496"/>
              <a:gd name="connsiteY256" fmla="*/ 147152 h 585398"/>
              <a:gd name="connsiteX257" fmla="*/ 448161 w 624496"/>
              <a:gd name="connsiteY257" fmla="*/ 144294 h 585398"/>
              <a:gd name="connsiteX258" fmla="*/ 449304 w 624496"/>
              <a:gd name="connsiteY258" fmla="*/ 133598 h 585398"/>
              <a:gd name="connsiteX259" fmla="*/ 440036 w 624496"/>
              <a:gd name="connsiteY259" fmla="*/ 111223 h 585398"/>
              <a:gd name="connsiteX260" fmla="*/ 431663 w 624496"/>
              <a:gd name="connsiteY260" fmla="*/ 104480 h 585398"/>
              <a:gd name="connsiteX261" fmla="*/ 427615 w 624496"/>
              <a:gd name="connsiteY261" fmla="*/ 104480 h 585398"/>
              <a:gd name="connsiteX262" fmla="*/ 506997 w 624496"/>
              <a:gd name="connsiteY262" fmla="*/ 150686 h 585398"/>
              <a:gd name="connsiteX263" fmla="*/ 561137 w 624496"/>
              <a:gd name="connsiteY263" fmla="*/ 96545 h 585398"/>
              <a:gd name="connsiteX264" fmla="*/ 506997 w 624496"/>
              <a:gd name="connsiteY264" fmla="*/ 42405 h 585398"/>
              <a:gd name="connsiteX265" fmla="*/ 452857 w 624496"/>
              <a:gd name="connsiteY265" fmla="*/ 96545 h 585398"/>
              <a:gd name="connsiteX266" fmla="*/ 452857 w 624496"/>
              <a:gd name="connsiteY266" fmla="*/ 96555 h 585398"/>
              <a:gd name="connsiteX267" fmla="*/ 507035 w 624496"/>
              <a:gd name="connsiteY267" fmla="*/ 150686 h 585398"/>
              <a:gd name="connsiteX268" fmla="*/ 506997 w 624496"/>
              <a:gd name="connsiteY268" fmla="*/ 59550 h 585398"/>
              <a:gd name="connsiteX269" fmla="*/ 544001 w 624496"/>
              <a:gd name="connsiteY269" fmla="*/ 96555 h 585398"/>
              <a:gd name="connsiteX270" fmla="*/ 506997 w 624496"/>
              <a:gd name="connsiteY270" fmla="*/ 133560 h 585398"/>
              <a:gd name="connsiteX271" fmla="*/ 469992 w 624496"/>
              <a:gd name="connsiteY271" fmla="*/ 96555 h 585398"/>
              <a:gd name="connsiteX272" fmla="*/ 507035 w 624496"/>
              <a:gd name="connsiteY272" fmla="*/ 59550 h 585398"/>
              <a:gd name="connsiteX273" fmla="*/ 623916 w 624496"/>
              <a:gd name="connsiteY273" fmla="*/ 239211 h 585398"/>
              <a:gd name="connsiteX274" fmla="*/ 612792 w 624496"/>
              <a:gd name="connsiteY274" fmla="*/ 244031 h 585398"/>
              <a:gd name="connsiteX275" fmla="*/ 612791 w 624496"/>
              <a:gd name="connsiteY275" fmla="*/ 244031 h 585398"/>
              <a:gd name="connsiteX276" fmla="*/ 601551 w 624496"/>
              <a:gd name="connsiteY276" fmla="*/ 239582 h 585398"/>
              <a:gd name="connsiteX277" fmla="*/ 462466 w 624496"/>
              <a:gd name="connsiteY277" fmla="*/ 567093 h 585398"/>
              <a:gd name="connsiteX278" fmla="*/ 367551 w 624496"/>
              <a:gd name="connsiteY278" fmla="*/ 585397 h 585398"/>
              <a:gd name="connsiteX279" fmla="*/ 328336 w 624496"/>
              <a:gd name="connsiteY279" fmla="*/ 582282 h 585398"/>
              <a:gd name="connsiteX280" fmla="*/ 321007 w 624496"/>
              <a:gd name="connsiteY280" fmla="*/ 572626 h 585398"/>
              <a:gd name="connsiteX281" fmla="*/ 330663 w 624496"/>
              <a:gd name="connsiteY281" fmla="*/ 565296 h 585398"/>
              <a:gd name="connsiteX282" fmla="*/ 331041 w 624496"/>
              <a:gd name="connsiteY282" fmla="*/ 565356 h 585398"/>
              <a:gd name="connsiteX283" fmla="*/ 599748 w 624496"/>
              <a:gd name="connsiteY283" fmla="*/ 370934 h 585398"/>
              <a:gd name="connsiteX284" fmla="*/ 585730 w 624496"/>
              <a:gd name="connsiteY284" fmla="*/ 246183 h 585398"/>
              <a:gd name="connsiteX285" fmla="*/ 581168 w 624496"/>
              <a:gd name="connsiteY285" fmla="*/ 257727 h 585398"/>
              <a:gd name="connsiteX286" fmla="*/ 570043 w 624496"/>
              <a:gd name="connsiteY286" fmla="*/ 262547 h 585398"/>
              <a:gd name="connsiteX287" fmla="*/ 565223 w 624496"/>
              <a:gd name="connsiteY287" fmla="*/ 251422 h 585398"/>
              <a:gd name="connsiteX288" fmla="*/ 576948 w 624496"/>
              <a:gd name="connsiteY288" fmla="*/ 221771 h 585398"/>
              <a:gd name="connsiteX289" fmla="*/ 581301 w 624496"/>
              <a:gd name="connsiteY289" fmla="*/ 216256 h 585398"/>
              <a:gd name="connsiteX290" fmla="*/ 581882 w 624496"/>
              <a:gd name="connsiteY290" fmla="*/ 216094 h 585398"/>
              <a:gd name="connsiteX291" fmla="*/ 581882 w 624496"/>
              <a:gd name="connsiteY291" fmla="*/ 216094 h 585398"/>
              <a:gd name="connsiteX292" fmla="*/ 582063 w 624496"/>
              <a:gd name="connsiteY292" fmla="*/ 216094 h 585398"/>
              <a:gd name="connsiteX293" fmla="*/ 584978 w 624496"/>
              <a:gd name="connsiteY293" fmla="*/ 215465 h 585398"/>
              <a:gd name="connsiteX294" fmla="*/ 586149 w 624496"/>
              <a:gd name="connsiteY294" fmla="*/ 215608 h 585398"/>
              <a:gd name="connsiteX295" fmla="*/ 588054 w 624496"/>
              <a:gd name="connsiteY295" fmla="*/ 215960 h 585398"/>
              <a:gd name="connsiteX296" fmla="*/ 588436 w 624496"/>
              <a:gd name="connsiteY296" fmla="*/ 216027 h 585398"/>
              <a:gd name="connsiteX297" fmla="*/ 619068 w 624496"/>
              <a:gd name="connsiteY297" fmla="*/ 228143 h 585398"/>
              <a:gd name="connsiteX298" fmla="*/ 623916 w 624496"/>
              <a:gd name="connsiteY298" fmla="*/ 239211 h 585398"/>
              <a:gd name="connsiteX299" fmla="*/ 188757 w 624496"/>
              <a:gd name="connsiteY299" fmla="*/ 446627 h 585398"/>
              <a:gd name="connsiteX300" fmla="*/ 178470 w 624496"/>
              <a:gd name="connsiteY300" fmla="*/ 453038 h 585398"/>
              <a:gd name="connsiteX301" fmla="*/ 175222 w 624496"/>
              <a:gd name="connsiteY301" fmla="*/ 467020 h 585398"/>
              <a:gd name="connsiteX302" fmla="*/ 133712 w 624496"/>
              <a:gd name="connsiteY302" fmla="*/ 332127 h 585398"/>
              <a:gd name="connsiteX303" fmla="*/ 136808 w 624496"/>
              <a:gd name="connsiteY303" fmla="*/ 330660 h 585398"/>
              <a:gd name="connsiteX304" fmla="*/ 137846 w 624496"/>
              <a:gd name="connsiteY304" fmla="*/ 331708 h 585398"/>
              <a:gd name="connsiteX305" fmla="*/ 156381 w 624496"/>
              <a:gd name="connsiteY305" fmla="*/ 331708 h 585398"/>
              <a:gd name="connsiteX306" fmla="*/ 173260 w 624496"/>
              <a:gd name="connsiteY306" fmla="*/ 314830 h 585398"/>
              <a:gd name="connsiteX307" fmla="*/ 173260 w 624496"/>
              <a:gd name="connsiteY307" fmla="*/ 296294 h 585398"/>
              <a:gd name="connsiteX308" fmla="*/ 172231 w 624496"/>
              <a:gd name="connsiteY308" fmla="*/ 295266 h 585398"/>
              <a:gd name="connsiteX309" fmla="*/ 178537 w 624496"/>
              <a:gd name="connsiteY309" fmla="*/ 280026 h 585398"/>
              <a:gd name="connsiteX310" fmla="*/ 180003 w 624496"/>
              <a:gd name="connsiteY310" fmla="*/ 280025 h 585398"/>
              <a:gd name="connsiteX311" fmla="*/ 193119 w 624496"/>
              <a:gd name="connsiteY311" fmla="*/ 266929 h 585398"/>
              <a:gd name="connsiteX312" fmla="*/ 193119 w 624496"/>
              <a:gd name="connsiteY312" fmla="*/ 243116 h 585398"/>
              <a:gd name="connsiteX313" fmla="*/ 180003 w 624496"/>
              <a:gd name="connsiteY313" fmla="*/ 230000 h 585398"/>
              <a:gd name="connsiteX314" fmla="*/ 178537 w 624496"/>
              <a:gd name="connsiteY314" fmla="*/ 230000 h 585398"/>
              <a:gd name="connsiteX315" fmla="*/ 172231 w 624496"/>
              <a:gd name="connsiteY315" fmla="*/ 214760 h 585398"/>
              <a:gd name="connsiteX316" fmla="*/ 173279 w 624496"/>
              <a:gd name="connsiteY316" fmla="*/ 213712 h 585398"/>
              <a:gd name="connsiteX317" fmla="*/ 176003 w 624496"/>
              <a:gd name="connsiteY317" fmla="*/ 199320 h 585398"/>
              <a:gd name="connsiteX318" fmla="*/ 361207 w 624496"/>
              <a:gd name="connsiteY318" fmla="*/ 99165 h 585398"/>
              <a:gd name="connsiteX319" fmla="*/ 369518 w 624496"/>
              <a:gd name="connsiteY319" fmla="*/ 90330 h 585398"/>
              <a:gd name="connsiteX320" fmla="*/ 360683 w 624496"/>
              <a:gd name="connsiteY320" fmla="*/ 82020 h 585398"/>
              <a:gd name="connsiteX321" fmla="*/ 164268 w 624496"/>
              <a:gd name="connsiteY321" fmla="*/ 186166 h 585398"/>
              <a:gd name="connsiteX322" fmla="*/ 156401 w 624496"/>
              <a:gd name="connsiteY322" fmla="*/ 178308 h 585398"/>
              <a:gd name="connsiteX323" fmla="*/ 147133 w 624496"/>
              <a:gd name="connsiteY323" fmla="*/ 174498 h 585398"/>
              <a:gd name="connsiteX324" fmla="*/ 147133 w 624496"/>
              <a:gd name="connsiteY324" fmla="*/ 174498 h 585398"/>
              <a:gd name="connsiteX325" fmla="*/ 137855 w 624496"/>
              <a:gd name="connsiteY325" fmla="*/ 178308 h 585398"/>
              <a:gd name="connsiteX326" fmla="*/ 136827 w 624496"/>
              <a:gd name="connsiteY326" fmla="*/ 179346 h 585398"/>
              <a:gd name="connsiteX327" fmla="*/ 121587 w 624496"/>
              <a:gd name="connsiteY327" fmla="*/ 173031 h 585398"/>
              <a:gd name="connsiteX328" fmla="*/ 121587 w 624496"/>
              <a:gd name="connsiteY328" fmla="*/ 171555 h 585398"/>
              <a:gd name="connsiteX329" fmla="*/ 108499 w 624496"/>
              <a:gd name="connsiteY329" fmla="*/ 158410 h 585398"/>
              <a:gd name="connsiteX330" fmla="*/ 108471 w 624496"/>
              <a:gd name="connsiteY330" fmla="*/ 158410 h 585398"/>
              <a:gd name="connsiteX331" fmla="*/ 84611 w 624496"/>
              <a:gd name="connsiteY331" fmla="*/ 158410 h 585398"/>
              <a:gd name="connsiteX332" fmla="*/ 71495 w 624496"/>
              <a:gd name="connsiteY332" fmla="*/ 171507 h 585398"/>
              <a:gd name="connsiteX333" fmla="*/ 71495 w 624496"/>
              <a:gd name="connsiteY333" fmla="*/ 172984 h 585398"/>
              <a:gd name="connsiteX334" fmla="*/ 56255 w 624496"/>
              <a:gd name="connsiteY334" fmla="*/ 179299 h 585398"/>
              <a:gd name="connsiteX335" fmla="*/ 55235 w 624496"/>
              <a:gd name="connsiteY335" fmla="*/ 178279 h 585398"/>
              <a:gd name="connsiteX336" fmla="*/ 45949 w 624496"/>
              <a:gd name="connsiteY336" fmla="*/ 174469 h 585398"/>
              <a:gd name="connsiteX337" fmla="*/ 45949 w 624496"/>
              <a:gd name="connsiteY337" fmla="*/ 174469 h 585398"/>
              <a:gd name="connsiteX338" fmla="*/ 36700 w 624496"/>
              <a:gd name="connsiteY338" fmla="*/ 178279 h 585398"/>
              <a:gd name="connsiteX339" fmla="*/ 19841 w 624496"/>
              <a:gd name="connsiteY339" fmla="*/ 195158 h 585398"/>
              <a:gd name="connsiteX340" fmla="*/ 19841 w 624496"/>
              <a:gd name="connsiteY340" fmla="*/ 213693 h 585398"/>
              <a:gd name="connsiteX341" fmla="*/ 20879 w 624496"/>
              <a:gd name="connsiteY341" fmla="*/ 214722 h 585398"/>
              <a:gd name="connsiteX342" fmla="*/ 14573 w 624496"/>
              <a:gd name="connsiteY342" fmla="*/ 229962 h 585398"/>
              <a:gd name="connsiteX343" fmla="*/ 13097 w 624496"/>
              <a:gd name="connsiteY343" fmla="*/ 229962 h 585398"/>
              <a:gd name="connsiteX344" fmla="*/ 0 w 624496"/>
              <a:gd name="connsiteY344" fmla="*/ 243078 h 585398"/>
              <a:gd name="connsiteX345" fmla="*/ 0 w 624496"/>
              <a:gd name="connsiteY345" fmla="*/ 266891 h 585398"/>
              <a:gd name="connsiteX346" fmla="*/ 13097 w 624496"/>
              <a:gd name="connsiteY346" fmla="*/ 279987 h 585398"/>
              <a:gd name="connsiteX347" fmla="*/ 14564 w 624496"/>
              <a:gd name="connsiteY347" fmla="*/ 279987 h 585398"/>
              <a:gd name="connsiteX348" fmla="*/ 20879 w 624496"/>
              <a:gd name="connsiteY348" fmla="*/ 295227 h 585398"/>
              <a:gd name="connsiteX349" fmla="*/ 19850 w 624496"/>
              <a:gd name="connsiteY349" fmla="*/ 296256 h 585398"/>
              <a:gd name="connsiteX350" fmla="*/ 19840 w 624496"/>
              <a:gd name="connsiteY350" fmla="*/ 314791 h 585398"/>
              <a:gd name="connsiteX351" fmla="*/ 19850 w 624496"/>
              <a:gd name="connsiteY351" fmla="*/ 314801 h 585398"/>
              <a:gd name="connsiteX352" fmla="*/ 36728 w 624496"/>
              <a:gd name="connsiteY352" fmla="*/ 331765 h 585398"/>
              <a:gd name="connsiteX353" fmla="*/ 55245 w 624496"/>
              <a:gd name="connsiteY353" fmla="*/ 331765 h 585398"/>
              <a:gd name="connsiteX354" fmla="*/ 56274 w 624496"/>
              <a:gd name="connsiteY354" fmla="*/ 330727 h 585398"/>
              <a:gd name="connsiteX355" fmla="*/ 71514 w 624496"/>
              <a:gd name="connsiteY355" fmla="*/ 337042 h 585398"/>
              <a:gd name="connsiteX356" fmla="*/ 71514 w 624496"/>
              <a:gd name="connsiteY356" fmla="*/ 338433 h 585398"/>
              <a:gd name="connsiteX357" fmla="*/ 84611 w 624496"/>
              <a:gd name="connsiteY357" fmla="*/ 351530 h 585398"/>
              <a:gd name="connsiteX358" fmla="*/ 108423 w 624496"/>
              <a:gd name="connsiteY358" fmla="*/ 351530 h 585398"/>
              <a:gd name="connsiteX359" fmla="*/ 116815 w 624496"/>
              <a:gd name="connsiteY359" fmla="*/ 348415 h 585398"/>
              <a:gd name="connsiteX360" fmla="*/ 158839 w 624496"/>
              <a:gd name="connsiteY360" fmla="*/ 473497 h 585398"/>
              <a:gd name="connsiteX361" fmla="*/ 149219 w 624496"/>
              <a:gd name="connsiteY361" fmla="*/ 471268 h 585398"/>
              <a:gd name="connsiteX362" fmla="*/ 138927 w 624496"/>
              <a:gd name="connsiteY362" fmla="*/ 477684 h 585398"/>
              <a:gd name="connsiteX363" fmla="*/ 145342 w 624496"/>
              <a:gd name="connsiteY363" fmla="*/ 487975 h 585398"/>
              <a:gd name="connsiteX364" fmla="*/ 177432 w 624496"/>
              <a:gd name="connsiteY364" fmla="*/ 495424 h 585398"/>
              <a:gd name="connsiteX365" fmla="*/ 179337 w 624496"/>
              <a:gd name="connsiteY365" fmla="*/ 495643 h 585398"/>
              <a:gd name="connsiteX366" fmla="*/ 179394 w 624496"/>
              <a:gd name="connsiteY366" fmla="*/ 495643 h 585398"/>
              <a:gd name="connsiteX367" fmla="*/ 179661 w 624496"/>
              <a:gd name="connsiteY367" fmla="*/ 495643 h 585398"/>
              <a:gd name="connsiteX368" fmla="*/ 181899 w 624496"/>
              <a:gd name="connsiteY368" fmla="*/ 495271 h 585398"/>
              <a:gd name="connsiteX369" fmla="*/ 182947 w 624496"/>
              <a:gd name="connsiteY369" fmla="*/ 494805 h 585398"/>
              <a:gd name="connsiteX370" fmla="*/ 183899 w 624496"/>
              <a:gd name="connsiteY370" fmla="*/ 494395 h 585398"/>
              <a:gd name="connsiteX371" fmla="*/ 184185 w 624496"/>
              <a:gd name="connsiteY371" fmla="*/ 494128 h 585398"/>
              <a:gd name="connsiteX372" fmla="*/ 184823 w 624496"/>
              <a:gd name="connsiteY372" fmla="*/ 493776 h 585398"/>
              <a:gd name="connsiteX373" fmla="*/ 185699 w 624496"/>
              <a:gd name="connsiteY373" fmla="*/ 492709 h 585398"/>
              <a:gd name="connsiteX374" fmla="*/ 186509 w 624496"/>
              <a:gd name="connsiteY374" fmla="*/ 491757 h 585398"/>
              <a:gd name="connsiteX375" fmla="*/ 187461 w 624496"/>
              <a:gd name="connsiteY375" fmla="*/ 489737 h 585398"/>
              <a:gd name="connsiteX376" fmla="*/ 187747 w 624496"/>
              <a:gd name="connsiteY376" fmla="*/ 489099 h 585398"/>
              <a:gd name="connsiteX377" fmla="*/ 195196 w 624496"/>
              <a:gd name="connsiteY377" fmla="*/ 457010 h 585398"/>
              <a:gd name="connsiteX378" fmla="*/ 188886 w 624496"/>
              <a:gd name="connsiteY378" fmla="*/ 446658 h 585398"/>
              <a:gd name="connsiteX379" fmla="*/ 188757 w 624496"/>
              <a:gd name="connsiteY379" fmla="*/ 446627 h 585398"/>
              <a:gd name="connsiteX380" fmla="*/ 104432 w 624496"/>
              <a:gd name="connsiteY380" fmla="*/ 330346 h 585398"/>
              <a:gd name="connsiteX381" fmla="*/ 104432 w 624496"/>
              <a:gd name="connsiteY381" fmla="*/ 334385 h 585398"/>
              <a:gd name="connsiteX382" fmla="*/ 88659 w 624496"/>
              <a:gd name="connsiteY382" fmla="*/ 334385 h 585398"/>
              <a:gd name="connsiteX383" fmla="*/ 88659 w 624496"/>
              <a:gd name="connsiteY383" fmla="*/ 330346 h 585398"/>
              <a:gd name="connsiteX384" fmla="*/ 81905 w 624496"/>
              <a:gd name="connsiteY384" fmla="*/ 321974 h 585398"/>
              <a:gd name="connsiteX385" fmla="*/ 59531 w 624496"/>
              <a:gd name="connsiteY385" fmla="*/ 312706 h 585398"/>
              <a:gd name="connsiteX386" fmla="*/ 48825 w 624496"/>
              <a:gd name="connsiteY386" fmla="*/ 313858 h 585398"/>
              <a:gd name="connsiteX387" fmla="*/ 45968 w 624496"/>
              <a:gd name="connsiteY387" fmla="*/ 316716 h 585398"/>
              <a:gd name="connsiteX388" fmla="*/ 34814 w 624496"/>
              <a:gd name="connsiteY388" fmla="*/ 305562 h 585398"/>
              <a:gd name="connsiteX389" fmla="*/ 37671 w 624496"/>
              <a:gd name="connsiteY389" fmla="*/ 302705 h 585398"/>
              <a:gd name="connsiteX390" fmla="*/ 38824 w 624496"/>
              <a:gd name="connsiteY390" fmla="*/ 292008 h 585398"/>
              <a:gd name="connsiteX391" fmla="*/ 29547 w 624496"/>
              <a:gd name="connsiteY391" fmla="*/ 269615 h 585398"/>
              <a:gd name="connsiteX392" fmla="*/ 21174 w 624496"/>
              <a:gd name="connsiteY392" fmla="*/ 262871 h 585398"/>
              <a:gd name="connsiteX393" fmla="*/ 17135 w 624496"/>
              <a:gd name="connsiteY393" fmla="*/ 262871 h 585398"/>
              <a:gd name="connsiteX394" fmla="*/ 17135 w 624496"/>
              <a:gd name="connsiteY394" fmla="*/ 247098 h 585398"/>
              <a:gd name="connsiteX395" fmla="*/ 21174 w 624496"/>
              <a:gd name="connsiteY395" fmla="*/ 247098 h 585398"/>
              <a:gd name="connsiteX396" fmla="*/ 29556 w 624496"/>
              <a:gd name="connsiteY396" fmla="*/ 240325 h 585398"/>
              <a:gd name="connsiteX397" fmla="*/ 38833 w 624496"/>
              <a:gd name="connsiteY397" fmla="*/ 217951 h 585398"/>
              <a:gd name="connsiteX398" fmla="*/ 37681 w 624496"/>
              <a:gd name="connsiteY398" fmla="*/ 207254 h 585398"/>
              <a:gd name="connsiteX399" fmla="*/ 34823 w 624496"/>
              <a:gd name="connsiteY399" fmla="*/ 204397 h 585398"/>
              <a:gd name="connsiteX400" fmla="*/ 45968 w 624496"/>
              <a:gd name="connsiteY400" fmla="*/ 193253 h 585398"/>
              <a:gd name="connsiteX401" fmla="*/ 48825 w 624496"/>
              <a:gd name="connsiteY401" fmla="*/ 196110 h 585398"/>
              <a:gd name="connsiteX402" fmla="*/ 59522 w 624496"/>
              <a:gd name="connsiteY402" fmla="*/ 197253 h 585398"/>
              <a:gd name="connsiteX403" fmla="*/ 81886 w 624496"/>
              <a:gd name="connsiteY403" fmla="*/ 187985 h 585398"/>
              <a:gd name="connsiteX404" fmla="*/ 88649 w 624496"/>
              <a:gd name="connsiteY404" fmla="*/ 179613 h 585398"/>
              <a:gd name="connsiteX405" fmla="*/ 88649 w 624496"/>
              <a:gd name="connsiteY405" fmla="*/ 175555 h 585398"/>
              <a:gd name="connsiteX406" fmla="*/ 104423 w 624496"/>
              <a:gd name="connsiteY406" fmla="*/ 175555 h 585398"/>
              <a:gd name="connsiteX407" fmla="*/ 104423 w 624496"/>
              <a:gd name="connsiteY407" fmla="*/ 179603 h 585398"/>
              <a:gd name="connsiteX408" fmla="*/ 111176 w 624496"/>
              <a:gd name="connsiteY408" fmla="*/ 187976 h 585398"/>
              <a:gd name="connsiteX409" fmla="*/ 133550 w 624496"/>
              <a:gd name="connsiteY409" fmla="*/ 197244 h 585398"/>
              <a:gd name="connsiteX410" fmla="*/ 144256 w 624496"/>
              <a:gd name="connsiteY410" fmla="*/ 196101 h 585398"/>
              <a:gd name="connsiteX411" fmla="*/ 147114 w 624496"/>
              <a:gd name="connsiteY411" fmla="*/ 193243 h 585398"/>
              <a:gd name="connsiteX412" fmla="*/ 158267 w 624496"/>
              <a:gd name="connsiteY412" fmla="*/ 204387 h 585398"/>
              <a:gd name="connsiteX413" fmla="*/ 155410 w 624496"/>
              <a:gd name="connsiteY413" fmla="*/ 207245 h 585398"/>
              <a:gd name="connsiteX414" fmla="*/ 154267 w 624496"/>
              <a:gd name="connsiteY414" fmla="*/ 217932 h 585398"/>
              <a:gd name="connsiteX415" fmla="*/ 163525 w 624496"/>
              <a:gd name="connsiteY415" fmla="*/ 240325 h 585398"/>
              <a:gd name="connsiteX416" fmla="*/ 171907 w 624496"/>
              <a:gd name="connsiteY416" fmla="*/ 247079 h 585398"/>
              <a:gd name="connsiteX417" fmla="*/ 175955 w 624496"/>
              <a:gd name="connsiteY417" fmla="*/ 247079 h 585398"/>
              <a:gd name="connsiteX418" fmla="*/ 175955 w 624496"/>
              <a:gd name="connsiteY418" fmla="*/ 262852 h 585398"/>
              <a:gd name="connsiteX419" fmla="*/ 171907 w 624496"/>
              <a:gd name="connsiteY419" fmla="*/ 262852 h 585398"/>
              <a:gd name="connsiteX420" fmla="*/ 163525 w 624496"/>
              <a:gd name="connsiteY420" fmla="*/ 269605 h 585398"/>
              <a:gd name="connsiteX421" fmla="*/ 154257 w 624496"/>
              <a:gd name="connsiteY421" fmla="*/ 291979 h 585398"/>
              <a:gd name="connsiteX422" fmla="*/ 155410 w 624496"/>
              <a:gd name="connsiteY422" fmla="*/ 302685 h 585398"/>
              <a:gd name="connsiteX423" fmla="*/ 158267 w 624496"/>
              <a:gd name="connsiteY423" fmla="*/ 305543 h 585398"/>
              <a:gd name="connsiteX424" fmla="*/ 147123 w 624496"/>
              <a:gd name="connsiteY424" fmla="*/ 316706 h 585398"/>
              <a:gd name="connsiteX425" fmla="*/ 144266 w 624496"/>
              <a:gd name="connsiteY425" fmla="*/ 313849 h 585398"/>
              <a:gd name="connsiteX426" fmla="*/ 133560 w 624496"/>
              <a:gd name="connsiteY426" fmla="*/ 312706 h 585398"/>
              <a:gd name="connsiteX427" fmla="*/ 121996 w 624496"/>
              <a:gd name="connsiteY427" fmla="*/ 318592 h 585398"/>
              <a:gd name="connsiteX428" fmla="*/ 121825 w 624496"/>
              <a:gd name="connsiteY428" fmla="*/ 318649 h 585398"/>
              <a:gd name="connsiteX429" fmla="*/ 111195 w 624496"/>
              <a:gd name="connsiteY429" fmla="*/ 321974 h 585398"/>
              <a:gd name="connsiteX430" fmla="*/ 104432 w 624496"/>
              <a:gd name="connsiteY430" fmla="*/ 330346 h 585398"/>
              <a:gd name="connsiteX431" fmla="*/ 150695 w 624496"/>
              <a:gd name="connsiteY431" fmla="*/ 254994 h 585398"/>
              <a:gd name="connsiteX432" fmla="*/ 96564 w 624496"/>
              <a:gd name="connsiteY432" fmla="*/ 200825 h 585398"/>
              <a:gd name="connsiteX433" fmla="*/ 42396 w 624496"/>
              <a:gd name="connsiteY433" fmla="*/ 254956 h 585398"/>
              <a:gd name="connsiteX434" fmla="*/ 96526 w 624496"/>
              <a:gd name="connsiteY434" fmla="*/ 309124 h 585398"/>
              <a:gd name="connsiteX435" fmla="*/ 96545 w 624496"/>
              <a:gd name="connsiteY435" fmla="*/ 309124 h 585398"/>
              <a:gd name="connsiteX436" fmla="*/ 150695 w 624496"/>
              <a:gd name="connsiteY436" fmla="*/ 254994 h 585398"/>
              <a:gd name="connsiteX437" fmla="*/ 96545 w 624496"/>
              <a:gd name="connsiteY437" fmla="*/ 291979 h 585398"/>
              <a:gd name="connsiteX438" fmla="*/ 59541 w 624496"/>
              <a:gd name="connsiteY438" fmla="*/ 254975 h 585398"/>
              <a:gd name="connsiteX439" fmla="*/ 96545 w 624496"/>
              <a:gd name="connsiteY439" fmla="*/ 217970 h 585398"/>
              <a:gd name="connsiteX440" fmla="*/ 133550 w 624496"/>
              <a:gd name="connsiteY440" fmla="*/ 254975 h 585398"/>
              <a:gd name="connsiteX441" fmla="*/ 133550 w 624496"/>
              <a:gd name="connsiteY441" fmla="*/ 254994 h 585398"/>
              <a:gd name="connsiteX442" fmla="*/ 96545 w 624496"/>
              <a:gd name="connsiteY442" fmla="*/ 291979 h 58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</a:cxnLst>
            <a:rect l="l" t="t" r="r" b="b"/>
            <a:pathLst>
              <a:path w="624496" h="585398">
                <a:moveTo>
                  <a:pt x="327250" y="497681"/>
                </a:moveTo>
                <a:cubicBezTo>
                  <a:pt x="327256" y="507328"/>
                  <a:pt x="335072" y="515149"/>
                  <a:pt x="344719" y="515160"/>
                </a:cubicBezTo>
                <a:lnTo>
                  <a:pt x="391601" y="515160"/>
                </a:lnTo>
                <a:cubicBezTo>
                  <a:pt x="401250" y="515149"/>
                  <a:pt x="409069" y="507330"/>
                  <a:pt x="409080" y="497681"/>
                </a:cubicBezTo>
                <a:lnTo>
                  <a:pt x="409080" y="488556"/>
                </a:lnTo>
                <a:cubicBezTo>
                  <a:pt x="422986" y="484902"/>
                  <a:pt x="436329" y="479372"/>
                  <a:pt x="448742" y="472116"/>
                </a:cubicBezTo>
                <a:lnTo>
                  <a:pt x="455209" y="478584"/>
                </a:lnTo>
                <a:cubicBezTo>
                  <a:pt x="462041" y="485393"/>
                  <a:pt x="473095" y="485393"/>
                  <a:pt x="479927" y="478584"/>
                </a:cubicBezTo>
                <a:lnTo>
                  <a:pt x="513083" y="445427"/>
                </a:lnTo>
                <a:cubicBezTo>
                  <a:pt x="519886" y="438596"/>
                  <a:pt x="519886" y="427550"/>
                  <a:pt x="513083" y="420719"/>
                </a:cubicBezTo>
                <a:lnTo>
                  <a:pt x="506568" y="414252"/>
                </a:lnTo>
                <a:cubicBezTo>
                  <a:pt x="513832" y="401852"/>
                  <a:pt x="519375" y="388522"/>
                  <a:pt x="523046" y="374628"/>
                </a:cubicBezTo>
                <a:lnTo>
                  <a:pt x="532181" y="374628"/>
                </a:lnTo>
                <a:cubicBezTo>
                  <a:pt x="541829" y="374617"/>
                  <a:pt x="549649" y="366798"/>
                  <a:pt x="549659" y="357149"/>
                </a:cubicBezTo>
                <a:lnTo>
                  <a:pt x="549659" y="310229"/>
                </a:lnTo>
                <a:cubicBezTo>
                  <a:pt x="549670" y="300566"/>
                  <a:pt x="541844" y="292723"/>
                  <a:pt x="532181" y="292713"/>
                </a:cubicBezTo>
                <a:lnTo>
                  <a:pt x="523046" y="292713"/>
                </a:lnTo>
                <a:cubicBezTo>
                  <a:pt x="519392" y="278809"/>
                  <a:pt x="513865" y="265466"/>
                  <a:pt x="506616" y="253051"/>
                </a:cubicBezTo>
                <a:lnTo>
                  <a:pt x="513074" y="246602"/>
                </a:lnTo>
                <a:cubicBezTo>
                  <a:pt x="519912" y="239775"/>
                  <a:pt x="519921" y="228696"/>
                  <a:pt x="513094" y="221857"/>
                </a:cubicBezTo>
                <a:cubicBezTo>
                  <a:pt x="513087" y="221851"/>
                  <a:pt x="513080" y="221844"/>
                  <a:pt x="513074" y="221837"/>
                </a:cubicBezTo>
                <a:lnTo>
                  <a:pt x="479927" y="188690"/>
                </a:lnTo>
                <a:cubicBezTo>
                  <a:pt x="473003" y="182107"/>
                  <a:pt x="462133" y="182107"/>
                  <a:pt x="455209" y="188690"/>
                </a:cubicBezTo>
                <a:lnTo>
                  <a:pt x="448742" y="195158"/>
                </a:lnTo>
                <a:cubicBezTo>
                  <a:pt x="436333" y="187903"/>
                  <a:pt x="422992" y="182375"/>
                  <a:pt x="409089" y="178727"/>
                </a:cubicBezTo>
                <a:lnTo>
                  <a:pt x="409089" y="169602"/>
                </a:lnTo>
                <a:cubicBezTo>
                  <a:pt x="409079" y="159947"/>
                  <a:pt x="401257" y="152121"/>
                  <a:pt x="391601" y="152105"/>
                </a:cubicBezTo>
                <a:lnTo>
                  <a:pt x="344729" y="152105"/>
                </a:lnTo>
                <a:cubicBezTo>
                  <a:pt x="335075" y="152121"/>
                  <a:pt x="327256" y="159948"/>
                  <a:pt x="327250" y="169602"/>
                </a:cubicBezTo>
                <a:lnTo>
                  <a:pt x="327250" y="178727"/>
                </a:lnTo>
                <a:cubicBezTo>
                  <a:pt x="313345" y="182377"/>
                  <a:pt x="300001" y="187905"/>
                  <a:pt x="287588" y="195158"/>
                </a:cubicBezTo>
                <a:lnTo>
                  <a:pt x="281121" y="188700"/>
                </a:lnTo>
                <a:cubicBezTo>
                  <a:pt x="274293" y="181880"/>
                  <a:pt x="263231" y="181880"/>
                  <a:pt x="256403" y="188700"/>
                </a:cubicBezTo>
                <a:lnTo>
                  <a:pt x="223256" y="221847"/>
                </a:lnTo>
                <a:cubicBezTo>
                  <a:pt x="216418" y="228674"/>
                  <a:pt x="216409" y="239753"/>
                  <a:pt x="223237" y="246592"/>
                </a:cubicBezTo>
                <a:cubicBezTo>
                  <a:pt x="223243" y="246599"/>
                  <a:pt x="223250" y="246605"/>
                  <a:pt x="223256" y="246612"/>
                </a:cubicBezTo>
                <a:lnTo>
                  <a:pt x="229714" y="253060"/>
                </a:lnTo>
                <a:cubicBezTo>
                  <a:pt x="222471" y="265475"/>
                  <a:pt x="216944" y="278814"/>
                  <a:pt x="213284" y="292713"/>
                </a:cubicBezTo>
                <a:lnTo>
                  <a:pt x="204149" y="292713"/>
                </a:lnTo>
                <a:cubicBezTo>
                  <a:pt x="194501" y="292723"/>
                  <a:pt x="186681" y="300542"/>
                  <a:pt x="186671" y="310191"/>
                </a:cubicBezTo>
                <a:lnTo>
                  <a:pt x="186671" y="357073"/>
                </a:lnTo>
                <a:cubicBezTo>
                  <a:pt x="186639" y="366737"/>
                  <a:pt x="194448" y="374596"/>
                  <a:pt x="204111" y="374628"/>
                </a:cubicBezTo>
                <a:cubicBezTo>
                  <a:pt x="204124" y="374628"/>
                  <a:pt x="204137" y="374628"/>
                  <a:pt x="204149" y="374628"/>
                </a:cubicBezTo>
                <a:lnTo>
                  <a:pt x="213284" y="374628"/>
                </a:lnTo>
                <a:cubicBezTo>
                  <a:pt x="216943" y="388530"/>
                  <a:pt x="222470" y="401872"/>
                  <a:pt x="229714" y="414290"/>
                </a:cubicBezTo>
                <a:lnTo>
                  <a:pt x="223256" y="420748"/>
                </a:lnTo>
                <a:cubicBezTo>
                  <a:pt x="216426" y="427590"/>
                  <a:pt x="216426" y="438671"/>
                  <a:pt x="223256" y="445513"/>
                </a:cubicBezTo>
                <a:lnTo>
                  <a:pt x="256413" y="478660"/>
                </a:lnTo>
                <a:cubicBezTo>
                  <a:pt x="263246" y="485458"/>
                  <a:pt x="274288" y="485458"/>
                  <a:pt x="281121" y="478660"/>
                </a:cubicBezTo>
                <a:lnTo>
                  <a:pt x="287588" y="472192"/>
                </a:lnTo>
                <a:cubicBezTo>
                  <a:pt x="300002" y="479446"/>
                  <a:pt x="313345" y="484977"/>
                  <a:pt x="327250" y="488633"/>
                </a:cubicBezTo>
                <a:close/>
                <a:moveTo>
                  <a:pt x="290932" y="454076"/>
                </a:moveTo>
                <a:cubicBezTo>
                  <a:pt x="287541" y="451902"/>
                  <a:pt x="283094" y="452381"/>
                  <a:pt x="280245" y="455228"/>
                </a:cubicBezTo>
                <a:lnTo>
                  <a:pt x="268519" y="466468"/>
                </a:lnTo>
                <a:lnTo>
                  <a:pt x="235382" y="432826"/>
                </a:lnTo>
                <a:lnTo>
                  <a:pt x="246612" y="421596"/>
                </a:lnTo>
                <a:cubicBezTo>
                  <a:pt x="249464" y="418745"/>
                  <a:pt x="249944" y="414292"/>
                  <a:pt x="247764" y="410899"/>
                </a:cubicBezTo>
                <a:cubicBezTo>
                  <a:pt x="238573" y="396626"/>
                  <a:pt x="232020" y="380817"/>
                  <a:pt x="228419" y="364226"/>
                </a:cubicBezTo>
                <a:cubicBezTo>
                  <a:pt x="227563" y="360283"/>
                  <a:pt x="224072" y="357471"/>
                  <a:pt x="220037" y="357473"/>
                </a:cubicBezTo>
                <a:lnTo>
                  <a:pt x="203845" y="357140"/>
                </a:lnTo>
                <a:lnTo>
                  <a:pt x="204149" y="309858"/>
                </a:lnTo>
                <a:lnTo>
                  <a:pt x="220037" y="309858"/>
                </a:lnTo>
                <a:cubicBezTo>
                  <a:pt x="224072" y="309860"/>
                  <a:pt x="227563" y="307048"/>
                  <a:pt x="228419" y="303105"/>
                </a:cubicBezTo>
                <a:cubicBezTo>
                  <a:pt x="232020" y="286514"/>
                  <a:pt x="238573" y="270705"/>
                  <a:pt x="247764" y="256432"/>
                </a:cubicBezTo>
                <a:cubicBezTo>
                  <a:pt x="249944" y="253039"/>
                  <a:pt x="249464" y="248586"/>
                  <a:pt x="246612" y="245735"/>
                </a:cubicBezTo>
                <a:lnTo>
                  <a:pt x="235382" y="234020"/>
                </a:lnTo>
                <a:lnTo>
                  <a:pt x="269005" y="200873"/>
                </a:lnTo>
                <a:lnTo>
                  <a:pt x="280245" y="212112"/>
                </a:lnTo>
                <a:cubicBezTo>
                  <a:pt x="283096" y="214956"/>
                  <a:pt x="287543" y="215432"/>
                  <a:pt x="290932" y="213255"/>
                </a:cubicBezTo>
                <a:cubicBezTo>
                  <a:pt x="305205" y="204066"/>
                  <a:pt x="321014" y="197516"/>
                  <a:pt x="337604" y="193919"/>
                </a:cubicBezTo>
                <a:cubicBezTo>
                  <a:pt x="341544" y="193064"/>
                  <a:pt x="344355" y="189579"/>
                  <a:pt x="344357" y="185547"/>
                </a:cubicBezTo>
                <a:lnTo>
                  <a:pt x="344691" y="169355"/>
                </a:lnTo>
                <a:lnTo>
                  <a:pt x="391906" y="169707"/>
                </a:lnTo>
                <a:lnTo>
                  <a:pt x="391906" y="185557"/>
                </a:lnTo>
                <a:cubicBezTo>
                  <a:pt x="391908" y="189588"/>
                  <a:pt x="394720" y="193073"/>
                  <a:pt x="398659" y="193929"/>
                </a:cubicBezTo>
                <a:cubicBezTo>
                  <a:pt x="415251" y="197522"/>
                  <a:pt x="431060" y="204072"/>
                  <a:pt x="445332" y="213265"/>
                </a:cubicBezTo>
                <a:cubicBezTo>
                  <a:pt x="448723" y="215447"/>
                  <a:pt x="453175" y="214971"/>
                  <a:pt x="456028" y="212122"/>
                </a:cubicBezTo>
                <a:lnTo>
                  <a:pt x="467754" y="200882"/>
                </a:lnTo>
                <a:lnTo>
                  <a:pt x="500901" y="234515"/>
                </a:lnTo>
                <a:lnTo>
                  <a:pt x="489661" y="245745"/>
                </a:lnTo>
                <a:cubicBezTo>
                  <a:pt x="486812" y="248598"/>
                  <a:pt x="486336" y="253051"/>
                  <a:pt x="488518" y="256442"/>
                </a:cubicBezTo>
                <a:cubicBezTo>
                  <a:pt x="497707" y="270716"/>
                  <a:pt x="504260" y="286524"/>
                  <a:pt x="507863" y="303114"/>
                </a:cubicBezTo>
                <a:cubicBezTo>
                  <a:pt x="508719" y="307054"/>
                  <a:pt x="512204" y="309865"/>
                  <a:pt x="516236" y="309867"/>
                </a:cubicBezTo>
                <a:lnTo>
                  <a:pt x="532428" y="310201"/>
                </a:lnTo>
                <a:lnTo>
                  <a:pt x="532181" y="357483"/>
                </a:lnTo>
                <a:lnTo>
                  <a:pt x="516293" y="357483"/>
                </a:lnTo>
                <a:cubicBezTo>
                  <a:pt x="512264" y="357484"/>
                  <a:pt x="508780" y="360291"/>
                  <a:pt x="507921" y="364226"/>
                </a:cubicBezTo>
                <a:cubicBezTo>
                  <a:pt x="504313" y="380816"/>
                  <a:pt x="497757" y="396624"/>
                  <a:pt x="488566" y="410899"/>
                </a:cubicBezTo>
                <a:cubicBezTo>
                  <a:pt x="486384" y="414290"/>
                  <a:pt x="486860" y="418743"/>
                  <a:pt x="489709" y="421596"/>
                </a:cubicBezTo>
                <a:lnTo>
                  <a:pt x="500958" y="433321"/>
                </a:lnTo>
                <a:lnTo>
                  <a:pt x="467325" y="466468"/>
                </a:lnTo>
                <a:lnTo>
                  <a:pt x="456086" y="455228"/>
                </a:lnTo>
                <a:cubicBezTo>
                  <a:pt x="453235" y="452376"/>
                  <a:pt x="448782" y="451896"/>
                  <a:pt x="445389" y="454076"/>
                </a:cubicBezTo>
                <a:cubicBezTo>
                  <a:pt x="431116" y="463268"/>
                  <a:pt x="415307" y="469820"/>
                  <a:pt x="398716" y="473421"/>
                </a:cubicBezTo>
                <a:cubicBezTo>
                  <a:pt x="394773" y="474277"/>
                  <a:pt x="391961" y="477768"/>
                  <a:pt x="391963" y="481803"/>
                </a:cubicBezTo>
                <a:lnTo>
                  <a:pt x="391630" y="497996"/>
                </a:lnTo>
                <a:lnTo>
                  <a:pt x="344424" y="497653"/>
                </a:lnTo>
                <a:lnTo>
                  <a:pt x="344424" y="481803"/>
                </a:lnTo>
                <a:cubicBezTo>
                  <a:pt x="344426" y="477768"/>
                  <a:pt x="341614" y="474277"/>
                  <a:pt x="337671" y="473421"/>
                </a:cubicBezTo>
                <a:cubicBezTo>
                  <a:pt x="321058" y="469826"/>
                  <a:pt x="305226" y="463273"/>
                  <a:pt x="290932" y="454076"/>
                </a:cubicBezTo>
                <a:close/>
                <a:moveTo>
                  <a:pt x="447456" y="415414"/>
                </a:moveTo>
                <a:cubicBezTo>
                  <a:pt x="447942" y="414947"/>
                  <a:pt x="448408" y="414518"/>
                  <a:pt x="448932" y="414042"/>
                </a:cubicBezTo>
                <a:cubicBezTo>
                  <a:pt x="449266" y="413709"/>
                  <a:pt x="449637" y="413414"/>
                  <a:pt x="449971" y="413090"/>
                </a:cubicBezTo>
                <a:cubicBezTo>
                  <a:pt x="450159" y="412849"/>
                  <a:pt x="450334" y="412598"/>
                  <a:pt x="450494" y="412337"/>
                </a:cubicBezTo>
                <a:cubicBezTo>
                  <a:pt x="494058" y="366871"/>
                  <a:pt x="492516" y="294697"/>
                  <a:pt x="447049" y="251134"/>
                </a:cubicBezTo>
                <a:cubicBezTo>
                  <a:pt x="401582" y="207570"/>
                  <a:pt x="329409" y="209112"/>
                  <a:pt x="285845" y="254579"/>
                </a:cubicBezTo>
                <a:cubicBezTo>
                  <a:pt x="243592" y="298678"/>
                  <a:pt x="243592" y="368239"/>
                  <a:pt x="285845" y="412337"/>
                </a:cubicBezTo>
                <a:cubicBezTo>
                  <a:pt x="286006" y="412595"/>
                  <a:pt x="286181" y="412843"/>
                  <a:pt x="286369" y="413080"/>
                </a:cubicBezTo>
                <a:cubicBezTo>
                  <a:pt x="286693" y="413423"/>
                  <a:pt x="287055" y="413709"/>
                  <a:pt x="287388" y="414033"/>
                </a:cubicBezTo>
                <a:cubicBezTo>
                  <a:pt x="287893" y="414547"/>
                  <a:pt x="288446" y="414985"/>
                  <a:pt x="288969" y="415509"/>
                </a:cubicBezTo>
                <a:cubicBezTo>
                  <a:pt x="333088" y="458445"/>
                  <a:pt x="403384" y="458407"/>
                  <a:pt x="447456" y="415423"/>
                </a:cubicBezTo>
                <a:close/>
                <a:moveTo>
                  <a:pt x="358607" y="430044"/>
                </a:moveTo>
                <a:cubicBezTo>
                  <a:pt x="357873" y="429978"/>
                  <a:pt x="357159" y="429835"/>
                  <a:pt x="356435" y="429749"/>
                </a:cubicBezTo>
                <a:cubicBezTo>
                  <a:pt x="353968" y="429454"/>
                  <a:pt x="351520" y="429111"/>
                  <a:pt x="349120" y="428635"/>
                </a:cubicBezTo>
                <a:cubicBezTo>
                  <a:pt x="348482" y="428501"/>
                  <a:pt x="347853" y="428330"/>
                  <a:pt x="347215" y="428187"/>
                </a:cubicBezTo>
                <a:cubicBezTo>
                  <a:pt x="344729" y="427634"/>
                  <a:pt x="342252" y="427025"/>
                  <a:pt x="339842" y="426282"/>
                </a:cubicBezTo>
                <a:cubicBezTo>
                  <a:pt x="339357" y="426139"/>
                  <a:pt x="338890" y="425968"/>
                  <a:pt x="338414" y="425806"/>
                </a:cubicBezTo>
                <a:cubicBezTo>
                  <a:pt x="335871" y="424986"/>
                  <a:pt x="333365" y="424082"/>
                  <a:pt x="330918" y="423062"/>
                </a:cubicBezTo>
                <a:cubicBezTo>
                  <a:pt x="330546" y="422910"/>
                  <a:pt x="330184" y="422739"/>
                  <a:pt x="329813" y="422577"/>
                </a:cubicBezTo>
                <a:cubicBezTo>
                  <a:pt x="327317" y="421500"/>
                  <a:pt x="324869" y="420329"/>
                  <a:pt x="322488" y="419043"/>
                </a:cubicBezTo>
                <a:lnTo>
                  <a:pt x="321431" y="418462"/>
                </a:lnTo>
                <a:cubicBezTo>
                  <a:pt x="319119" y="417192"/>
                  <a:pt x="316865" y="415820"/>
                  <a:pt x="314668" y="414347"/>
                </a:cubicBezTo>
                <a:lnTo>
                  <a:pt x="313373" y="413461"/>
                </a:lnTo>
                <a:cubicBezTo>
                  <a:pt x="311347" y="412064"/>
                  <a:pt x="309375" y="410591"/>
                  <a:pt x="307457" y="409042"/>
                </a:cubicBezTo>
                <a:lnTo>
                  <a:pt x="305791" y="407661"/>
                </a:lnTo>
                <a:cubicBezTo>
                  <a:pt x="304962" y="406965"/>
                  <a:pt x="304200" y="406213"/>
                  <a:pt x="303400" y="405489"/>
                </a:cubicBezTo>
                <a:cubicBezTo>
                  <a:pt x="326426" y="369717"/>
                  <a:pt x="374091" y="359385"/>
                  <a:pt x="409862" y="382411"/>
                </a:cubicBezTo>
                <a:cubicBezTo>
                  <a:pt x="419115" y="388367"/>
                  <a:pt x="426984" y="396236"/>
                  <a:pt x="432940" y="405489"/>
                </a:cubicBezTo>
                <a:cubicBezTo>
                  <a:pt x="432140" y="406213"/>
                  <a:pt x="431359" y="406975"/>
                  <a:pt x="430530" y="407680"/>
                </a:cubicBezTo>
                <a:cubicBezTo>
                  <a:pt x="429990" y="408137"/>
                  <a:pt x="429447" y="408584"/>
                  <a:pt x="428901" y="409023"/>
                </a:cubicBezTo>
                <a:cubicBezTo>
                  <a:pt x="426996" y="410575"/>
                  <a:pt x="424996" y="412071"/>
                  <a:pt x="422958" y="413471"/>
                </a:cubicBezTo>
                <a:lnTo>
                  <a:pt x="421691" y="414338"/>
                </a:lnTo>
                <a:cubicBezTo>
                  <a:pt x="419487" y="415804"/>
                  <a:pt x="417224" y="417182"/>
                  <a:pt x="414900" y="418471"/>
                </a:cubicBezTo>
                <a:lnTo>
                  <a:pt x="413861" y="419043"/>
                </a:lnTo>
                <a:cubicBezTo>
                  <a:pt x="411474" y="420313"/>
                  <a:pt x="409026" y="421494"/>
                  <a:pt x="406517" y="422586"/>
                </a:cubicBezTo>
                <a:lnTo>
                  <a:pt x="405432" y="423062"/>
                </a:lnTo>
                <a:cubicBezTo>
                  <a:pt x="402984" y="424082"/>
                  <a:pt x="400469" y="424967"/>
                  <a:pt x="397926" y="425815"/>
                </a:cubicBezTo>
                <a:cubicBezTo>
                  <a:pt x="397450" y="425968"/>
                  <a:pt x="396973" y="426139"/>
                  <a:pt x="396507" y="426282"/>
                </a:cubicBezTo>
                <a:cubicBezTo>
                  <a:pt x="394087" y="427025"/>
                  <a:pt x="391611" y="427634"/>
                  <a:pt x="389115" y="428187"/>
                </a:cubicBezTo>
                <a:cubicBezTo>
                  <a:pt x="388487" y="428330"/>
                  <a:pt x="387858" y="428501"/>
                  <a:pt x="387210" y="428635"/>
                </a:cubicBezTo>
                <a:cubicBezTo>
                  <a:pt x="384810" y="429111"/>
                  <a:pt x="382362" y="429454"/>
                  <a:pt x="379895" y="429749"/>
                </a:cubicBezTo>
                <a:cubicBezTo>
                  <a:pt x="379171" y="429835"/>
                  <a:pt x="378457" y="429978"/>
                  <a:pt x="377733" y="430044"/>
                </a:cubicBezTo>
                <a:cubicBezTo>
                  <a:pt x="374580" y="430359"/>
                  <a:pt x="371389" y="430530"/>
                  <a:pt x="368208" y="430530"/>
                </a:cubicBezTo>
                <a:cubicBezTo>
                  <a:pt x="365027" y="430530"/>
                  <a:pt x="361788" y="430359"/>
                  <a:pt x="358607" y="430044"/>
                </a:cubicBezTo>
                <a:close/>
                <a:moveTo>
                  <a:pt x="368132" y="236811"/>
                </a:moveTo>
                <a:cubicBezTo>
                  <a:pt x="421531" y="236718"/>
                  <a:pt x="464895" y="279933"/>
                  <a:pt x="464987" y="333332"/>
                </a:cubicBezTo>
                <a:cubicBezTo>
                  <a:pt x="465024" y="354774"/>
                  <a:pt x="457932" y="375620"/>
                  <a:pt x="444827" y="392592"/>
                </a:cubicBezTo>
                <a:cubicBezTo>
                  <a:pt x="414685" y="350245"/>
                  <a:pt x="355921" y="340351"/>
                  <a:pt x="313574" y="370493"/>
                </a:cubicBezTo>
                <a:cubicBezTo>
                  <a:pt x="305027" y="376576"/>
                  <a:pt x="297558" y="384045"/>
                  <a:pt x="291475" y="392592"/>
                </a:cubicBezTo>
                <a:cubicBezTo>
                  <a:pt x="258838" y="350326"/>
                  <a:pt x="266644" y="289607"/>
                  <a:pt x="308910" y="256970"/>
                </a:cubicBezTo>
                <a:cubicBezTo>
                  <a:pt x="325881" y="243865"/>
                  <a:pt x="346728" y="236774"/>
                  <a:pt x="368170" y="236811"/>
                </a:cubicBezTo>
                <a:close/>
                <a:moveTo>
                  <a:pt x="368132" y="344986"/>
                </a:moveTo>
                <a:cubicBezTo>
                  <a:pt x="392677" y="344986"/>
                  <a:pt x="412575" y="325088"/>
                  <a:pt x="412575" y="300542"/>
                </a:cubicBezTo>
                <a:cubicBezTo>
                  <a:pt x="412575" y="275997"/>
                  <a:pt x="392677" y="256099"/>
                  <a:pt x="368132" y="256099"/>
                </a:cubicBezTo>
                <a:cubicBezTo>
                  <a:pt x="343586" y="256099"/>
                  <a:pt x="323688" y="275997"/>
                  <a:pt x="323688" y="300542"/>
                </a:cubicBezTo>
                <a:cubicBezTo>
                  <a:pt x="323714" y="325092"/>
                  <a:pt x="343620" y="344981"/>
                  <a:pt x="368170" y="344986"/>
                </a:cubicBezTo>
                <a:close/>
                <a:moveTo>
                  <a:pt x="368132" y="273244"/>
                </a:moveTo>
                <a:cubicBezTo>
                  <a:pt x="383208" y="273244"/>
                  <a:pt x="395430" y="285466"/>
                  <a:pt x="395430" y="300542"/>
                </a:cubicBezTo>
                <a:cubicBezTo>
                  <a:pt x="395430" y="315619"/>
                  <a:pt x="383208" y="327841"/>
                  <a:pt x="368132" y="327841"/>
                </a:cubicBezTo>
                <a:cubicBezTo>
                  <a:pt x="353055" y="327841"/>
                  <a:pt x="340833" y="315619"/>
                  <a:pt x="340833" y="300542"/>
                </a:cubicBezTo>
                <a:cubicBezTo>
                  <a:pt x="340849" y="285457"/>
                  <a:pt x="353085" y="273238"/>
                  <a:pt x="368170" y="273244"/>
                </a:cubicBezTo>
                <a:close/>
                <a:moveTo>
                  <a:pt x="423548" y="121577"/>
                </a:moveTo>
                <a:lnTo>
                  <a:pt x="425015" y="121577"/>
                </a:lnTo>
                <a:cubicBezTo>
                  <a:pt x="426619" y="126849"/>
                  <a:pt x="428730" y="131953"/>
                  <a:pt x="431321" y="136817"/>
                </a:cubicBezTo>
                <a:lnTo>
                  <a:pt x="430273" y="137874"/>
                </a:lnTo>
                <a:cubicBezTo>
                  <a:pt x="425183" y="142997"/>
                  <a:pt x="425183" y="151268"/>
                  <a:pt x="430273" y="156391"/>
                </a:cubicBezTo>
                <a:lnTo>
                  <a:pt x="447142" y="173260"/>
                </a:lnTo>
                <a:cubicBezTo>
                  <a:pt x="452329" y="178201"/>
                  <a:pt x="460481" y="178201"/>
                  <a:pt x="465668" y="173260"/>
                </a:cubicBezTo>
                <a:lnTo>
                  <a:pt x="466706" y="172222"/>
                </a:lnTo>
                <a:cubicBezTo>
                  <a:pt x="471570" y="174813"/>
                  <a:pt x="476674" y="176928"/>
                  <a:pt x="481946" y="178537"/>
                </a:cubicBezTo>
                <a:lnTo>
                  <a:pt x="481946" y="179994"/>
                </a:lnTo>
                <a:cubicBezTo>
                  <a:pt x="481962" y="187243"/>
                  <a:pt x="487851" y="193107"/>
                  <a:pt x="495100" y="193091"/>
                </a:cubicBezTo>
                <a:cubicBezTo>
                  <a:pt x="495113" y="193091"/>
                  <a:pt x="495125" y="193091"/>
                  <a:pt x="495138" y="193091"/>
                </a:cubicBezTo>
                <a:lnTo>
                  <a:pt x="518951" y="193091"/>
                </a:lnTo>
                <a:cubicBezTo>
                  <a:pt x="526185" y="193080"/>
                  <a:pt x="532047" y="187219"/>
                  <a:pt x="532057" y="179984"/>
                </a:cubicBezTo>
                <a:lnTo>
                  <a:pt x="532057" y="178527"/>
                </a:lnTo>
                <a:cubicBezTo>
                  <a:pt x="537329" y="176919"/>
                  <a:pt x="542433" y="174804"/>
                  <a:pt x="547297" y="172212"/>
                </a:cubicBezTo>
                <a:lnTo>
                  <a:pt x="548326" y="173241"/>
                </a:lnTo>
                <a:cubicBezTo>
                  <a:pt x="550780" y="175695"/>
                  <a:pt x="554113" y="177066"/>
                  <a:pt x="557584" y="177051"/>
                </a:cubicBezTo>
                <a:lnTo>
                  <a:pt x="557584" y="177051"/>
                </a:lnTo>
                <a:cubicBezTo>
                  <a:pt x="561058" y="177068"/>
                  <a:pt x="564394" y="175696"/>
                  <a:pt x="566852" y="173241"/>
                </a:cubicBezTo>
                <a:lnTo>
                  <a:pt x="583721" y="156381"/>
                </a:lnTo>
                <a:cubicBezTo>
                  <a:pt x="588833" y="151264"/>
                  <a:pt x="588833" y="142973"/>
                  <a:pt x="583721" y="137855"/>
                </a:cubicBezTo>
                <a:lnTo>
                  <a:pt x="582692" y="136817"/>
                </a:lnTo>
                <a:cubicBezTo>
                  <a:pt x="585287" y="131954"/>
                  <a:pt x="587402" y="126850"/>
                  <a:pt x="589007" y="121577"/>
                </a:cubicBezTo>
                <a:lnTo>
                  <a:pt x="590464" y="121577"/>
                </a:lnTo>
                <a:cubicBezTo>
                  <a:pt x="597701" y="121572"/>
                  <a:pt x="603565" y="115707"/>
                  <a:pt x="603571" y="108471"/>
                </a:cubicBezTo>
                <a:lnTo>
                  <a:pt x="603571" y="84658"/>
                </a:lnTo>
                <a:cubicBezTo>
                  <a:pt x="603560" y="77424"/>
                  <a:pt x="597698" y="71562"/>
                  <a:pt x="590464" y="71552"/>
                </a:cubicBezTo>
                <a:lnTo>
                  <a:pt x="589007" y="71552"/>
                </a:lnTo>
                <a:cubicBezTo>
                  <a:pt x="587402" y="66279"/>
                  <a:pt x="585287" y="61175"/>
                  <a:pt x="582692" y="56312"/>
                </a:cubicBezTo>
                <a:lnTo>
                  <a:pt x="583721" y="55235"/>
                </a:lnTo>
                <a:cubicBezTo>
                  <a:pt x="588834" y="50127"/>
                  <a:pt x="588838" y="41840"/>
                  <a:pt x="583729" y="36727"/>
                </a:cubicBezTo>
                <a:cubicBezTo>
                  <a:pt x="583726" y="36724"/>
                  <a:pt x="583723" y="36722"/>
                  <a:pt x="583721" y="36719"/>
                </a:cubicBezTo>
                <a:lnTo>
                  <a:pt x="566861" y="19850"/>
                </a:lnTo>
                <a:cubicBezTo>
                  <a:pt x="561678" y="14900"/>
                  <a:pt x="553518" y="14900"/>
                  <a:pt x="548335" y="19850"/>
                </a:cubicBezTo>
                <a:lnTo>
                  <a:pt x="547297" y="20888"/>
                </a:lnTo>
                <a:cubicBezTo>
                  <a:pt x="542433" y="18296"/>
                  <a:pt x="537329" y="16182"/>
                  <a:pt x="532057" y="14573"/>
                </a:cubicBezTo>
                <a:lnTo>
                  <a:pt x="532057" y="13116"/>
                </a:lnTo>
                <a:cubicBezTo>
                  <a:pt x="532052" y="5878"/>
                  <a:pt x="526188" y="11"/>
                  <a:pt x="518951" y="0"/>
                </a:cubicBezTo>
                <a:lnTo>
                  <a:pt x="495138" y="0"/>
                </a:lnTo>
                <a:cubicBezTo>
                  <a:pt x="487902" y="5"/>
                  <a:pt x="482037" y="5870"/>
                  <a:pt x="482032" y="13106"/>
                </a:cubicBezTo>
                <a:lnTo>
                  <a:pt x="482032" y="14583"/>
                </a:lnTo>
                <a:cubicBezTo>
                  <a:pt x="476760" y="16191"/>
                  <a:pt x="471656" y="18306"/>
                  <a:pt x="466792" y="20898"/>
                </a:cubicBezTo>
                <a:lnTo>
                  <a:pt x="465753" y="19869"/>
                </a:lnTo>
                <a:cubicBezTo>
                  <a:pt x="460570" y="14919"/>
                  <a:pt x="452411" y="14919"/>
                  <a:pt x="447227" y="19869"/>
                </a:cubicBezTo>
                <a:lnTo>
                  <a:pt x="430368" y="36728"/>
                </a:lnTo>
                <a:cubicBezTo>
                  <a:pt x="425255" y="41849"/>
                  <a:pt x="425255" y="50143"/>
                  <a:pt x="430368" y="55264"/>
                </a:cubicBezTo>
                <a:lnTo>
                  <a:pt x="431406" y="56293"/>
                </a:lnTo>
                <a:cubicBezTo>
                  <a:pt x="428811" y="61156"/>
                  <a:pt x="426696" y="66260"/>
                  <a:pt x="425091" y="71533"/>
                </a:cubicBezTo>
                <a:lnTo>
                  <a:pt x="423624" y="71533"/>
                </a:lnTo>
                <a:cubicBezTo>
                  <a:pt x="416390" y="71543"/>
                  <a:pt x="410529" y="77405"/>
                  <a:pt x="410518" y="84639"/>
                </a:cubicBezTo>
                <a:lnTo>
                  <a:pt x="410518" y="108452"/>
                </a:lnTo>
                <a:cubicBezTo>
                  <a:pt x="410523" y="115676"/>
                  <a:pt x="416362" y="121540"/>
                  <a:pt x="423586" y="121577"/>
                </a:cubicBezTo>
                <a:close/>
                <a:moveTo>
                  <a:pt x="427587" y="88659"/>
                </a:moveTo>
                <a:lnTo>
                  <a:pt x="431635" y="88659"/>
                </a:lnTo>
                <a:cubicBezTo>
                  <a:pt x="435664" y="88657"/>
                  <a:pt x="439148" y="85851"/>
                  <a:pt x="440007" y="81915"/>
                </a:cubicBezTo>
                <a:cubicBezTo>
                  <a:pt x="441735" y="73959"/>
                  <a:pt x="444877" y="66377"/>
                  <a:pt x="449285" y="59531"/>
                </a:cubicBezTo>
                <a:cubicBezTo>
                  <a:pt x="451464" y="56138"/>
                  <a:pt x="450984" y="51685"/>
                  <a:pt x="448132" y="48835"/>
                </a:cubicBezTo>
                <a:lnTo>
                  <a:pt x="445275" y="45977"/>
                </a:lnTo>
                <a:lnTo>
                  <a:pt x="456429" y="34823"/>
                </a:lnTo>
                <a:lnTo>
                  <a:pt x="459286" y="37681"/>
                </a:lnTo>
                <a:cubicBezTo>
                  <a:pt x="462135" y="40528"/>
                  <a:pt x="466582" y="41008"/>
                  <a:pt x="469973" y="38833"/>
                </a:cubicBezTo>
                <a:cubicBezTo>
                  <a:pt x="476823" y="34428"/>
                  <a:pt x="484407" y="31285"/>
                  <a:pt x="492366" y="29556"/>
                </a:cubicBezTo>
                <a:cubicBezTo>
                  <a:pt x="496302" y="28697"/>
                  <a:pt x="499109" y="25212"/>
                  <a:pt x="499110" y="21184"/>
                </a:cubicBezTo>
                <a:lnTo>
                  <a:pt x="499110" y="17135"/>
                </a:lnTo>
                <a:lnTo>
                  <a:pt x="514883" y="17135"/>
                </a:lnTo>
                <a:lnTo>
                  <a:pt x="514883" y="21184"/>
                </a:lnTo>
                <a:cubicBezTo>
                  <a:pt x="514885" y="25212"/>
                  <a:pt x="517691" y="28697"/>
                  <a:pt x="521627" y="29556"/>
                </a:cubicBezTo>
                <a:cubicBezTo>
                  <a:pt x="529584" y="31281"/>
                  <a:pt x="537166" y="34424"/>
                  <a:pt x="544011" y="38833"/>
                </a:cubicBezTo>
                <a:cubicBezTo>
                  <a:pt x="547402" y="41008"/>
                  <a:pt x="551849" y="40528"/>
                  <a:pt x="554698" y="37681"/>
                </a:cubicBezTo>
                <a:lnTo>
                  <a:pt x="557555" y="34823"/>
                </a:lnTo>
                <a:lnTo>
                  <a:pt x="568757" y="46015"/>
                </a:lnTo>
                <a:lnTo>
                  <a:pt x="565899" y="48873"/>
                </a:lnTo>
                <a:cubicBezTo>
                  <a:pt x="563047" y="51723"/>
                  <a:pt x="562567" y="56177"/>
                  <a:pt x="564747" y="59569"/>
                </a:cubicBezTo>
                <a:cubicBezTo>
                  <a:pt x="569154" y="66410"/>
                  <a:pt x="572294" y="73990"/>
                  <a:pt x="574015" y="81944"/>
                </a:cubicBezTo>
                <a:cubicBezTo>
                  <a:pt x="574871" y="85887"/>
                  <a:pt x="578361" y="88699"/>
                  <a:pt x="582397" y="88697"/>
                </a:cubicBezTo>
                <a:lnTo>
                  <a:pt x="586445" y="88697"/>
                </a:lnTo>
                <a:lnTo>
                  <a:pt x="586445" y="104470"/>
                </a:lnTo>
                <a:lnTo>
                  <a:pt x="582397" y="104470"/>
                </a:lnTo>
                <a:cubicBezTo>
                  <a:pt x="578361" y="104468"/>
                  <a:pt x="574871" y="107280"/>
                  <a:pt x="574015" y="111223"/>
                </a:cubicBezTo>
                <a:cubicBezTo>
                  <a:pt x="572293" y="119180"/>
                  <a:pt x="569154" y="126762"/>
                  <a:pt x="564747" y="133607"/>
                </a:cubicBezTo>
                <a:cubicBezTo>
                  <a:pt x="562573" y="136998"/>
                  <a:pt x="563052" y="141445"/>
                  <a:pt x="565899" y="144294"/>
                </a:cubicBezTo>
                <a:lnTo>
                  <a:pt x="568757" y="147152"/>
                </a:lnTo>
                <a:lnTo>
                  <a:pt x="557603" y="158306"/>
                </a:lnTo>
                <a:lnTo>
                  <a:pt x="554746" y="155448"/>
                </a:lnTo>
                <a:cubicBezTo>
                  <a:pt x="551896" y="152601"/>
                  <a:pt x="547449" y="152121"/>
                  <a:pt x="544059" y="154296"/>
                </a:cubicBezTo>
                <a:cubicBezTo>
                  <a:pt x="537214" y="158705"/>
                  <a:pt x="529632" y="161848"/>
                  <a:pt x="521675" y="163573"/>
                </a:cubicBezTo>
                <a:cubicBezTo>
                  <a:pt x="517739" y="164432"/>
                  <a:pt x="514932" y="167917"/>
                  <a:pt x="514931" y="171945"/>
                </a:cubicBezTo>
                <a:lnTo>
                  <a:pt x="514931" y="175984"/>
                </a:lnTo>
                <a:lnTo>
                  <a:pt x="499148" y="175984"/>
                </a:lnTo>
                <a:lnTo>
                  <a:pt x="499148" y="171945"/>
                </a:lnTo>
                <a:cubicBezTo>
                  <a:pt x="499147" y="167917"/>
                  <a:pt x="496340" y="164432"/>
                  <a:pt x="492404" y="163573"/>
                </a:cubicBezTo>
                <a:cubicBezTo>
                  <a:pt x="484446" y="161843"/>
                  <a:pt x="476861" y="158701"/>
                  <a:pt x="470011" y="154295"/>
                </a:cubicBezTo>
                <a:cubicBezTo>
                  <a:pt x="466620" y="152121"/>
                  <a:pt x="462173" y="152601"/>
                  <a:pt x="459324" y="155448"/>
                </a:cubicBezTo>
                <a:lnTo>
                  <a:pt x="456467" y="158306"/>
                </a:lnTo>
                <a:lnTo>
                  <a:pt x="445303" y="147152"/>
                </a:lnTo>
                <a:lnTo>
                  <a:pt x="448161" y="144294"/>
                </a:lnTo>
                <a:cubicBezTo>
                  <a:pt x="451010" y="141441"/>
                  <a:pt x="451486" y="136988"/>
                  <a:pt x="449304" y="133598"/>
                </a:cubicBezTo>
                <a:cubicBezTo>
                  <a:pt x="444897" y="126756"/>
                  <a:pt x="441758" y="119177"/>
                  <a:pt x="440036" y="111223"/>
                </a:cubicBezTo>
                <a:cubicBezTo>
                  <a:pt x="439177" y="107287"/>
                  <a:pt x="435692" y="104481"/>
                  <a:pt x="431663" y="104480"/>
                </a:cubicBezTo>
                <a:lnTo>
                  <a:pt x="427615" y="104480"/>
                </a:lnTo>
                <a:close/>
                <a:moveTo>
                  <a:pt x="506997" y="150686"/>
                </a:moveTo>
                <a:cubicBezTo>
                  <a:pt x="536897" y="150686"/>
                  <a:pt x="561137" y="126446"/>
                  <a:pt x="561137" y="96545"/>
                </a:cubicBezTo>
                <a:cubicBezTo>
                  <a:pt x="561137" y="66645"/>
                  <a:pt x="536897" y="42405"/>
                  <a:pt x="506997" y="42405"/>
                </a:cubicBezTo>
                <a:cubicBezTo>
                  <a:pt x="477096" y="42405"/>
                  <a:pt x="452857" y="66645"/>
                  <a:pt x="452857" y="96545"/>
                </a:cubicBezTo>
                <a:cubicBezTo>
                  <a:pt x="452857" y="96549"/>
                  <a:pt x="452857" y="96552"/>
                  <a:pt x="452857" y="96555"/>
                </a:cubicBezTo>
                <a:cubicBezTo>
                  <a:pt x="452893" y="126454"/>
                  <a:pt x="477136" y="150675"/>
                  <a:pt x="507035" y="150686"/>
                </a:cubicBezTo>
                <a:close/>
                <a:moveTo>
                  <a:pt x="506997" y="59550"/>
                </a:moveTo>
                <a:cubicBezTo>
                  <a:pt x="527434" y="59550"/>
                  <a:pt x="544001" y="76118"/>
                  <a:pt x="544001" y="96555"/>
                </a:cubicBezTo>
                <a:cubicBezTo>
                  <a:pt x="544001" y="116992"/>
                  <a:pt x="527434" y="133560"/>
                  <a:pt x="506997" y="133560"/>
                </a:cubicBezTo>
                <a:cubicBezTo>
                  <a:pt x="486560" y="133560"/>
                  <a:pt x="469992" y="116992"/>
                  <a:pt x="469992" y="96555"/>
                </a:cubicBezTo>
                <a:cubicBezTo>
                  <a:pt x="470008" y="76110"/>
                  <a:pt x="486589" y="59545"/>
                  <a:pt x="507035" y="59550"/>
                </a:cubicBezTo>
                <a:close/>
                <a:moveTo>
                  <a:pt x="623916" y="239211"/>
                </a:moveTo>
                <a:cubicBezTo>
                  <a:pt x="622175" y="243614"/>
                  <a:pt x="617195" y="245772"/>
                  <a:pt x="612792" y="244031"/>
                </a:cubicBezTo>
                <a:cubicBezTo>
                  <a:pt x="612792" y="244031"/>
                  <a:pt x="612791" y="244031"/>
                  <a:pt x="612791" y="244031"/>
                </a:cubicBezTo>
                <a:lnTo>
                  <a:pt x="601551" y="239582"/>
                </a:lnTo>
                <a:cubicBezTo>
                  <a:pt x="653584" y="368429"/>
                  <a:pt x="591313" y="515061"/>
                  <a:pt x="462466" y="567093"/>
                </a:cubicBezTo>
                <a:cubicBezTo>
                  <a:pt x="432308" y="579272"/>
                  <a:pt x="400075" y="585488"/>
                  <a:pt x="367551" y="585397"/>
                </a:cubicBezTo>
                <a:cubicBezTo>
                  <a:pt x="354417" y="585399"/>
                  <a:pt x="341305" y="584358"/>
                  <a:pt x="328336" y="582282"/>
                </a:cubicBezTo>
                <a:cubicBezTo>
                  <a:pt x="323646" y="581640"/>
                  <a:pt x="320364" y="577316"/>
                  <a:pt x="321007" y="572626"/>
                </a:cubicBezTo>
                <a:cubicBezTo>
                  <a:pt x="321649" y="567935"/>
                  <a:pt x="325973" y="564653"/>
                  <a:pt x="330663" y="565296"/>
                </a:cubicBezTo>
                <a:cubicBezTo>
                  <a:pt x="330790" y="565313"/>
                  <a:pt x="330916" y="565333"/>
                  <a:pt x="331041" y="565356"/>
                </a:cubicBezTo>
                <a:cubicBezTo>
                  <a:pt x="458931" y="585870"/>
                  <a:pt x="579235" y="498824"/>
                  <a:pt x="599748" y="370934"/>
                </a:cubicBezTo>
                <a:cubicBezTo>
                  <a:pt x="606499" y="328849"/>
                  <a:pt x="601652" y="285720"/>
                  <a:pt x="585730" y="246183"/>
                </a:cubicBezTo>
                <a:lnTo>
                  <a:pt x="581168" y="257727"/>
                </a:lnTo>
                <a:cubicBezTo>
                  <a:pt x="579427" y="262131"/>
                  <a:pt x="574446" y="264288"/>
                  <a:pt x="570043" y="262547"/>
                </a:cubicBezTo>
                <a:cubicBezTo>
                  <a:pt x="565640" y="260806"/>
                  <a:pt x="563482" y="255825"/>
                  <a:pt x="565223" y="251422"/>
                </a:cubicBezTo>
                <a:lnTo>
                  <a:pt x="576948" y="221771"/>
                </a:lnTo>
                <a:cubicBezTo>
                  <a:pt x="577531" y="219388"/>
                  <a:pt x="579119" y="217376"/>
                  <a:pt x="581301" y="216256"/>
                </a:cubicBezTo>
                <a:cubicBezTo>
                  <a:pt x="581492" y="216160"/>
                  <a:pt x="581692" y="216170"/>
                  <a:pt x="581882" y="216094"/>
                </a:cubicBezTo>
                <a:lnTo>
                  <a:pt x="581882" y="216094"/>
                </a:lnTo>
                <a:cubicBezTo>
                  <a:pt x="581943" y="216089"/>
                  <a:pt x="582003" y="216089"/>
                  <a:pt x="582063" y="216094"/>
                </a:cubicBezTo>
                <a:cubicBezTo>
                  <a:pt x="582991" y="215715"/>
                  <a:pt x="583977" y="215503"/>
                  <a:pt x="584978" y="215465"/>
                </a:cubicBezTo>
                <a:cubicBezTo>
                  <a:pt x="585371" y="215484"/>
                  <a:pt x="585763" y="215532"/>
                  <a:pt x="586149" y="215608"/>
                </a:cubicBezTo>
                <a:cubicBezTo>
                  <a:pt x="586796" y="215653"/>
                  <a:pt x="587435" y="215771"/>
                  <a:pt x="588054" y="215960"/>
                </a:cubicBezTo>
                <a:cubicBezTo>
                  <a:pt x="588178" y="215960"/>
                  <a:pt x="588312" y="215960"/>
                  <a:pt x="588436" y="216027"/>
                </a:cubicBezTo>
                <a:lnTo>
                  <a:pt x="619068" y="228143"/>
                </a:lnTo>
                <a:cubicBezTo>
                  <a:pt x="623451" y="229872"/>
                  <a:pt x="625617" y="234816"/>
                  <a:pt x="623916" y="239211"/>
                </a:cubicBezTo>
                <a:close/>
                <a:moveTo>
                  <a:pt x="188757" y="446627"/>
                </a:moveTo>
                <a:cubicBezTo>
                  <a:pt x="184146" y="445558"/>
                  <a:pt x="179541" y="448427"/>
                  <a:pt x="178470" y="453038"/>
                </a:cubicBezTo>
                <a:lnTo>
                  <a:pt x="175222" y="467020"/>
                </a:lnTo>
                <a:cubicBezTo>
                  <a:pt x="147892" y="427371"/>
                  <a:pt x="133402" y="380282"/>
                  <a:pt x="133712" y="332127"/>
                </a:cubicBezTo>
                <a:cubicBezTo>
                  <a:pt x="134741" y="331632"/>
                  <a:pt x="135798" y="331175"/>
                  <a:pt x="136808" y="330660"/>
                </a:cubicBezTo>
                <a:lnTo>
                  <a:pt x="137846" y="331708"/>
                </a:lnTo>
                <a:cubicBezTo>
                  <a:pt x="143038" y="336645"/>
                  <a:pt x="151189" y="336645"/>
                  <a:pt x="156381" y="331708"/>
                </a:cubicBezTo>
                <a:lnTo>
                  <a:pt x="173260" y="314830"/>
                </a:lnTo>
                <a:cubicBezTo>
                  <a:pt x="178357" y="309703"/>
                  <a:pt x="178357" y="301421"/>
                  <a:pt x="173260" y="296294"/>
                </a:cubicBezTo>
                <a:lnTo>
                  <a:pt x="172231" y="295266"/>
                </a:lnTo>
                <a:cubicBezTo>
                  <a:pt x="174827" y="290404"/>
                  <a:pt x="176939" y="285300"/>
                  <a:pt x="178537" y="280026"/>
                </a:cubicBezTo>
                <a:lnTo>
                  <a:pt x="180003" y="280025"/>
                </a:lnTo>
                <a:cubicBezTo>
                  <a:pt x="187238" y="280020"/>
                  <a:pt x="193104" y="274163"/>
                  <a:pt x="193119" y="266929"/>
                </a:cubicBezTo>
                <a:lnTo>
                  <a:pt x="193119" y="243116"/>
                </a:lnTo>
                <a:cubicBezTo>
                  <a:pt x="193109" y="235877"/>
                  <a:pt x="187243" y="230011"/>
                  <a:pt x="180003" y="230000"/>
                </a:cubicBezTo>
                <a:lnTo>
                  <a:pt x="178537" y="230000"/>
                </a:lnTo>
                <a:cubicBezTo>
                  <a:pt x="176936" y="224727"/>
                  <a:pt x="174824" y="219623"/>
                  <a:pt x="172231" y="214760"/>
                </a:cubicBezTo>
                <a:lnTo>
                  <a:pt x="173279" y="213712"/>
                </a:lnTo>
                <a:cubicBezTo>
                  <a:pt x="177038" y="209920"/>
                  <a:pt x="178116" y="204224"/>
                  <a:pt x="176003" y="199320"/>
                </a:cubicBezTo>
                <a:cubicBezTo>
                  <a:pt x="218478" y="138585"/>
                  <a:pt x="287128" y="101460"/>
                  <a:pt x="361207" y="99165"/>
                </a:cubicBezTo>
                <a:cubicBezTo>
                  <a:pt x="365942" y="99020"/>
                  <a:pt x="369662" y="95065"/>
                  <a:pt x="369518" y="90330"/>
                </a:cubicBezTo>
                <a:cubicBezTo>
                  <a:pt x="369373" y="85596"/>
                  <a:pt x="365418" y="81875"/>
                  <a:pt x="360683" y="82020"/>
                </a:cubicBezTo>
                <a:cubicBezTo>
                  <a:pt x="282613" y="84432"/>
                  <a:pt x="210070" y="122896"/>
                  <a:pt x="164268" y="186166"/>
                </a:cubicBezTo>
                <a:lnTo>
                  <a:pt x="156401" y="178308"/>
                </a:lnTo>
                <a:cubicBezTo>
                  <a:pt x="153945" y="175850"/>
                  <a:pt x="150607" y="174478"/>
                  <a:pt x="147133" y="174498"/>
                </a:cubicBezTo>
                <a:lnTo>
                  <a:pt x="147133" y="174498"/>
                </a:lnTo>
                <a:cubicBezTo>
                  <a:pt x="143656" y="174480"/>
                  <a:pt x="140316" y="175852"/>
                  <a:pt x="137855" y="178308"/>
                </a:cubicBezTo>
                <a:lnTo>
                  <a:pt x="136827" y="179346"/>
                </a:lnTo>
                <a:cubicBezTo>
                  <a:pt x="131965" y="176749"/>
                  <a:pt x="126860" y="174634"/>
                  <a:pt x="121587" y="173031"/>
                </a:cubicBezTo>
                <a:lnTo>
                  <a:pt x="121587" y="171555"/>
                </a:lnTo>
                <a:cubicBezTo>
                  <a:pt x="121602" y="164311"/>
                  <a:pt x="115743" y="158426"/>
                  <a:pt x="108499" y="158410"/>
                </a:cubicBezTo>
                <a:cubicBezTo>
                  <a:pt x="108490" y="158410"/>
                  <a:pt x="108480" y="158410"/>
                  <a:pt x="108471" y="158410"/>
                </a:cubicBezTo>
                <a:lnTo>
                  <a:pt x="84611" y="158410"/>
                </a:lnTo>
                <a:cubicBezTo>
                  <a:pt x="77376" y="158416"/>
                  <a:pt x="71510" y="164273"/>
                  <a:pt x="71495" y="171507"/>
                </a:cubicBezTo>
                <a:lnTo>
                  <a:pt x="71495" y="172984"/>
                </a:lnTo>
                <a:cubicBezTo>
                  <a:pt x="66220" y="174584"/>
                  <a:pt x="61116" y="176699"/>
                  <a:pt x="56255" y="179299"/>
                </a:cubicBezTo>
                <a:lnTo>
                  <a:pt x="55235" y="178279"/>
                </a:lnTo>
                <a:cubicBezTo>
                  <a:pt x="52774" y="175819"/>
                  <a:pt x="49429" y="174447"/>
                  <a:pt x="45949" y="174469"/>
                </a:cubicBezTo>
                <a:lnTo>
                  <a:pt x="45949" y="174469"/>
                </a:lnTo>
                <a:cubicBezTo>
                  <a:pt x="42481" y="174454"/>
                  <a:pt x="39151" y="175826"/>
                  <a:pt x="36700" y="178279"/>
                </a:cubicBezTo>
                <a:lnTo>
                  <a:pt x="19841" y="195158"/>
                </a:lnTo>
                <a:cubicBezTo>
                  <a:pt x="14764" y="200293"/>
                  <a:pt x="14764" y="208558"/>
                  <a:pt x="19841" y="213693"/>
                </a:cubicBezTo>
                <a:lnTo>
                  <a:pt x="20879" y="214722"/>
                </a:lnTo>
                <a:cubicBezTo>
                  <a:pt x="18286" y="219585"/>
                  <a:pt x="16174" y="224689"/>
                  <a:pt x="14573" y="229962"/>
                </a:cubicBezTo>
                <a:lnTo>
                  <a:pt x="13097" y="229962"/>
                </a:lnTo>
                <a:cubicBezTo>
                  <a:pt x="5863" y="229978"/>
                  <a:pt x="5" y="235844"/>
                  <a:pt x="0" y="243078"/>
                </a:cubicBezTo>
                <a:lnTo>
                  <a:pt x="0" y="266891"/>
                </a:lnTo>
                <a:cubicBezTo>
                  <a:pt x="11" y="274119"/>
                  <a:pt x="5868" y="279977"/>
                  <a:pt x="13097" y="279987"/>
                </a:cubicBezTo>
                <a:lnTo>
                  <a:pt x="14564" y="279987"/>
                </a:lnTo>
                <a:cubicBezTo>
                  <a:pt x="16170" y="285260"/>
                  <a:pt x="18285" y="290364"/>
                  <a:pt x="20879" y="295227"/>
                </a:cubicBezTo>
                <a:lnTo>
                  <a:pt x="19850" y="296256"/>
                </a:lnTo>
                <a:cubicBezTo>
                  <a:pt x="14729" y="301372"/>
                  <a:pt x="14725" y="309670"/>
                  <a:pt x="19840" y="314791"/>
                </a:cubicBezTo>
                <a:cubicBezTo>
                  <a:pt x="19843" y="314795"/>
                  <a:pt x="19847" y="314798"/>
                  <a:pt x="19850" y="314801"/>
                </a:cubicBezTo>
                <a:lnTo>
                  <a:pt x="36728" y="331765"/>
                </a:lnTo>
                <a:cubicBezTo>
                  <a:pt x="41855" y="336845"/>
                  <a:pt x="50118" y="336845"/>
                  <a:pt x="55245" y="331765"/>
                </a:cubicBezTo>
                <a:lnTo>
                  <a:pt x="56274" y="330727"/>
                </a:lnTo>
                <a:cubicBezTo>
                  <a:pt x="61136" y="333322"/>
                  <a:pt x="66241" y="335437"/>
                  <a:pt x="71514" y="337042"/>
                </a:cubicBezTo>
                <a:lnTo>
                  <a:pt x="71514" y="338433"/>
                </a:lnTo>
                <a:cubicBezTo>
                  <a:pt x="71524" y="345662"/>
                  <a:pt x="77382" y="351519"/>
                  <a:pt x="84611" y="351530"/>
                </a:cubicBezTo>
                <a:lnTo>
                  <a:pt x="108423" y="351530"/>
                </a:lnTo>
                <a:cubicBezTo>
                  <a:pt x="111501" y="351517"/>
                  <a:pt x="114474" y="350413"/>
                  <a:pt x="116815" y="348415"/>
                </a:cubicBezTo>
                <a:cubicBezTo>
                  <a:pt x="119475" y="393100"/>
                  <a:pt x="133979" y="436271"/>
                  <a:pt x="158839" y="473497"/>
                </a:cubicBezTo>
                <a:lnTo>
                  <a:pt x="149219" y="471268"/>
                </a:lnTo>
                <a:cubicBezTo>
                  <a:pt x="144605" y="470198"/>
                  <a:pt x="139997" y="473070"/>
                  <a:pt x="138927" y="477684"/>
                </a:cubicBezTo>
                <a:cubicBezTo>
                  <a:pt x="137856" y="482297"/>
                  <a:pt x="140729" y="486905"/>
                  <a:pt x="145342" y="487975"/>
                </a:cubicBezTo>
                <a:lnTo>
                  <a:pt x="177432" y="495424"/>
                </a:lnTo>
                <a:cubicBezTo>
                  <a:pt x="178057" y="495564"/>
                  <a:pt x="178696" y="495638"/>
                  <a:pt x="179337" y="495643"/>
                </a:cubicBezTo>
                <a:lnTo>
                  <a:pt x="179394" y="495643"/>
                </a:lnTo>
                <a:cubicBezTo>
                  <a:pt x="179480" y="495643"/>
                  <a:pt x="179565" y="495643"/>
                  <a:pt x="179661" y="495643"/>
                </a:cubicBezTo>
                <a:cubicBezTo>
                  <a:pt x="180420" y="495620"/>
                  <a:pt x="181173" y="495495"/>
                  <a:pt x="181899" y="495271"/>
                </a:cubicBezTo>
                <a:cubicBezTo>
                  <a:pt x="182257" y="495138"/>
                  <a:pt x="182607" y="494982"/>
                  <a:pt x="182947" y="494805"/>
                </a:cubicBezTo>
                <a:cubicBezTo>
                  <a:pt x="183272" y="494687"/>
                  <a:pt x="183590" y="494550"/>
                  <a:pt x="183899" y="494395"/>
                </a:cubicBezTo>
                <a:cubicBezTo>
                  <a:pt x="184013" y="494328"/>
                  <a:pt x="184071" y="494205"/>
                  <a:pt x="184185" y="494128"/>
                </a:cubicBezTo>
                <a:cubicBezTo>
                  <a:pt x="184299" y="494052"/>
                  <a:pt x="184623" y="493928"/>
                  <a:pt x="184823" y="493776"/>
                </a:cubicBezTo>
                <a:cubicBezTo>
                  <a:pt x="185141" y="493443"/>
                  <a:pt x="185434" y="493086"/>
                  <a:pt x="185699" y="492709"/>
                </a:cubicBezTo>
                <a:cubicBezTo>
                  <a:pt x="185992" y="492411"/>
                  <a:pt x="186262" y="492093"/>
                  <a:pt x="186509" y="491757"/>
                </a:cubicBezTo>
                <a:cubicBezTo>
                  <a:pt x="186919" y="491131"/>
                  <a:pt x="187240" y="490452"/>
                  <a:pt x="187461" y="489737"/>
                </a:cubicBezTo>
                <a:cubicBezTo>
                  <a:pt x="187569" y="489530"/>
                  <a:pt x="187664" y="489317"/>
                  <a:pt x="187747" y="489099"/>
                </a:cubicBezTo>
                <a:lnTo>
                  <a:pt x="195196" y="457010"/>
                </a:lnTo>
                <a:cubicBezTo>
                  <a:pt x="196312" y="452409"/>
                  <a:pt x="193487" y="447774"/>
                  <a:pt x="188886" y="446658"/>
                </a:cubicBezTo>
                <a:cubicBezTo>
                  <a:pt x="188843" y="446647"/>
                  <a:pt x="188800" y="446637"/>
                  <a:pt x="188757" y="446627"/>
                </a:cubicBezTo>
                <a:close/>
                <a:moveTo>
                  <a:pt x="104432" y="330346"/>
                </a:moveTo>
                <a:lnTo>
                  <a:pt x="104432" y="334385"/>
                </a:lnTo>
                <a:lnTo>
                  <a:pt x="88659" y="334385"/>
                </a:lnTo>
                <a:lnTo>
                  <a:pt x="88659" y="330346"/>
                </a:lnTo>
                <a:cubicBezTo>
                  <a:pt x="88656" y="326314"/>
                  <a:pt x="85845" y="322829"/>
                  <a:pt x="81905" y="321974"/>
                </a:cubicBezTo>
                <a:cubicBezTo>
                  <a:pt x="73954" y="320246"/>
                  <a:pt x="66376" y="317107"/>
                  <a:pt x="59531" y="312706"/>
                </a:cubicBezTo>
                <a:cubicBezTo>
                  <a:pt x="56136" y="310521"/>
                  <a:pt x="51677" y="311001"/>
                  <a:pt x="48825" y="313858"/>
                </a:cubicBezTo>
                <a:lnTo>
                  <a:pt x="45968" y="316716"/>
                </a:lnTo>
                <a:lnTo>
                  <a:pt x="34814" y="305562"/>
                </a:lnTo>
                <a:lnTo>
                  <a:pt x="37671" y="302705"/>
                </a:lnTo>
                <a:cubicBezTo>
                  <a:pt x="40524" y="299854"/>
                  <a:pt x="41003" y="295401"/>
                  <a:pt x="38824" y="292008"/>
                </a:cubicBezTo>
                <a:cubicBezTo>
                  <a:pt x="34415" y="285160"/>
                  <a:pt x="31272" y="277575"/>
                  <a:pt x="29547" y="269615"/>
                </a:cubicBezTo>
                <a:cubicBezTo>
                  <a:pt x="28687" y="265679"/>
                  <a:pt x="25203" y="262872"/>
                  <a:pt x="21174" y="262871"/>
                </a:cubicBezTo>
                <a:lnTo>
                  <a:pt x="17135" y="262871"/>
                </a:lnTo>
                <a:lnTo>
                  <a:pt x="17135" y="247098"/>
                </a:lnTo>
                <a:lnTo>
                  <a:pt x="21174" y="247098"/>
                </a:lnTo>
                <a:cubicBezTo>
                  <a:pt x="25215" y="247098"/>
                  <a:pt x="28707" y="244276"/>
                  <a:pt x="29556" y="240325"/>
                </a:cubicBezTo>
                <a:cubicBezTo>
                  <a:pt x="31286" y="232372"/>
                  <a:pt x="34428" y="224794"/>
                  <a:pt x="38833" y="217951"/>
                </a:cubicBezTo>
                <a:cubicBezTo>
                  <a:pt x="41013" y="214558"/>
                  <a:pt x="40533" y="210105"/>
                  <a:pt x="37681" y="207254"/>
                </a:cubicBezTo>
                <a:lnTo>
                  <a:pt x="34823" y="204397"/>
                </a:lnTo>
                <a:lnTo>
                  <a:pt x="45968" y="193253"/>
                </a:lnTo>
                <a:lnTo>
                  <a:pt x="48825" y="196110"/>
                </a:lnTo>
                <a:cubicBezTo>
                  <a:pt x="51678" y="198959"/>
                  <a:pt x="56131" y="199435"/>
                  <a:pt x="59522" y="197253"/>
                </a:cubicBezTo>
                <a:cubicBezTo>
                  <a:pt x="66360" y="192847"/>
                  <a:pt x="73936" y="189707"/>
                  <a:pt x="81886" y="187985"/>
                </a:cubicBezTo>
                <a:cubicBezTo>
                  <a:pt x="85830" y="187134"/>
                  <a:pt x="88646" y="183647"/>
                  <a:pt x="88649" y="179613"/>
                </a:cubicBezTo>
                <a:lnTo>
                  <a:pt x="88649" y="175555"/>
                </a:lnTo>
                <a:lnTo>
                  <a:pt x="104423" y="175555"/>
                </a:lnTo>
                <a:lnTo>
                  <a:pt x="104423" y="179603"/>
                </a:lnTo>
                <a:cubicBezTo>
                  <a:pt x="104425" y="183635"/>
                  <a:pt x="107236" y="187120"/>
                  <a:pt x="111176" y="187976"/>
                </a:cubicBezTo>
                <a:cubicBezTo>
                  <a:pt x="119127" y="189704"/>
                  <a:pt x="126705" y="192843"/>
                  <a:pt x="133550" y="197244"/>
                </a:cubicBezTo>
                <a:cubicBezTo>
                  <a:pt x="136943" y="199431"/>
                  <a:pt x="141402" y="198955"/>
                  <a:pt x="144256" y="196101"/>
                </a:cubicBezTo>
                <a:lnTo>
                  <a:pt x="147114" y="193243"/>
                </a:lnTo>
                <a:lnTo>
                  <a:pt x="158267" y="204387"/>
                </a:lnTo>
                <a:lnTo>
                  <a:pt x="155410" y="207245"/>
                </a:lnTo>
                <a:cubicBezTo>
                  <a:pt x="152566" y="210097"/>
                  <a:pt x="152090" y="214543"/>
                  <a:pt x="154267" y="217932"/>
                </a:cubicBezTo>
                <a:cubicBezTo>
                  <a:pt x="158666" y="224783"/>
                  <a:pt x="161802" y="232368"/>
                  <a:pt x="163525" y="240325"/>
                </a:cubicBezTo>
                <a:cubicBezTo>
                  <a:pt x="164382" y="244269"/>
                  <a:pt x="167872" y="247081"/>
                  <a:pt x="171907" y="247079"/>
                </a:cubicBezTo>
                <a:lnTo>
                  <a:pt x="175955" y="247079"/>
                </a:lnTo>
                <a:lnTo>
                  <a:pt x="175955" y="262852"/>
                </a:lnTo>
                <a:lnTo>
                  <a:pt x="171907" y="262852"/>
                </a:lnTo>
                <a:cubicBezTo>
                  <a:pt x="167872" y="262850"/>
                  <a:pt x="164382" y="265662"/>
                  <a:pt x="163525" y="269605"/>
                </a:cubicBezTo>
                <a:cubicBezTo>
                  <a:pt x="161807" y="277560"/>
                  <a:pt x="158668" y="285140"/>
                  <a:pt x="154257" y="291979"/>
                </a:cubicBezTo>
                <a:cubicBezTo>
                  <a:pt x="152073" y="295374"/>
                  <a:pt x="152553" y="299833"/>
                  <a:pt x="155410" y="302685"/>
                </a:cubicBezTo>
                <a:lnTo>
                  <a:pt x="158267" y="305543"/>
                </a:lnTo>
                <a:lnTo>
                  <a:pt x="147123" y="316706"/>
                </a:lnTo>
                <a:lnTo>
                  <a:pt x="144266" y="313849"/>
                </a:lnTo>
                <a:cubicBezTo>
                  <a:pt x="141411" y="310995"/>
                  <a:pt x="136952" y="310519"/>
                  <a:pt x="133560" y="312706"/>
                </a:cubicBezTo>
                <a:cubicBezTo>
                  <a:pt x="129900" y="315030"/>
                  <a:pt x="126028" y="317001"/>
                  <a:pt x="121996" y="318592"/>
                </a:cubicBezTo>
                <a:lnTo>
                  <a:pt x="121825" y="318649"/>
                </a:lnTo>
                <a:cubicBezTo>
                  <a:pt x="118377" y="320041"/>
                  <a:pt x="114822" y="321153"/>
                  <a:pt x="111195" y="321974"/>
                </a:cubicBezTo>
                <a:cubicBezTo>
                  <a:pt x="107251" y="322825"/>
                  <a:pt x="104435" y="326312"/>
                  <a:pt x="104432" y="330346"/>
                </a:cubicBezTo>
                <a:close/>
                <a:moveTo>
                  <a:pt x="150695" y="254994"/>
                </a:moveTo>
                <a:cubicBezTo>
                  <a:pt x="150706" y="225088"/>
                  <a:pt x="126470" y="200836"/>
                  <a:pt x="96564" y="200825"/>
                </a:cubicBezTo>
                <a:cubicBezTo>
                  <a:pt x="66658" y="200815"/>
                  <a:pt x="42406" y="225050"/>
                  <a:pt x="42396" y="254956"/>
                </a:cubicBezTo>
                <a:cubicBezTo>
                  <a:pt x="42385" y="284862"/>
                  <a:pt x="66620" y="309114"/>
                  <a:pt x="96526" y="309124"/>
                </a:cubicBezTo>
                <a:cubicBezTo>
                  <a:pt x="96533" y="309124"/>
                  <a:pt x="96539" y="309124"/>
                  <a:pt x="96545" y="309124"/>
                </a:cubicBezTo>
                <a:cubicBezTo>
                  <a:pt x="126427" y="309082"/>
                  <a:pt x="150643" y="284875"/>
                  <a:pt x="150695" y="254994"/>
                </a:cubicBezTo>
                <a:close/>
                <a:moveTo>
                  <a:pt x="96545" y="291979"/>
                </a:moveTo>
                <a:cubicBezTo>
                  <a:pt x="76108" y="291979"/>
                  <a:pt x="59541" y="275412"/>
                  <a:pt x="59541" y="254975"/>
                </a:cubicBezTo>
                <a:cubicBezTo>
                  <a:pt x="59541" y="234538"/>
                  <a:pt x="76108" y="217970"/>
                  <a:pt x="96545" y="217970"/>
                </a:cubicBezTo>
                <a:cubicBezTo>
                  <a:pt x="116983" y="217970"/>
                  <a:pt x="133550" y="234538"/>
                  <a:pt x="133550" y="254975"/>
                </a:cubicBezTo>
                <a:cubicBezTo>
                  <a:pt x="133550" y="254981"/>
                  <a:pt x="133550" y="254987"/>
                  <a:pt x="133550" y="254994"/>
                </a:cubicBezTo>
                <a:cubicBezTo>
                  <a:pt x="133519" y="275415"/>
                  <a:pt x="116966" y="291958"/>
                  <a:pt x="96545" y="291979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2A4C9244-F798-48E2-5F6E-E9EA26D0C747}"/>
              </a:ext>
            </a:extLst>
          </p:cNvPr>
          <p:cNvSpPr/>
          <p:nvPr/>
        </p:nvSpPr>
        <p:spPr>
          <a:xfrm>
            <a:off x="550839" y="4875312"/>
            <a:ext cx="275330" cy="275354"/>
          </a:xfrm>
          <a:custGeom>
            <a:avLst/>
            <a:gdLst>
              <a:gd name="connsiteX0" fmla="*/ 367757 w 857213"/>
              <a:gd name="connsiteY0" fmla="*/ 380667 h 857292"/>
              <a:gd name="connsiteX1" fmla="*/ 385914 w 857213"/>
              <a:gd name="connsiteY1" fmla="*/ 398823 h 857292"/>
              <a:gd name="connsiteX2" fmla="*/ 367757 w 857213"/>
              <a:gd name="connsiteY2" fmla="*/ 416980 h 857292"/>
              <a:gd name="connsiteX3" fmla="*/ 349601 w 857213"/>
              <a:gd name="connsiteY3" fmla="*/ 398823 h 857292"/>
              <a:gd name="connsiteX4" fmla="*/ 367757 w 857213"/>
              <a:gd name="connsiteY4" fmla="*/ 380667 h 857292"/>
              <a:gd name="connsiteX5" fmla="*/ 428628 w 857213"/>
              <a:gd name="connsiteY5" fmla="*/ 380667 h 857292"/>
              <a:gd name="connsiteX6" fmla="*/ 446784 w 857213"/>
              <a:gd name="connsiteY6" fmla="*/ 398823 h 857292"/>
              <a:gd name="connsiteX7" fmla="*/ 428628 w 857213"/>
              <a:gd name="connsiteY7" fmla="*/ 416980 h 857292"/>
              <a:gd name="connsiteX8" fmla="*/ 410471 w 857213"/>
              <a:gd name="connsiteY8" fmla="*/ 398823 h 857292"/>
              <a:gd name="connsiteX9" fmla="*/ 428628 w 857213"/>
              <a:gd name="connsiteY9" fmla="*/ 380667 h 857292"/>
              <a:gd name="connsiteX10" fmla="*/ 489498 w 857213"/>
              <a:gd name="connsiteY10" fmla="*/ 380667 h 857292"/>
              <a:gd name="connsiteX11" fmla="*/ 507655 w 857213"/>
              <a:gd name="connsiteY11" fmla="*/ 398823 h 857292"/>
              <a:gd name="connsiteX12" fmla="*/ 489498 w 857213"/>
              <a:gd name="connsiteY12" fmla="*/ 416980 h 857292"/>
              <a:gd name="connsiteX13" fmla="*/ 471342 w 857213"/>
              <a:gd name="connsiteY13" fmla="*/ 398823 h 857292"/>
              <a:gd name="connsiteX14" fmla="*/ 489498 w 857213"/>
              <a:gd name="connsiteY14" fmla="*/ 380667 h 857292"/>
              <a:gd name="connsiteX15" fmla="*/ 327611 w 857213"/>
              <a:gd name="connsiteY15" fmla="*/ 480975 h 857292"/>
              <a:gd name="connsiteX16" fmla="*/ 355256 w 857213"/>
              <a:gd name="connsiteY16" fmla="*/ 480975 h 857292"/>
              <a:gd name="connsiteX17" fmla="*/ 355256 w 857213"/>
              <a:gd name="connsiteY17" fmla="*/ 481012 h 857292"/>
              <a:gd name="connsiteX18" fmla="*/ 364185 w 857213"/>
              <a:gd name="connsiteY18" fmla="*/ 486779 h 857292"/>
              <a:gd name="connsiteX19" fmla="*/ 382156 w 857213"/>
              <a:gd name="connsiteY19" fmla="*/ 526628 h 857292"/>
              <a:gd name="connsiteX20" fmla="*/ 399867 w 857213"/>
              <a:gd name="connsiteY20" fmla="*/ 487300 h 857292"/>
              <a:gd name="connsiteX21" fmla="*/ 409057 w 857213"/>
              <a:gd name="connsiteY21" fmla="*/ 480975 h 857292"/>
              <a:gd name="connsiteX22" fmla="*/ 529644 w 857213"/>
              <a:gd name="connsiteY22" fmla="*/ 480975 h 857292"/>
              <a:gd name="connsiteX23" fmla="*/ 547689 w 857213"/>
              <a:gd name="connsiteY23" fmla="*/ 462930 h 857292"/>
              <a:gd name="connsiteX24" fmla="*/ 547689 w 857213"/>
              <a:gd name="connsiteY24" fmla="*/ 334714 h 857292"/>
              <a:gd name="connsiteX25" fmla="*/ 529644 w 857213"/>
              <a:gd name="connsiteY25" fmla="*/ 316669 h 857292"/>
              <a:gd name="connsiteX26" fmla="*/ 327571 w 857213"/>
              <a:gd name="connsiteY26" fmla="*/ 316669 h 857292"/>
              <a:gd name="connsiteX27" fmla="*/ 309526 w 857213"/>
              <a:gd name="connsiteY27" fmla="*/ 334714 h 857292"/>
              <a:gd name="connsiteX28" fmla="*/ 309526 w 857213"/>
              <a:gd name="connsiteY28" fmla="*/ 462930 h 857292"/>
              <a:gd name="connsiteX29" fmla="*/ 327571 w 857213"/>
              <a:gd name="connsiteY29" fmla="*/ 480975 h 857292"/>
              <a:gd name="connsiteX30" fmla="*/ 348931 w 857213"/>
              <a:gd name="connsiteY30" fmla="*/ 500620 h 857292"/>
              <a:gd name="connsiteX31" fmla="*/ 373228 w 857213"/>
              <a:gd name="connsiteY31" fmla="*/ 554495 h 857292"/>
              <a:gd name="connsiteX32" fmla="*/ 391087 w 857213"/>
              <a:gd name="connsiteY32" fmla="*/ 554495 h 857292"/>
              <a:gd name="connsiteX33" fmla="*/ 415383 w 857213"/>
              <a:gd name="connsiteY33" fmla="*/ 500620 h 857292"/>
              <a:gd name="connsiteX34" fmla="*/ 529683 w 857213"/>
              <a:gd name="connsiteY34" fmla="*/ 500620 h 857292"/>
              <a:gd name="connsiteX35" fmla="*/ 567374 w 857213"/>
              <a:gd name="connsiteY35" fmla="*/ 462930 h 857292"/>
              <a:gd name="connsiteX36" fmla="*/ 567374 w 857213"/>
              <a:gd name="connsiteY36" fmla="*/ 334714 h 857292"/>
              <a:gd name="connsiteX37" fmla="*/ 529683 w 857213"/>
              <a:gd name="connsiteY37" fmla="*/ 297023 h 857292"/>
              <a:gd name="connsiteX38" fmla="*/ 327610 w 857213"/>
              <a:gd name="connsiteY38" fmla="*/ 297023 h 857292"/>
              <a:gd name="connsiteX39" fmla="*/ 289920 w 857213"/>
              <a:gd name="connsiteY39" fmla="*/ 334714 h 857292"/>
              <a:gd name="connsiteX40" fmla="*/ 289920 w 857213"/>
              <a:gd name="connsiteY40" fmla="*/ 462930 h 857292"/>
              <a:gd name="connsiteX41" fmla="*/ 327610 w 857213"/>
              <a:gd name="connsiteY41" fmla="*/ 500620 h 857292"/>
              <a:gd name="connsiteX42" fmla="*/ 160698 w 857213"/>
              <a:gd name="connsiteY42" fmla="*/ 36572 h 857292"/>
              <a:gd name="connsiteX43" fmla="*/ 79103 w 857213"/>
              <a:gd name="connsiteY43" fmla="*/ 36572 h 857292"/>
              <a:gd name="connsiteX44" fmla="*/ 79103 w 857213"/>
              <a:gd name="connsiteY44" fmla="*/ 118166 h 857292"/>
              <a:gd name="connsiteX45" fmla="*/ 160698 w 857213"/>
              <a:gd name="connsiteY45" fmla="*/ 118166 h 857292"/>
              <a:gd name="connsiteX46" fmla="*/ 160698 w 857213"/>
              <a:gd name="connsiteY46" fmla="*/ 36572 h 857292"/>
              <a:gd name="connsiteX47" fmla="*/ 145294 w 857213"/>
              <a:gd name="connsiteY47" fmla="*/ 165645 h 857292"/>
              <a:gd name="connsiteX48" fmla="*/ 94507 w 857213"/>
              <a:gd name="connsiteY48" fmla="*/ 165645 h 857292"/>
              <a:gd name="connsiteX49" fmla="*/ 19609 w 857213"/>
              <a:gd name="connsiteY49" fmla="*/ 240543 h 857292"/>
              <a:gd name="connsiteX50" fmla="*/ 19609 w 857213"/>
              <a:gd name="connsiteY50" fmla="*/ 315441 h 857292"/>
              <a:gd name="connsiteX51" fmla="*/ 220196 w 857213"/>
              <a:gd name="connsiteY51" fmla="*/ 315441 h 857292"/>
              <a:gd name="connsiteX52" fmla="*/ 220196 w 857213"/>
              <a:gd name="connsiteY52" fmla="*/ 240543 h 857292"/>
              <a:gd name="connsiteX53" fmla="*/ 145298 w 857213"/>
              <a:gd name="connsiteY53" fmla="*/ 165645 h 857292"/>
              <a:gd name="connsiteX54" fmla="*/ 154633 w 857213"/>
              <a:gd name="connsiteY54" fmla="*/ 146483 h 857292"/>
              <a:gd name="connsiteX55" fmla="*/ 239800 w 857213"/>
              <a:gd name="connsiteY55" fmla="*/ 240543 h 857292"/>
              <a:gd name="connsiteX56" fmla="*/ 239800 w 857213"/>
              <a:gd name="connsiteY56" fmla="*/ 325263 h 857292"/>
              <a:gd name="connsiteX57" fmla="*/ 229978 w 857213"/>
              <a:gd name="connsiteY57" fmla="*/ 335085 h 857292"/>
              <a:gd name="connsiteX58" fmla="*/ 9827 w 857213"/>
              <a:gd name="connsiteY58" fmla="*/ 335048 h 857292"/>
              <a:gd name="connsiteX59" fmla="*/ 4 w 857213"/>
              <a:gd name="connsiteY59" fmla="*/ 325226 h 857292"/>
              <a:gd name="connsiteX60" fmla="*/ 4 w 857213"/>
              <a:gd name="connsiteY60" fmla="*/ 240506 h 857292"/>
              <a:gd name="connsiteX61" fmla="*/ 85171 w 857213"/>
              <a:gd name="connsiteY61" fmla="*/ 146446 h 857292"/>
              <a:gd name="connsiteX62" fmla="*/ 65228 w 857213"/>
              <a:gd name="connsiteY62" fmla="*/ 22659 h 857292"/>
              <a:gd name="connsiteX63" fmla="*/ 174575 w 857213"/>
              <a:gd name="connsiteY63" fmla="*/ 22659 h 857292"/>
              <a:gd name="connsiteX64" fmla="*/ 154631 w 857213"/>
              <a:gd name="connsiteY64" fmla="*/ 146446 h 857292"/>
              <a:gd name="connsiteX65" fmla="*/ 778111 w 857213"/>
              <a:gd name="connsiteY65" fmla="*/ 36574 h 857292"/>
              <a:gd name="connsiteX66" fmla="*/ 696516 w 857213"/>
              <a:gd name="connsiteY66" fmla="*/ 36574 h 857292"/>
              <a:gd name="connsiteX67" fmla="*/ 696516 w 857213"/>
              <a:gd name="connsiteY67" fmla="*/ 118169 h 857292"/>
              <a:gd name="connsiteX68" fmla="*/ 778111 w 857213"/>
              <a:gd name="connsiteY68" fmla="*/ 118169 h 857292"/>
              <a:gd name="connsiteX69" fmla="*/ 778111 w 857213"/>
              <a:gd name="connsiteY69" fmla="*/ 36574 h 857292"/>
              <a:gd name="connsiteX70" fmla="*/ 762707 w 857213"/>
              <a:gd name="connsiteY70" fmla="*/ 165648 h 857292"/>
              <a:gd name="connsiteX71" fmla="*/ 711920 w 857213"/>
              <a:gd name="connsiteY71" fmla="*/ 165648 h 857292"/>
              <a:gd name="connsiteX72" fmla="*/ 637022 w 857213"/>
              <a:gd name="connsiteY72" fmla="*/ 240546 h 857292"/>
              <a:gd name="connsiteX73" fmla="*/ 637022 w 857213"/>
              <a:gd name="connsiteY73" fmla="*/ 315444 h 857292"/>
              <a:gd name="connsiteX74" fmla="*/ 837609 w 857213"/>
              <a:gd name="connsiteY74" fmla="*/ 315444 h 857292"/>
              <a:gd name="connsiteX75" fmla="*/ 837609 w 857213"/>
              <a:gd name="connsiteY75" fmla="*/ 240546 h 857292"/>
              <a:gd name="connsiteX76" fmla="*/ 762711 w 857213"/>
              <a:gd name="connsiteY76" fmla="*/ 165648 h 857292"/>
              <a:gd name="connsiteX77" fmla="*/ 772046 w 857213"/>
              <a:gd name="connsiteY77" fmla="*/ 146486 h 857292"/>
              <a:gd name="connsiteX78" fmla="*/ 857213 w 857213"/>
              <a:gd name="connsiteY78" fmla="*/ 240546 h 857292"/>
              <a:gd name="connsiteX79" fmla="*/ 857213 w 857213"/>
              <a:gd name="connsiteY79" fmla="*/ 325266 h 857292"/>
              <a:gd name="connsiteX80" fmla="*/ 847391 w 857213"/>
              <a:gd name="connsiteY80" fmla="*/ 335088 h 857292"/>
              <a:gd name="connsiteX81" fmla="*/ 627202 w 857213"/>
              <a:gd name="connsiteY81" fmla="*/ 335088 h 857292"/>
              <a:gd name="connsiteX82" fmla="*/ 617379 w 857213"/>
              <a:gd name="connsiteY82" fmla="*/ 325266 h 857292"/>
              <a:gd name="connsiteX83" fmla="*/ 617379 w 857213"/>
              <a:gd name="connsiteY83" fmla="*/ 240546 h 857292"/>
              <a:gd name="connsiteX84" fmla="*/ 702546 w 857213"/>
              <a:gd name="connsiteY84" fmla="*/ 146486 h 857292"/>
              <a:gd name="connsiteX85" fmla="*/ 682603 w 857213"/>
              <a:gd name="connsiteY85" fmla="*/ 22699 h 857292"/>
              <a:gd name="connsiteX86" fmla="*/ 791950 w 857213"/>
              <a:gd name="connsiteY86" fmla="*/ 22699 h 857292"/>
              <a:gd name="connsiteX87" fmla="*/ 772006 w 857213"/>
              <a:gd name="connsiteY87" fmla="*/ 146486 h 857292"/>
              <a:gd name="connsiteX88" fmla="*/ 160694 w 857213"/>
              <a:gd name="connsiteY88" fmla="*/ 558776 h 857292"/>
              <a:gd name="connsiteX89" fmla="*/ 79099 w 857213"/>
              <a:gd name="connsiteY89" fmla="*/ 558776 h 857292"/>
              <a:gd name="connsiteX90" fmla="*/ 79099 w 857213"/>
              <a:gd name="connsiteY90" fmla="*/ 640371 h 857292"/>
              <a:gd name="connsiteX91" fmla="*/ 160694 w 857213"/>
              <a:gd name="connsiteY91" fmla="*/ 640371 h 857292"/>
              <a:gd name="connsiteX92" fmla="*/ 160694 w 857213"/>
              <a:gd name="connsiteY92" fmla="*/ 558776 h 857292"/>
              <a:gd name="connsiteX93" fmla="*/ 145290 w 857213"/>
              <a:gd name="connsiteY93" fmla="*/ 687849 h 857292"/>
              <a:gd name="connsiteX94" fmla="*/ 94503 w 857213"/>
              <a:gd name="connsiteY94" fmla="*/ 687849 h 857292"/>
              <a:gd name="connsiteX95" fmla="*/ 19605 w 857213"/>
              <a:gd name="connsiteY95" fmla="*/ 762747 h 857292"/>
              <a:gd name="connsiteX96" fmla="*/ 19605 w 857213"/>
              <a:gd name="connsiteY96" fmla="*/ 837645 h 857292"/>
              <a:gd name="connsiteX97" fmla="*/ 220192 w 857213"/>
              <a:gd name="connsiteY97" fmla="*/ 837645 h 857292"/>
              <a:gd name="connsiteX98" fmla="*/ 220192 w 857213"/>
              <a:gd name="connsiteY98" fmla="*/ 762747 h 857292"/>
              <a:gd name="connsiteX99" fmla="*/ 145294 w 857213"/>
              <a:gd name="connsiteY99" fmla="*/ 687849 h 857292"/>
              <a:gd name="connsiteX100" fmla="*/ 154629 w 857213"/>
              <a:gd name="connsiteY100" fmla="*/ 668688 h 857292"/>
              <a:gd name="connsiteX101" fmla="*/ 239796 w 857213"/>
              <a:gd name="connsiteY101" fmla="*/ 762747 h 857292"/>
              <a:gd name="connsiteX102" fmla="*/ 239796 w 857213"/>
              <a:gd name="connsiteY102" fmla="*/ 847467 h 857292"/>
              <a:gd name="connsiteX103" fmla="*/ 229974 w 857213"/>
              <a:gd name="connsiteY103" fmla="*/ 857289 h 857292"/>
              <a:gd name="connsiteX104" fmla="*/ 9822 w 857213"/>
              <a:gd name="connsiteY104" fmla="*/ 857289 h 857292"/>
              <a:gd name="connsiteX105" fmla="*/ 0 w 857213"/>
              <a:gd name="connsiteY105" fmla="*/ 847467 h 857292"/>
              <a:gd name="connsiteX106" fmla="*/ 0 w 857213"/>
              <a:gd name="connsiteY106" fmla="*/ 762747 h 857292"/>
              <a:gd name="connsiteX107" fmla="*/ 85167 w 857213"/>
              <a:gd name="connsiteY107" fmla="*/ 668688 h 857292"/>
              <a:gd name="connsiteX108" fmla="*/ 65223 w 857213"/>
              <a:gd name="connsiteY108" fmla="*/ 544901 h 857292"/>
              <a:gd name="connsiteX109" fmla="*/ 174570 w 857213"/>
              <a:gd name="connsiteY109" fmla="*/ 544901 h 857292"/>
              <a:gd name="connsiteX110" fmla="*/ 154627 w 857213"/>
              <a:gd name="connsiteY110" fmla="*/ 668688 h 857292"/>
              <a:gd name="connsiteX111" fmla="*/ 778107 w 857213"/>
              <a:gd name="connsiteY111" fmla="*/ 558779 h 857292"/>
              <a:gd name="connsiteX112" fmla="*/ 696512 w 857213"/>
              <a:gd name="connsiteY112" fmla="*/ 558779 h 857292"/>
              <a:gd name="connsiteX113" fmla="*/ 696512 w 857213"/>
              <a:gd name="connsiteY113" fmla="*/ 640374 h 857292"/>
              <a:gd name="connsiteX114" fmla="*/ 778107 w 857213"/>
              <a:gd name="connsiteY114" fmla="*/ 640374 h 857292"/>
              <a:gd name="connsiteX115" fmla="*/ 778107 w 857213"/>
              <a:gd name="connsiteY115" fmla="*/ 558779 h 857292"/>
              <a:gd name="connsiteX116" fmla="*/ 762703 w 857213"/>
              <a:gd name="connsiteY116" fmla="*/ 687852 h 857292"/>
              <a:gd name="connsiteX117" fmla="*/ 711916 w 857213"/>
              <a:gd name="connsiteY117" fmla="*/ 687852 h 857292"/>
              <a:gd name="connsiteX118" fmla="*/ 637018 w 857213"/>
              <a:gd name="connsiteY118" fmla="*/ 762750 h 857292"/>
              <a:gd name="connsiteX119" fmla="*/ 637018 w 857213"/>
              <a:gd name="connsiteY119" fmla="*/ 837648 h 857292"/>
              <a:gd name="connsiteX120" fmla="*/ 837605 w 857213"/>
              <a:gd name="connsiteY120" fmla="*/ 837648 h 857292"/>
              <a:gd name="connsiteX121" fmla="*/ 837605 w 857213"/>
              <a:gd name="connsiteY121" fmla="*/ 762750 h 857292"/>
              <a:gd name="connsiteX122" fmla="*/ 762707 w 857213"/>
              <a:gd name="connsiteY122" fmla="*/ 687852 h 857292"/>
              <a:gd name="connsiteX123" fmla="*/ 772042 w 857213"/>
              <a:gd name="connsiteY123" fmla="*/ 668691 h 857292"/>
              <a:gd name="connsiteX124" fmla="*/ 857209 w 857213"/>
              <a:gd name="connsiteY124" fmla="*/ 762750 h 857292"/>
              <a:gd name="connsiteX125" fmla="*/ 857209 w 857213"/>
              <a:gd name="connsiteY125" fmla="*/ 847470 h 857292"/>
              <a:gd name="connsiteX126" fmla="*/ 847387 w 857213"/>
              <a:gd name="connsiteY126" fmla="*/ 857292 h 857292"/>
              <a:gd name="connsiteX127" fmla="*/ 627197 w 857213"/>
              <a:gd name="connsiteY127" fmla="*/ 857292 h 857292"/>
              <a:gd name="connsiteX128" fmla="*/ 617375 w 857213"/>
              <a:gd name="connsiteY128" fmla="*/ 847470 h 857292"/>
              <a:gd name="connsiteX129" fmla="*/ 617375 w 857213"/>
              <a:gd name="connsiteY129" fmla="*/ 762750 h 857292"/>
              <a:gd name="connsiteX130" fmla="*/ 702542 w 857213"/>
              <a:gd name="connsiteY130" fmla="*/ 668691 h 857292"/>
              <a:gd name="connsiteX131" fmla="*/ 682598 w 857213"/>
              <a:gd name="connsiteY131" fmla="*/ 544904 h 857292"/>
              <a:gd name="connsiteX132" fmla="*/ 791945 w 857213"/>
              <a:gd name="connsiteY132" fmla="*/ 544904 h 857292"/>
              <a:gd name="connsiteX133" fmla="*/ 772002 w 857213"/>
              <a:gd name="connsiteY133" fmla="*/ 668691 h 857292"/>
              <a:gd name="connsiteX134" fmla="*/ 581656 w 857213"/>
              <a:gd name="connsiteY134" fmla="*/ 713339 h 857292"/>
              <a:gd name="connsiteX135" fmla="*/ 594939 w 857213"/>
              <a:gd name="connsiteY135" fmla="*/ 717320 h 857292"/>
              <a:gd name="connsiteX136" fmla="*/ 590958 w 857213"/>
              <a:gd name="connsiteY136" fmla="*/ 730603 h 857292"/>
              <a:gd name="connsiteX137" fmla="*/ 266289 w 857213"/>
              <a:gd name="connsiteY137" fmla="*/ 730603 h 857292"/>
              <a:gd name="connsiteX138" fmla="*/ 262307 w 857213"/>
              <a:gd name="connsiteY138" fmla="*/ 717320 h 857292"/>
              <a:gd name="connsiteX139" fmla="*/ 275590 w 857213"/>
              <a:gd name="connsiteY139" fmla="*/ 713339 h 857292"/>
              <a:gd name="connsiteX140" fmla="*/ 581695 w 857213"/>
              <a:gd name="connsiteY140" fmla="*/ 713339 h 857292"/>
              <a:gd name="connsiteX141" fmla="*/ 749049 w 857213"/>
              <a:gd name="connsiteY141" fmla="*/ 386774 h 857292"/>
              <a:gd name="connsiteX142" fmla="*/ 757532 w 857213"/>
              <a:gd name="connsiteY142" fmla="*/ 375836 h 857292"/>
              <a:gd name="connsiteX143" fmla="*/ 768470 w 857213"/>
              <a:gd name="connsiteY143" fmla="*/ 384319 h 857292"/>
              <a:gd name="connsiteX144" fmla="*/ 768470 w 857213"/>
              <a:gd name="connsiteY144" fmla="*/ 473021 h 857292"/>
              <a:gd name="connsiteX145" fmla="*/ 757532 w 857213"/>
              <a:gd name="connsiteY145" fmla="*/ 481504 h 857292"/>
              <a:gd name="connsiteX146" fmla="*/ 749049 w 857213"/>
              <a:gd name="connsiteY146" fmla="*/ 470565 h 857292"/>
              <a:gd name="connsiteX147" fmla="*/ 749049 w 857213"/>
              <a:gd name="connsiteY147" fmla="*/ 386775 h 857292"/>
              <a:gd name="connsiteX148" fmla="*/ 275513 w 857213"/>
              <a:gd name="connsiteY148" fmla="*/ 144001 h 857292"/>
              <a:gd name="connsiteX149" fmla="*/ 262231 w 857213"/>
              <a:gd name="connsiteY149" fmla="*/ 140020 h 857292"/>
              <a:gd name="connsiteX150" fmla="*/ 266212 w 857213"/>
              <a:gd name="connsiteY150" fmla="*/ 126737 h 857292"/>
              <a:gd name="connsiteX151" fmla="*/ 590881 w 857213"/>
              <a:gd name="connsiteY151" fmla="*/ 126737 h 857292"/>
              <a:gd name="connsiteX152" fmla="*/ 594862 w 857213"/>
              <a:gd name="connsiteY152" fmla="*/ 140020 h 857292"/>
              <a:gd name="connsiteX153" fmla="*/ 581579 w 857213"/>
              <a:gd name="connsiteY153" fmla="*/ 144001 h 857292"/>
              <a:gd name="connsiteX154" fmla="*/ 275475 w 857213"/>
              <a:gd name="connsiteY154" fmla="*/ 144001 h 857292"/>
              <a:gd name="connsiteX155" fmla="*/ 108121 w 857213"/>
              <a:gd name="connsiteY155" fmla="*/ 470566 h 857292"/>
              <a:gd name="connsiteX156" fmla="*/ 99638 w 857213"/>
              <a:gd name="connsiteY156" fmla="*/ 481504 h 857292"/>
              <a:gd name="connsiteX157" fmla="*/ 88699 w 857213"/>
              <a:gd name="connsiteY157" fmla="*/ 473021 h 857292"/>
              <a:gd name="connsiteX158" fmla="*/ 88699 w 857213"/>
              <a:gd name="connsiteY158" fmla="*/ 384320 h 857292"/>
              <a:gd name="connsiteX159" fmla="*/ 99638 w 857213"/>
              <a:gd name="connsiteY159" fmla="*/ 375836 h 857292"/>
              <a:gd name="connsiteX160" fmla="*/ 108121 w 857213"/>
              <a:gd name="connsiteY160" fmla="*/ 386775 h 857292"/>
              <a:gd name="connsiteX161" fmla="*/ 108121 w 857213"/>
              <a:gd name="connsiteY161" fmla="*/ 470565 h 857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857213" h="857292">
                <a:moveTo>
                  <a:pt x="367757" y="380667"/>
                </a:moveTo>
                <a:cubicBezTo>
                  <a:pt x="377803" y="380667"/>
                  <a:pt x="385914" y="388815"/>
                  <a:pt x="385914" y="398823"/>
                </a:cubicBezTo>
                <a:cubicBezTo>
                  <a:pt x="385914" y="408870"/>
                  <a:pt x="377766" y="416980"/>
                  <a:pt x="367757" y="416980"/>
                </a:cubicBezTo>
                <a:cubicBezTo>
                  <a:pt x="357711" y="416980"/>
                  <a:pt x="349601" y="408832"/>
                  <a:pt x="349601" y="398823"/>
                </a:cubicBezTo>
                <a:cubicBezTo>
                  <a:pt x="349601" y="388777"/>
                  <a:pt x="357749" y="380667"/>
                  <a:pt x="367757" y="380667"/>
                </a:cubicBezTo>
                <a:close/>
                <a:moveTo>
                  <a:pt x="428628" y="380667"/>
                </a:moveTo>
                <a:cubicBezTo>
                  <a:pt x="438674" y="380667"/>
                  <a:pt x="446784" y="388815"/>
                  <a:pt x="446784" y="398823"/>
                </a:cubicBezTo>
                <a:cubicBezTo>
                  <a:pt x="446784" y="408870"/>
                  <a:pt x="438636" y="416980"/>
                  <a:pt x="428628" y="416980"/>
                </a:cubicBezTo>
                <a:cubicBezTo>
                  <a:pt x="418582" y="416980"/>
                  <a:pt x="410471" y="408832"/>
                  <a:pt x="410471" y="398823"/>
                </a:cubicBezTo>
                <a:cubicBezTo>
                  <a:pt x="410471" y="388777"/>
                  <a:pt x="418620" y="380667"/>
                  <a:pt x="428628" y="380667"/>
                </a:cubicBezTo>
                <a:close/>
                <a:moveTo>
                  <a:pt x="489498" y="380667"/>
                </a:moveTo>
                <a:cubicBezTo>
                  <a:pt x="499544" y="380667"/>
                  <a:pt x="507655" y="388815"/>
                  <a:pt x="507655" y="398823"/>
                </a:cubicBezTo>
                <a:cubicBezTo>
                  <a:pt x="507655" y="408870"/>
                  <a:pt x="499506" y="416980"/>
                  <a:pt x="489498" y="416980"/>
                </a:cubicBezTo>
                <a:cubicBezTo>
                  <a:pt x="479452" y="416980"/>
                  <a:pt x="471342" y="408832"/>
                  <a:pt x="471342" y="398823"/>
                </a:cubicBezTo>
                <a:cubicBezTo>
                  <a:pt x="471342" y="388777"/>
                  <a:pt x="479490" y="380667"/>
                  <a:pt x="489498" y="380667"/>
                </a:cubicBezTo>
                <a:close/>
                <a:moveTo>
                  <a:pt x="327611" y="480975"/>
                </a:moveTo>
                <a:lnTo>
                  <a:pt x="355256" y="480975"/>
                </a:lnTo>
                <a:lnTo>
                  <a:pt x="355256" y="481012"/>
                </a:lnTo>
                <a:cubicBezTo>
                  <a:pt x="358976" y="481012"/>
                  <a:pt x="362548" y="483170"/>
                  <a:pt x="364185" y="486779"/>
                </a:cubicBezTo>
                <a:lnTo>
                  <a:pt x="382156" y="526628"/>
                </a:lnTo>
                <a:lnTo>
                  <a:pt x="399867" y="487300"/>
                </a:lnTo>
                <a:cubicBezTo>
                  <a:pt x="401281" y="483579"/>
                  <a:pt x="404853" y="480975"/>
                  <a:pt x="409057" y="480975"/>
                </a:cubicBezTo>
                <a:lnTo>
                  <a:pt x="529644" y="480975"/>
                </a:lnTo>
                <a:cubicBezTo>
                  <a:pt x="539541" y="480975"/>
                  <a:pt x="547689" y="472827"/>
                  <a:pt x="547689" y="462930"/>
                </a:cubicBezTo>
                <a:lnTo>
                  <a:pt x="547689" y="334714"/>
                </a:lnTo>
                <a:cubicBezTo>
                  <a:pt x="547689" y="324816"/>
                  <a:pt x="539540" y="316669"/>
                  <a:pt x="529644" y="316669"/>
                </a:cubicBezTo>
                <a:lnTo>
                  <a:pt x="327571" y="316669"/>
                </a:lnTo>
                <a:cubicBezTo>
                  <a:pt x="317673" y="316669"/>
                  <a:pt x="309526" y="324817"/>
                  <a:pt x="309526" y="334714"/>
                </a:cubicBezTo>
                <a:lnTo>
                  <a:pt x="309526" y="462930"/>
                </a:lnTo>
                <a:cubicBezTo>
                  <a:pt x="309526" y="472827"/>
                  <a:pt x="317674" y="480975"/>
                  <a:pt x="327571" y="480975"/>
                </a:cubicBezTo>
                <a:close/>
                <a:moveTo>
                  <a:pt x="348931" y="500620"/>
                </a:moveTo>
                <a:lnTo>
                  <a:pt x="373228" y="554495"/>
                </a:lnTo>
                <a:cubicBezTo>
                  <a:pt x="376613" y="561974"/>
                  <a:pt x="387552" y="562309"/>
                  <a:pt x="391087" y="554495"/>
                </a:cubicBezTo>
                <a:lnTo>
                  <a:pt x="415383" y="500620"/>
                </a:lnTo>
                <a:lnTo>
                  <a:pt x="529683" y="500620"/>
                </a:lnTo>
                <a:cubicBezTo>
                  <a:pt x="550445" y="500620"/>
                  <a:pt x="567374" y="483691"/>
                  <a:pt x="567374" y="462930"/>
                </a:cubicBezTo>
                <a:lnTo>
                  <a:pt x="567374" y="334714"/>
                </a:lnTo>
                <a:cubicBezTo>
                  <a:pt x="567374" y="313952"/>
                  <a:pt x="550445" y="297023"/>
                  <a:pt x="529683" y="297023"/>
                </a:cubicBezTo>
                <a:lnTo>
                  <a:pt x="327610" y="297023"/>
                </a:lnTo>
                <a:cubicBezTo>
                  <a:pt x="306849" y="297023"/>
                  <a:pt x="289920" y="313952"/>
                  <a:pt x="289920" y="334714"/>
                </a:cubicBezTo>
                <a:lnTo>
                  <a:pt x="289920" y="462930"/>
                </a:lnTo>
                <a:cubicBezTo>
                  <a:pt x="289920" y="483691"/>
                  <a:pt x="306849" y="500620"/>
                  <a:pt x="327610" y="500620"/>
                </a:cubicBezTo>
                <a:close/>
                <a:moveTo>
                  <a:pt x="160698" y="36572"/>
                </a:moveTo>
                <a:cubicBezTo>
                  <a:pt x="138188" y="14061"/>
                  <a:pt x="101651" y="14061"/>
                  <a:pt x="79103" y="36572"/>
                </a:cubicBezTo>
                <a:cubicBezTo>
                  <a:pt x="56593" y="59082"/>
                  <a:pt x="56593" y="95619"/>
                  <a:pt x="79103" y="118166"/>
                </a:cubicBezTo>
                <a:cubicBezTo>
                  <a:pt x="101614" y="140677"/>
                  <a:pt x="138151" y="140677"/>
                  <a:pt x="160698" y="118166"/>
                </a:cubicBezTo>
                <a:cubicBezTo>
                  <a:pt x="183209" y="95656"/>
                  <a:pt x="183209" y="59119"/>
                  <a:pt x="160698" y="36572"/>
                </a:cubicBezTo>
                <a:close/>
                <a:moveTo>
                  <a:pt x="145294" y="165645"/>
                </a:moveTo>
                <a:lnTo>
                  <a:pt x="94507" y="165645"/>
                </a:lnTo>
                <a:cubicBezTo>
                  <a:pt x="53319" y="165645"/>
                  <a:pt x="19609" y="199355"/>
                  <a:pt x="19609" y="240543"/>
                </a:cubicBezTo>
                <a:lnTo>
                  <a:pt x="19609" y="315441"/>
                </a:lnTo>
                <a:lnTo>
                  <a:pt x="220196" y="315441"/>
                </a:lnTo>
                <a:lnTo>
                  <a:pt x="220196" y="240543"/>
                </a:lnTo>
                <a:cubicBezTo>
                  <a:pt x="220196" y="199355"/>
                  <a:pt x="186486" y="165645"/>
                  <a:pt x="145298" y="165645"/>
                </a:cubicBezTo>
                <a:close/>
                <a:moveTo>
                  <a:pt x="154633" y="146483"/>
                </a:moveTo>
                <a:cubicBezTo>
                  <a:pt x="202481" y="151246"/>
                  <a:pt x="239800" y="191913"/>
                  <a:pt x="239800" y="240543"/>
                </a:cubicBezTo>
                <a:lnTo>
                  <a:pt x="239800" y="325263"/>
                </a:lnTo>
                <a:cubicBezTo>
                  <a:pt x="239800" y="330695"/>
                  <a:pt x="235410" y="335085"/>
                  <a:pt x="229978" y="335085"/>
                </a:cubicBezTo>
                <a:lnTo>
                  <a:pt x="9827" y="335048"/>
                </a:lnTo>
                <a:cubicBezTo>
                  <a:pt x="4394" y="335048"/>
                  <a:pt x="4" y="330657"/>
                  <a:pt x="4" y="325226"/>
                </a:cubicBezTo>
                <a:lnTo>
                  <a:pt x="4" y="240506"/>
                </a:lnTo>
                <a:cubicBezTo>
                  <a:pt x="4" y="191876"/>
                  <a:pt x="37323" y="151209"/>
                  <a:pt x="85171" y="146446"/>
                </a:cubicBezTo>
                <a:cubicBezTo>
                  <a:pt x="38290" y="122819"/>
                  <a:pt x="27873" y="60052"/>
                  <a:pt x="65228" y="22659"/>
                </a:cubicBezTo>
                <a:cubicBezTo>
                  <a:pt x="95440" y="-7553"/>
                  <a:pt x="144404" y="-7553"/>
                  <a:pt x="174575" y="22659"/>
                </a:cubicBezTo>
                <a:cubicBezTo>
                  <a:pt x="211931" y="60015"/>
                  <a:pt x="201512" y="122824"/>
                  <a:pt x="154631" y="146446"/>
                </a:cubicBezTo>
                <a:close/>
                <a:moveTo>
                  <a:pt x="778111" y="36574"/>
                </a:moveTo>
                <a:cubicBezTo>
                  <a:pt x="755601" y="14064"/>
                  <a:pt x="719064" y="14064"/>
                  <a:pt x="696516" y="36574"/>
                </a:cubicBezTo>
                <a:cubicBezTo>
                  <a:pt x="674006" y="59085"/>
                  <a:pt x="674006" y="95622"/>
                  <a:pt x="696516" y="118169"/>
                </a:cubicBezTo>
                <a:cubicBezTo>
                  <a:pt x="719027" y="140680"/>
                  <a:pt x="755601" y="140680"/>
                  <a:pt x="778111" y="118169"/>
                </a:cubicBezTo>
                <a:cubicBezTo>
                  <a:pt x="800622" y="95659"/>
                  <a:pt x="800622" y="59122"/>
                  <a:pt x="778111" y="36574"/>
                </a:cubicBezTo>
                <a:close/>
                <a:moveTo>
                  <a:pt x="762707" y="165648"/>
                </a:moveTo>
                <a:lnTo>
                  <a:pt x="711920" y="165648"/>
                </a:lnTo>
                <a:cubicBezTo>
                  <a:pt x="670732" y="165648"/>
                  <a:pt x="637022" y="199358"/>
                  <a:pt x="637022" y="240546"/>
                </a:cubicBezTo>
                <a:lnTo>
                  <a:pt x="637022" y="315444"/>
                </a:lnTo>
                <a:lnTo>
                  <a:pt x="837609" y="315444"/>
                </a:lnTo>
                <a:lnTo>
                  <a:pt x="837609" y="240546"/>
                </a:lnTo>
                <a:cubicBezTo>
                  <a:pt x="837609" y="199358"/>
                  <a:pt x="803899" y="165648"/>
                  <a:pt x="762711" y="165648"/>
                </a:cubicBezTo>
                <a:close/>
                <a:moveTo>
                  <a:pt x="772046" y="146486"/>
                </a:moveTo>
                <a:cubicBezTo>
                  <a:pt x="819894" y="151249"/>
                  <a:pt x="857213" y="191916"/>
                  <a:pt x="857213" y="240546"/>
                </a:cubicBezTo>
                <a:lnTo>
                  <a:pt x="857213" y="325266"/>
                </a:lnTo>
                <a:cubicBezTo>
                  <a:pt x="857213" y="330698"/>
                  <a:pt x="852823" y="335088"/>
                  <a:pt x="847391" y="335088"/>
                </a:cubicBezTo>
                <a:lnTo>
                  <a:pt x="627202" y="335088"/>
                </a:lnTo>
                <a:cubicBezTo>
                  <a:pt x="621769" y="335088"/>
                  <a:pt x="617379" y="330697"/>
                  <a:pt x="617379" y="325266"/>
                </a:cubicBezTo>
                <a:lnTo>
                  <a:pt x="617379" y="240546"/>
                </a:lnTo>
                <a:cubicBezTo>
                  <a:pt x="617379" y="191916"/>
                  <a:pt x="654698" y="151249"/>
                  <a:pt x="702546" y="146486"/>
                </a:cubicBezTo>
                <a:cubicBezTo>
                  <a:pt x="655665" y="122859"/>
                  <a:pt x="645248" y="60092"/>
                  <a:pt x="682603" y="22699"/>
                </a:cubicBezTo>
                <a:cubicBezTo>
                  <a:pt x="712815" y="-7513"/>
                  <a:pt x="761779" y="-7513"/>
                  <a:pt x="791950" y="22699"/>
                </a:cubicBezTo>
                <a:cubicBezTo>
                  <a:pt x="829306" y="60055"/>
                  <a:pt x="818887" y="122864"/>
                  <a:pt x="772006" y="146486"/>
                </a:cubicBezTo>
                <a:close/>
                <a:moveTo>
                  <a:pt x="160694" y="558776"/>
                </a:moveTo>
                <a:cubicBezTo>
                  <a:pt x="138183" y="536265"/>
                  <a:pt x="101646" y="536265"/>
                  <a:pt x="79099" y="558776"/>
                </a:cubicBezTo>
                <a:cubicBezTo>
                  <a:pt x="56588" y="581286"/>
                  <a:pt x="56588" y="617823"/>
                  <a:pt x="79099" y="640371"/>
                </a:cubicBezTo>
                <a:cubicBezTo>
                  <a:pt x="101609" y="662881"/>
                  <a:pt x="138146" y="662881"/>
                  <a:pt x="160694" y="640371"/>
                </a:cubicBezTo>
                <a:cubicBezTo>
                  <a:pt x="183204" y="617860"/>
                  <a:pt x="183204" y="581323"/>
                  <a:pt x="160694" y="558776"/>
                </a:cubicBezTo>
                <a:close/>
                <a:moveTo>
                  <a:pt x="145290" y="687849"/>
                </a:moveTo>
                <a:lnTo>
                  <a:pt x="94503" y="687849"/>
                </a:lnTo>
                <a:cubicBezTo>
                  <a:pt x="53315" y="687849"/>
                  <a:pt x="19605" y="721559"/>
                  <a:pt x="19605" y="762747"/>
                </a:cubicBezTo>
                <a:lnTo>
                  <a:pt x="19605" y="837645"/>
                </a:lnTo>
                <a:lnTo>
                  <a:pt x="220192" y="837645"/>
                </a:lnTo>
                <a:lnTo>
                  <a:pt x="220192" y="762747"/>
                </a:lnTo>
                <a:cubicBezTo>
                  <a:pt x="220192" y="721559"/>
                  <a:pt x="186482" y="687849"/>
                  <a:pt x="145294" y="687849"/>
                </a:cubicBezTo>
                <a:close/>
                <a:moveTo>
                  <a:pt x="154629" y="668688"/>
                </a:moveTo>
                <a:cubicBezTo>
                  <a:pt x="202477" y="673450"/>
                  <a:pt x="239796" y="714117"/>
                  <a:pt x="239796" y="762747"/>
                </a:cubicBezTo>
                <a:lnTo>
                  <a:pt x="239796" y="847467"/>
                </a:lnTo>
                <a:cubicBezTo>
                  <a:pt x="239796" y="852899"/>
                  <a:pt x="235405" y="857289"/>
                  <a:pt x="229974" y="857289"/>
                </a:cubicBezTo>
                <a:lnTo>
                  <a:pt x="9822" y="857289"/>
                </a:lnTo>
                <a:cubicBezTo>
                  <a:pt x="4390" y="857289"/>
                  <a:pt x="0" y="852899"/>
                  <a:pt x="0" y="847467"/>
                </a:cubicBezTo>
                <a:lnTo>
                  <a:pt x="0" y="762747"/>
                </a:lnTo>
                <a:cubicBezTo>
                  <a:pt x="0" y="714117"/>
                  <a:pt x="37319" y="673450"/>
                  <a:pt x="85167" y="668688"/>
                </a:cubicBezTo>
                <a:cubicBezTo>
                  <a:pt x="38286" y="645061"/>
                  <a:pt x="27868" y="582293"/>
                  <a:pt x="65223" y="544901"/>
                </a:cubicBezTo>
                <a:cubicBezTo>
                  <a:pt x="95436" y="514688"/>
                  <a:pt x="144400" y="514688"/>
                  <a:pt x="174570" y="544901"/>
                </a:cubicBezTo>
                <a:cubicBezTo>
                  <a:pt x="211926" y="582257"/>
                  <a:pt x="201508" y="645066"/>
                  <a:pt x="154627" y="668688"/>
                </a:cubicBezTo>
                <a:close/>
                <a:moveTo>
                  <a:pt x="778107" y="558779"/>
                </a:moveTo>
                <a:cubicBezTo>
                  <a:pt x="755596" y="536268"/>
                  <a:pt x="719059" y="536268"/>
                  <a:pt x="696512" y="558779"/>
                </a:cubicBezTo>
                <a:cubicBezTo>
                  <a:pt x="674001" y="581289"/>
                  <a:pt x="674001" y="617826"/>
                  <a:pt x="696512" y="640374"/>
                </a:cubicBezTo>
                <a:cubicBezTo>
                  <a:pt x="719022" y="662884"/>
                  <a:pt x="755596" y="662884"/>
                  <a:pt x="778107" y="640374"/>
                </a:cubicBezTo>
                <a:cubicBezTo>
                  <a:pt x="800617" y="617863"/>
                  <a:pt x="800617" y="581326"/>
                  <a:pt x="778107" y="558779"/>
                </a:cubicBezTo>
                <a:close/>
                <a:moveTo>
                  <a:pt x="762703" y="687852"/>
                </a:moveTo>
                <a:lnTo>
                  <a:pt x="711916" y="687852"/>
                </a:lnTo>
                <a:cubicBezTo>
                  <a:pt x="670728" y="687852"/>
                  <a:pt x="637018" y="721562"/>
                  <a:pt x="637018" y="762750"/>
                </a:cubicBezTo>
                <a:lnTo>
                  <a:pt x="637018" y="837648"/>
                </a:lnTo>
                <a:lnTo>
                  <a:pt x="837605" y="837648"/>
                </a:lnTo>
                <a:lnTo>
                  <a:pt x="837605" y="762750"/>
                </a:lnTo>
                <a:cubicBezTo>
                  <a:pt x="837605" y="721562"/>
                  <a:pt x="803895" y="687852"/>
                  <a:pt x="762707" y="687852"/>
                </a:cubicBezTo>
                <a:close/>
                <a:moveTo>
                  <a:pt x="772042" y="668691"/>
                </a:moveTo>
                <a:cubicBezTo>
                  <a:pt x="819890" y="673453"/>
                  <a:pt x="857209" y="714120"/>
                  <a:pt x="857209" y="762750"/>
                </a:cubicBezTo>
                <a:lnTo>
                  <a:pt x="857209" y="847470"/>
                </a:lnTo>
                <a:cubicBezTo>
                  <a:pt x="857209" y="852902"/>
                  <a:pt x="852818" y="857292"/>
                  <a:pt x="847387" y="857292"/>
                </a:cubicBezTo>
                <a:lnTo>
                  <a:pt x="627197" y="857292"/>
                </a:lnTo>
                <a:cubicBezTo>
                  <a:pt x="621765" y="857292"/>
                  <a:pt x="617375" y="852902"/>
                  <a:pt x="617375" y="847470"/>
                </a:cubicBezTo>
                <a:lnTo>
                  <a:pt x="617375" y="762750"/>
                </a:lnTo>
                <a:cubicBezTo>
                  <a:pt x="617375" y="714120"/>
                  <a:pt x="654694" y="673453"/>
                  <a:pt x="702542" y="668691"/>
                </a:cubicBezTo>
                <a:cubicBezTo>
                  <a:pt x="655661" y="645064"/>
                  <a:pt x="645243" y="582296"/>
                  <a:pt x="682598" y="544904"/>
                </a:cubicBezTo>
                <a:cubicBezTo>
                  <a:pt x="712811" y="514691"/>
                  <a:pt x="761775" y="514691"/>
                  <a:pt x="791945" y="544904"/>
                </a:cubicBezTo>
                <a:cubicBezTo>
                  <a:pt x="829301" y="582260"/>
                  <a:pt x="818883" y="645069"/>
                  <a:pt x="772002" y="668691"/>
                </a:cubicBezTo>
                <a:close/>
                <a:moveTo>
                  <a:pt x="581656" y="713339"/>
                </a:moveTo>
                <a:cubicBezTo>
                  <a:pt x="586419" y="710772"/>
                  <a:pt x="592372" y="712558"/>
                  <a:pt x="594939" y="717320"/>
                </a:cubicBezTo>
                <a:cubicBezTo>
                  <a:pt x="597506" y="722083"/>
                  <a:pt x="595720" y="728036"/>
                  <a:pt x="590958" y="730603"/>
                </a:cubicBezTo>
                <a:cubicBezTo>
                  <a:pt x="489755" y="785074"/>
                  <a:pt x="367492" y="785074"/>
                  <a:pt x="266289" y="730603"/>
                </a:cubicBezTo>
                <a:cubicBezTo>
                  <a:pt x="261526" y="728035"/>
                  <a:pt x="259740" y="722082"/>
                  <a:pt x="262307" y="717320"/>
                </a:cubicBezTo>
                <a:cubicBezTo>
                  <a:pt x="264875" y="712558"/>
                  <a:pt x="270828" y="710772"/>
                  <a:pt x="275590" y="713339"/>
                </a:cubicBezTo>
                <a:cubicBezTo>
                  <a:pt x="370878" y="764610"/>
                  <a:pt x="486445" y="764684"/>
                  <a:pt x="581695" y="713339"/>
                </a:cubicBezTo>
                <a:close/>
                <a:moveTo>
                  <a:pt x="749049" y="386774"/>
                </a:moveTo>
                <a:cubicBezTo>
                  <a:pt x="748379" y="381417"/>
                  <a:pt x="752174" y="376543"/>
                  <a:pt x="757532" y="375836"/>
                </a:cubicBezTo>
                <a:cubicBezTo>
                  <a:pt x="762890" y="375166"/>
                  <a:pt x="767764" y="378961"/>
                  <a:pt x="768470" y="384319"/>
                </a:cubicBezTo>
                <a:cubicBezTo>
                  <a:pt x="772303" y="414382"/>
                  <a:pt x="772303" y="442957"/>
                  <a:pt x="768470" y="473021"/>
                </a:cubicBezTo>
                <a:cubicBezTo>
                  <a:pt x="767801" y="478378"/>
                  <a:pt x="762889" y="482174"/>
                  <a:pt x="757532" y="481504"/>
                </a:cubicBezTo>
                <a:cubicBezTo>
                  <a:pt x="752174" y="480834"/>
                  <a:pt x="748379" y="475923"/>
                  <a:pt x="749049" y="470565"/>
                </a:cubicBezTo>
                <a:cubicBezTo>
                  <a:pt x="752583" y="443032"/>
                  <a:pt x="752620" y="414346"/>
                  <a:pt x="749049" y="386775"/>
                </a:cubicBezTo>
                <a:close/>
                <a:moveTo>
                  <a:pt x="275513" y="144001"/>
                </a:moveTo>
                <a:cubicBezTo>
                  <a:pt x="270751" y="146568"/>
                  <a:pt x="264798" y="144783"/>
                  <a:pt x="262231" y="140020"/>
                </a:cubicBezTo>
                <a:cubicBezTo>
                  <a:pt x="259664" y="135257"/>
                  <a:pt x="261449" y="129304"/>
                  <a:pt x="266212" y="126737"/>
                </a:cubicBezTo>
                <a:cubicBezTo>
                  <a:pt x="367415" y="72266"/>
                  <a:pt x="489678" y="72266"/>
                  <a:pt x="590881" y="126737"/>
                </a:cubicBezTo>
                <a:cubicBezTo>
                  <a:pt x="595643" y="129305"/>
                  <a:pt x="597429" y="135258"/>
                  <a:pt x="594862" y="140020"/>
                </a:cubicBezTo>
                <a:cubicBezTo>
                  <a:pt x="592295" y="144782"/>
                  <a:pt x="586342" y="146568"/>
                  <a:pt x="581579" y="144001"/>
                </a:cubicBezTo>
                <a:cubicBezTo>
                  <a:pt x="486291" y="92730"/>
                  <a:pt x="370725" y="92656"/>
                  <a:pt x="275475" y="144001"/>
                </a:cubicBezTo>
                <a:close/>
                <a:moveTo>
                  <a:pt x="108121" y="470566"/>
                </a:moveTo>
                <a:cubicBezTo>
                  <a:pt x="108791" y="475924"/>
                  <a:pt x="104996" y="480798"/>
                  <a:pt x="99638" y="481504"/>
                </a:cubicBezTo>
                <a:cubicBezTo>
                  <a:pt x="94280" y="482174"/>
                  <a:pt x="89406" y="478379"/>
                  <a:pt x="88699" y="473021"/>
                </a:cubicBezTo>
                <a:cubicBezTo>
                  <a:pt x="84867" y="442958"/>
                  <a:pt x="84867" y="414383"/>
                  <a:pt x="88699" y="384320"/>
                </a:cubicBezTo>
                <a:cubicBezTo>
                  <a:pt x="89369" y="378962"/>
                  <a:pt x="94280" y="375167"/>
                  <a:pt x="99638" y="375836"/>
                </a:cubicBezTo>
                <a:cubicBezTo>
                  <a:pt x="104995" y="376506"/>
                  <a:pt x="108791" y="381417"/>
                  <a:pt x="108121" y="386775"/>
                </a:cubicBezTo>
                <a:cubicBezTo>
                  <a:pt x="104586" y="414308"/>
                  <a:pt x="104549" y="442994"/>
                  <a:pt x="108121" y="470565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3E9482A-47A7-19D8-57C9-43C298248C71}"/>
              </a:ext>
            </a:extLst>
          </p:cNvPr>
          <p:cNvSpPr/>
          <p:nvPr/>
        </p:nvSpPr>
        <p:spPr>
          <a:xfrm>
            <a:off x="550243" y="5644079"/>
            <a:ext cx="276522" cy="276509"/>
          </a:xfrm>
          <a:custGeom>
            <a:avLst/>
            <a:gdLst>
              <a:gd name="connsiteX0" fmla="*/ 580389 w 859857"/>
              <a:gd name="connsiteY0" fmla="*/ 463495 h 859817"/>
              <a:gd name="connsiteX1" fmla="*/ 594862 w 859857"/>
              <a:gd name="connsiteY1" fmla="*/ 446157 h 859817"/>
              <a:gd name="connsiteX2" fmla="*/ 594862 w 859857"/>
              <a:gd name="connsiteY2" fmla="*/ 413675 h 859817"/>
              <a:gd name="connsiteX3" fmla="*/ 580389 w 859857"/>
              <a:gd name="connsiteY3" fmla="*/ 396336 h 859817"/>
              <a:gd name="connsiteX4" fmla="*/ 561749 w 859857"/>
              <a:gd name="connsiteY4" fmla="*/ 392913 h 859817"/>
              <a:gd name="connsiteX5" fmla="*/ 549284 w 859857"/>
              <a:gd name="connsiteY5" fmla="*/ 362775 h 859817"/>
              <a:gd name="connsiteX6" fmla="*/ 560037 w 859857"/>
              <a:gd name="connsiteY6" fmla="*/ 347223 h 859817"/>
              <a:gd name="connsiteX7" fmla="*/ 558028 w 859857"/>
              <a:gd name="connsiteY7" fmla="*/ 324749 h 859817"/>
              <a:gd name="connsiteX8" fmla="*/ 535033 w 859857"/>
              <a:gd name="connsiteY8" fmla="*/ 301755 h 859817"/>
              <a:gd name="connsiteX9" fmla="*/ 512560 w 859857"/>
              <a:gd name="connsiteY9" fmla="*/ 299746 h 859817"/>
              <a:gd name="connsiteX10" fmla="*/ 496971 w 859857"/>
              <a:gd name="connsiteY10" fmla="*/ 310499 h 859817"/>
              <a:gd name="connsiteX11" fmla="*/ 466908 w 859857"/>
              <a:gd name="connsiteY11" fmla="*/ 298034 h 859817"/>
              <a:gd name="connsiteX12" fmla="*/ 466871 w 859857"/>
              <a:gd name="connsiteY12" fmla="*/ 297997 h 859817"/>
              <a:gd name="connsiteX13" fmla="*/ 463485 w 859857"/>
              <a:gd name="connsiteY13" fmla="*/ 279431 h 859817"/>
              <a:gd name="connsiteX14" fmla="*/ 446146 w 859857"/>
              <a:gd name="connsiteY14" fmla="*/ 264958 h 859817"/>
              <a:gd name="connsiteX15" fmla="*/ 413664 w 859857"/>
              <a:gd name="connsiteY15" fmla="*/ 264958 h 859817"/>
              <a:gd name="connsiteX16" fmla="*/ 396326 w 859857"/>
              <a:gd name="connsiteY16" fmla="*/ 279431 h 859817"/>
              <a:gd name="connsiteX17" fmla="*/ 392903 w 859857"/>
              <a:gd name="connsiteY17" fmla="*/ 298071 h 859817"/>
              <a:gd name="connsiteX18" fmla="*/ 362765 w 859857"/>
              <a:gd name="connsiteY18" fmla="*/ 310536 h 859817"/>
              <a:gd name="connsiteX19" fmla="*/ 347212 w 859857"/>
              <a:gd name="connsiteY19" fmla="*/ 299783 h 859817"/>
              <a:gd name="connsiteX20" fmla="*/ 324739 w 859857"/>
              <a:gd name="connsiteY20" fmla="*/ 301792 h 859817"/>
              <a:gd name="connsiteX21" fmla="*/ 301745 w 859857"/>
              <a:gd name="connsiteY21" fmla="*/ 324786 h 859817"/>
              <a:gd name="connsiteX22" fmla="*/ 299736 w 859857"/>
              <a:gd name="connsiteY22" fmla="*/ 347260 h 859817"/>
              <a:gd name="connsiteX23" fmla="*/ 310488 w 859857"/>
              <a:gd name="connsiteY23" fmla="*/ 362849 h 859817"/>
              <a:gd name="connsiteX24" fmla="*/ 297950 w 859857"/>
              <a:gd name="connsiteY24" fmla="*/ 392987 h 859817"/>
              <a:gd name="connsiteX25" fmla="*/ 279383 w 859857"/>
              <a:gd name="connsiteY25" fmla="*/ 396373 h 859817"/>
              <a:gd name="connsiteX26" fmla="*/ 264910 w 859857"/>
              <a:gd name="connsiteY26" fmla="*/ 413712 h 859817"/>
              <a:gd name="connsiteX27" fmla="*/ 264910 w 859857"/>
              <a:gd name="connsiteY27" fmla="*/ 446194 h 859817"/>
              <a:gd name="connsiteX28" fmla="*/ 279383 w 859857"/>
              <a:gd name="connsiteY28" fmla="*/ 463532 h 859817"/>
              <a:gd name="connsiteX29" fmla="*/ 298024 w 859857"/>
              <a:gd name="connsiteY29" fmla="*/ 466955 h 859817"/>
              <a:gd name="connsiteX30" fmla="*/ 310488 w 859857"/>
              <a:gd name="connsiteY30" fmla="*/ 497093 h 859817"/>
              <a:gd name="connsiteX31" fmla="*/ 299736 w 859857"/>
              <a:gd name="connsiteY31" fmla="*/ 512646 h 859817"/>
              <a:gd name="connsiteX32" fmla="*/ 301745 w 859857"/>
              <a:gd name="connsiteY32" fmla="*/ 535119 h 859817"/>
              <a:gd name="connsiteX33" fmla="*/ 324739 w 859857"/>
              <a:gd name="connsiteY33" fmla="*/ 558076 h 859817"/>
              <a:gd name="connsiteX34" fmla="*/ 347212 w 859857"/>
              <a:gd name="connsiteY34" fmla="*/ 560085 h 859817"/>
              <a:gd name="connsiteX35" fmla="*/ 362802 w 859857"/>
              <a:gd name="connsiteY35" fmla="*/ 549333 h 859817"/>
              <a:gd name="connsiteX36" fmla="*/ 392940 w 859857"/>
              <a:gd name="connsiteY36" fmla="*/ 561871 h 859817"/>
              <a:gd name="connsiteX37" fmla="*/ 396326 w 859857"/>
              <a:gd name="connsiteY37" fmla="*/ 580437 h 859817"/>
              <a:gd name="connsiteX38" fmla="*/ 413664 w 859857"/>
              <a:gd name="connsiteY38" fmla="*/ 594911 h 859817"/>
              <a:gd name="connsiteX39" fmla="*/ 446146 w 859857"/>
              <a:gd name="connsiteY39" fmla="*/ 594911 h 859817"/>
              <a:gd name="connsiteX40" fmla="*/ 463485 w 859857"/>
              <a:gd name="connsiteY40" fmla="*/ 580437 h 859817"/>
              <a:gd name="connsiteX41" fmla="*/ 466908 w 859857"/>
              <a:gd name="connsiteY41" fmla="*/ 561797 h 859817"/>
              <a:gd name="connsiteX42" fmla="*/ 497046 w 859857"/>
              <a:gd name="connsiteY42" fmla="*/ 549333 h 859817"/>
              <a:gd name="connsiteX43" fmla="*/ 512598 w 859857"/>
              <a:gd name="connsiteY43" fmla="*/ 560085 h 859817"/>
              <a:gd name="connsiteX44" fmla="*/ 535072 w 859857"/>
              <a:gd name="connsiteY44" fmla="*/ 558076 h 859817"/>
              <a:gd name="connsiteX45" fmla="*/ 558066 w 859857"/>
              <a:gd name="connsiteY45" fmla="*/ 535082 h 859817"/>
              <a:gd name="connsiteX46" fmla="*/ 560075 w 859857"/>
              <a:gd name="connsiteY46" fmla="*/ 512608 h 859817"/>
              <a:gd name="connsiteX47" fmla="*/ 549322 w 859857"/>
              <a:gd name="connsiteY47" fmla="*/ 497019 h 859817"/>
              <a:gd name="connsiteX48" fmla="*/ 561861 w 859857"/>
              <a:gd name="connsiteY48" fmla="*/ 466881 h 859817"/>
              <a:gd name="connsiteX49" fmla="*/ 544893 w 859857"/>
              <a:gd name="connsiteY49" fmla="*/ 462193 h 859817"/>
              <a:gd name="connsiteX50" fmla="*/ 534029 w 859857"/>
              <a:gd name="connsiteY50" fmla="*/ 488387 h 859817"/>
              <a:gd name="connsiteX51" fmla="*/ 534885 w 859857"/>
              <a:gd name="connsiteY51" fmla="*/ 507064 h 859817"/>
              <a:gd name="connsiteX52" fmla="*/ 545638 w 859857"/>
              <a:gd name="connsiteY52" fmla="*/ 522654 h 859817"/>
              <a:gd name="connsiteX53" fmla="*/ 522569 w 859857"/>
              <a:gd name="connsiteY53" fmla="*/ 545648 h 859817"/>
              <a:gd name="connsiteX54" fmla="*/ 507054 w 859857"/>
              <a:gd name="connsiteY54" fmla="*/ 534895 h 859817"/>
              <a:gd name="connsiteX55" fmla="*/ 488376 w 859857"/>
              <a:gd name="connsiteY55" fmla="*/ 534040 h 859817"/>
              <a:gd name="connsiteX56" fmla="*/ 462182 w 859857"/>
              <a:gd name="connsiteY56" fmla="*/ 544904 h 859817"/>
              <a:gd name="connsiteX57" fmla="*/ 449606 w 859857"/>
              <a:gd name="connsiteY57" fmla="*/ 558707 h 859817"/>
              <a:gd name="connsiteX58" fmla="*/ 446183 w 859857"/>
              <a:gd name="connsiteY58" fmla="*/ 577348 h 859817"/>
              <a:gd name="connsiteX59" fmla="*/ 413627 w 859857"/>
              <a:gd name="connsiteY59" fmla="*/ 577311 h 859817"/>
              <a:gd name="connsiteX60" fmla="*/ 410241 w 859857"/>
              <a:gd name="connsiteY60" fmla="*/ 558744 h 859817"/>
              <a:gd name="connsiteX61" fmla="*/ 397665 w 859857"/>
              <a:gd name="connsiteY61" fmla="*/ 544941 h 859817"/>
              <a:gd name="connsiteX62" fmla="*/ 371471 w 859857"/>
              <a:gd name="connsiteY62" fmla="*/ 534077 h 859817"/>
              <a:gd name="connsiteX63" fmla="*/ 362802 w 859857"/>
              <a:gd name="connsiteY63" fmla="*/ 531807 h 859817"/>
              <a:gd name="connsiteX64" fmla="*/ 352793 w 859857"/>
              <a:gd name="connsiteY64" fmla="*/ 534970 h 859817"/>
              <a:gd name="connsiteX65" fmla="*/ 337167 w 859857"/>
              <a:gd name="connsiteY65" fmla="*/ 545722 h 859817"/>
              <a:gd name="connsiteX66" fmla="*/ 314172 w 859857"/>
              <a:gd name="connsiteY66" fmla="*/ 522654 h 859817"/>
              <a:gd name="connsiteX67" fmla="*/ 324925 w 859857"/>
              <a:gd name="connsiteY67" fmla="*/ 507101 h 859817"/>
              <a:gd name="connsiteX68" fmla="*/ 325781 w 859857"/>
              <a:gd name="connsiteY68" fmla="*/ 488424 h 859817"/>
              <a:gd name="connsiteX69" fmla="*/ 314917 w 859857"/>
              <a:gd name="connsiteY69" fmla="*/ 462230 h 859817"/>
              <a:gd name="connsiteX70" fmla="*/ 301113 w 859857"/>
              <a:gd name="connsiteY70" fmla="*/ 449654 h 859817"/>
              <a:gd name="connsiteX71" fmla="*/ 282473 w 859857"/>
              <a:gd name="connsiteY71" fmla="*/ 446231 h 859817"/>
              <a:gd name="connsiteX72" fmla="*/ 282510 w 859857"/>
              <a:gd name="connsiteY72" fmla="*/ 413675 h 859817"/>
              <a:gd name="connsiteX73" fmla="*/ 301076 w 859857"/>
              <a:gd name="connsiteY73" fmla="*/ 410289 h 859817"/>
              <a:gd name="connsiteX74" fmla="*/ 314880 w 859857"/>
              <a:gd name="connsiteY74" fmla="*/ 397713 h 859817"/>
              <a:gd name="connsiteX75" fmla="*/ 325744 w 859857"/>
              <a:gd name="connsiteY75" fmla="*/ 371519 h 859817"/>
              <a:gd name="connsiteX76" fmla="*/ 324888 w 859857"/>
              <a:gd name="connsiteY76" fmla="*/ 352842 h 859817"/>
              <a:gd name="connsiteX77" fmla="*/ 314135 w 859857"/>
              <a:gd name="connsiteY77" fmla="*/ 337215 h 859817"/>
              <a:gd name="connsiteX78" fmla="*/ 337204 w 859857"/>
              <a:gd name="connsiteY78" fmla="*/ 314221 h 859817"/>
              <a:gd name="connsiteX79" fmla="*/ 352756 w 859857"/>
              <a:gd name="connsiteY79" fmla="*/ 324973 h 859817"/>
              <a:gd name="connsiteX80" fmla="*/ 371434 w 859857"/>
              <a:gd name="connsiteY80" fmla="*/ 325829 h 859817"/>
              <a:gd name="connsiteX81" fmla="*/ 397628 w 859857"/>
              <a:gd name="connsiteY81" fmla="*/ 314965 h 859817"/>
              <a:gd name="connsiteX82" fmla="*/ 410203 w 859857"/>
              <a:gd name="connsiteY82" fmla="*/ 301161 h 859817"/>
              <a:gd name="connsiteX83" fmla="*/ 413626 w 859857"/>
              <a:gd name="connsiteY83" fmla="*/ 282521 h 859817"/>
              <a:gd name="connsiteX84" fmla="*/ 446183 w 859857"/>
              <a:gd name="connsiteY84" fmla="*/ 282558 h 859817"/>
              <a:gd name="connsiteX85" fmla="*/ 449569 w 859857"/>
              <a:gd name="connsiteY85" fmla="*/ 301124 h 859817"/>
              <a:gd name="connsiteX86" fmla="*/ 462145 w 859857"/>
              <a:gd name="connsiteY86" fmla="*/ 314928 h 859817"/>
              <a:gd name="connsiteX87" fmla="*/ 488338 w 859857"/>
              <a:gd name="connsiteY87" fmla="*/ 325792 h 859817"/>
              <a:gd name="connsiteX88" fmla="*/ 507016 w 859857"/>
              <a:gd name="connsiteY88" fmla="*/ 324936 h 859817"/>
              <a:gd name="connsiteX89" fmla="*/ 522643 w 859857"/>
              <a:gd name="connsiteY89" fmla="*/ 314183 h 859817"/>
              <a:gd name="connsiteX90" fmla="*/ 545637 w 859857"/>
              <a:gd name="connsiteY90" fmla="*/ 337252 h 859817"/>
              <a:gd name="connsiteX91" fmla="*/ 534884 w 859857"/>
              <a:gd name="connsiteY91" fmla="*/ 352804 h 859817"/>
              <a:gd name="connsiteX92" fmla="*/ 534028 w 859857"/>
              <a:gd name="connsiteY92" fmla="*/ 371482 h 859817"/>
              <a:gd name="connsiteX93" fmla="*/ 544893 w 859857"/>
              <a:gd name="connsiteY93" fmla="*/ 397676 h 859817"/>
              <a:gd name="connsiteX94" fmla="*/ 558696 w 859857"/>
              <a:gd name="connsiteY94" fmla="*/ 410252 h 859817"/>
              <a:gd name="connsiteX95" fmla="*/ 577337 w 859857"/>
              <a:gd name="connsiteY95" fmla="*/ 413675 h 859817"/>
              <a:gd name="connsiteX96" fmla="*/ 577299 w 859857"/>
              <a:gd name="connsiteY96" fmla="*/ 446231 h 859817"/>
              <a:gd name="connsiteX97" fmla="*/ 558733 w 859857"/>
              <a:gd name="connsiteY97" fmla="*/ 449617 h 859817"/>
              <a:gd name="connsiteX98" fmla="*/ 544893 w 859857"/>
              <a:gd name="connsiteY98" fmla="*/ 462193 h 859817"/>
              <a:gd name="connsiteX99" fmla="*/ 429926 w 859857"/>
              <a:gd name="connsiteY99" fmla="*/ 353284 h 859817"/>
              <a:gd name="connsiteX100" fmla="*/ 353317 w 859857"/>
              <a:gd name="connsiteY100" fmla="*/ 429894 h 859817"/>
              <a:gd name="connsiteX101" fmla="*/ 429926 w 859857"/>
              <a:gd name="connsiteY101" fmla="*/ 506503 h 859817"/>
              <a:gd name="connsiteX102" fmla="*/ 506536 w 859857"/>
              <a:gd name="connsiteY102" fmla="*/ 429894 h 859817"/>
              <a:gd name="connsiteX103" fmla="*/ 429926 w 859857"/>
              <a:gd name="connsiteY103" fmla="*/ 353284 h 859817"/>
              <a:gd name="connsiteX104" fmla="*/ 429926 w 859857"/>
              <a:gd name="connsiteY104" fmla="*/ 488977 h 859817"/>
              <a:gd name="connsiteX105" fmla="*/ 370842 w 859857"/>
              <a:gd name="connsiteY105" fmla="*/ 429893 h 859817"/>
              <a:gd name="connsiteX106" fmla="*/ 429926 w 859857"/>
              <a:gd name="connsiteY106" fmla="*/ 370808 h 859817"/>
              <a:gd name="connsiteX107" fmla="*/ 489011 w 859857"/>
              <a:gd name="connsiteY107" fmla="*/ 429893 h 859817"/>
              <a:gd name="connsiteX108" fmla="*/ 429926 w 859857"/>
              <a:gd name="connsiteY108" fmla="*/ 488977 h 859817"/>
              <a:gd name="connsiteX109" fmla="*/ 847169 w 859857"/>
              <a:gd name="connsiteY109" fmla="*/ 98338 h 859817"/>
              <a:gd name="connsiteX110" fmla="*/ 834593 w 859857"/>
              <a:gd name="connsiteY110" fmla="*/ 96068 h 859817"/>
              <a:gd name="connsiteX111" fmla="*/ 826110 w 859857"/>
              <a:gd name="connsiteY111" fmla="*/ 75568 h 859817"/>
              <a:gd name="connsiteX112" fmla="*/ 833403 w 859857"/>
              <a:gd name="connsiteY112" fmla="*/ 65038 h 859817"/>
              <a:gd name="connsiteX113" fmla="*/ 831654 w 859857"/>
              <a:gd name="connsiteY113" fmla="*/ 45392 h 859817"/>
              <a:gd name="connsiteX114" fmla="*/ 814464 w 859857"/>
              <a:gd name="connsiteY114" fmla="*/ 28203 h 859817"/>
              <a:gd name="connsiteX115" fmla="*/ 794819 w 859857"/>
              <a:gd name="connsiteY115" fmla="*/ 26417 h 859817"/>
              <a:gd name="connsiteX116" fmla="*/ 784289 w 859857"/>
              <a:gd name="connsiteY116" fmla="*/ 33709 h 859817"/>
              <a:gd name="connsiteX117" fmla="*/ 763788 w 859857"/>
              <a:gd name="connsiteY117" fmla="*/ 25226 h 859817"/>
              <a:gd name="connsiteX118" fmla="*/ 761519 w 859857"/>
              <a:gd name="connsiteY118" fmla="*/ 12650 h 859817"/>
              <a:gd name="connsiteX119" fmla="*/ 746376 w 859857"/>
              <a:gd name="connsiteY119" fmla="*/ 0 h 859817"/>
              <a:gd name="connsiteX120" fmla="*/ 722042 w 859857"/>
              <a:gd name="connsiteY120" fmla="*/ 37 h 859817"/>
              <a:gd name="connsiteX121" fmla="*/ 706899 w 859857"/>
              <a:gd name="connsiteY121" fmla="*/ 12687 h 859817"/>
              <a:gd name="connsiteX122" fmla="*/ 704630 w 859857"/>
              <a:gd name="connsiteY122" fmla="*/ 25263 h 859817"/>
              <a:gd name="connsiteX123" fmla="*/ 684129 w 859857"/>
              <a:gd name="connsiteY123" fmla="*/ 33746 h 859817"/>
              <a:gd name="connsiteX124" fmla="*/ 673599 w 859857"/>
              <a:gd name="connsiteY124" fmla="*/ 26454 h 859817"/>
              <a:gd name="connsiteX125" fmla="*/ 653954 w 859857"/>
              <a:gd name="connsiteY125" fmla="*/ 28203 h 859817"/>
              <a:gd name="connsiteX126" fmla="*/ 636764 w 859857"/>
              <a:gd name="connsiteY126" fmla="*/ 45392 h 859817"/>
              <a:gd name="connsiteX127" fmla="*/ 634978 w 859857"/>
              <a:gd name="connsiteY127" fmla="*/ 65038 h 859817"/>
              <a:gd name="connsiteX128" fmla="*/ 642271 w 859857"/>
              <a:gd name="connsiteY128" fmla="*/ 75530 h 859817"/>
              <a:gd name="connsiteX129" fmla="*/ 633788 w 859857"/>
              <a:gd name="connsiteY129" fmla="*/ 96031 h 859817"/>
              <a:gd name="connsiteX130" fmla="*/ 621212 w 859857"/>
              <a:gd name="connsiteY130" fmla="*/ 98301 h 859817"/>
              <a:gd name="connsiteX131" fmla="*/ 608562 w 859857"/>
              <a:gd name="connsiteY131" fmla="*/ 113443 h 859817"/>
              <a:gd name="connsiteX132" fmla="*/ 608562 w 859857"/>
              <a:gd name="connsiteY132" fmla="*/ 137740 h 859817"/>
              <a:gd name="connsiteX133" fmla="*/ 621212 w 859857"/>
              <a:gd name="connsiteY133" fmla="*/ 152883 h 859817"/>
              <a:gd name="connsiteX134" fmla="*/ 633788 w 859857"/>
              <a:gd name="connsiteY134" fmla="*/ 155152 h 859817"/>
              <a:gd name="connsiteX135" fmla="*/ 642308 w 859857"/>
              <a:gd name="connsiteY135" fmla="*/ 175653 h 859817"/>
              <a:gd name="connsiteX136" fmla="*/ 635016 w 859857"/>
              <a:gd name="connsiteY136" fmla="*/ 186183 h 859817"/>
              <a:gd name="connsiteX137" fmla="*/ 636764 w 859857"/>
              <a:gd name="connsiteY137" fmla="*/ 205828 h 859817"/>
              <a:gd name="connsiteX138" fmla="*/ 653954 w 859857"/>
              <a:gd name="connsiteY138" fmla="*/ 223018 h 859817"/>
              <a:gd name="connsiteX139" fmla="*/ 673599 w 859857"/>
              <a:gd name="connsiteY139" fmla="*/ 224767 h 859817"/>
              <a:gd name="connsiteX140" fmla="*/ 684092 w 859857"/>
              <a:gd name="connsiteY140" fmla="*/ 217474 h 859817"/>
              <a:gd name="connsiteX141" fmla="*/ 704593 w 859857"/>
              <a:gd name="connsiteY141" fmla="*/ 225957 h 859817"/>
              <a:gd name="connsiteX142" fmla="*/ 706862 w 859857"/>
              <a:gd name="connsiteY142" fmla="*/ 238533 h 859817"/>
              <a:gd name="connsiteX143" fmla="*/ 722005 w 859857"/>
              <a:gd name="connsiteY143" fmla="*/ 251183 h 859817"/>
              <a:gd name="connsiteX144" fmla="*/ 746302 w 859857"/>
              <a:gd name="connsiteY144" fmla="*/ 251183 h 859817"/>
              <a:gd name="connsiteX145" fmla="*/ 761444 w 859857"/>
              <a:gd name="connsiteY145" fmla="*/ 238533 h 859817"/>
              <a:gd name="connsiteX146" fmla="*/ 763714 w 859857"/>
              <a:gd name="connsiteY146" fmla="*/ 225957 h 859817"/>
              <a:gd name="connsiteX147" fmla="*/ 784215 w 859857"/>
              <a:gd name="connsiteY147" fmla="*/ 217474 h 859817"/>
              <a:gd name="connsiteX148" fmla="*/ 794744 w 859857"/>
              <a:gd name="connsiteY148" fmla="*/ 224767 h 859817"/>
              <a:gd name="connsiteX149" fmla="*/ 814390 w 859857"/>
              <a:gd name="connsiteY149" fmla="*/ 223018 h 859817"/>
              <a:gd name="connsiteX150" fmla="*/ 831580 w 859857"/>
              <a:gd name="connsiteY150" fmla="*/ 205828 h 859817"/>
              <a:gd name="connsiteX151" fmla="*/ 833366 w 859857"/>
              <a:gd name="connsiteY151" fmla="*/ 186183 h 859817"/>
              <a:gd name="connsiteX152" fmla="*/ 826073 w 859857"/>
              <a:gd name="connsiteY152" fmla="*/ 175690 h 859817"/>
              <a:gd name="connsiteX153" fmla="*/ 834556 w 859857"/>
              <a:gd name="connsiteY153" fmla="*/ 155189 h 859817"/>
              <a:gd name="connsiteX154" fmla="*/ 847132 w 859857"/>
              <a:gd name="connsiteY154" fmla="*/ 152920 h 859817"/>
              <a:gd name="connsiteX155" fmla="*/ 859782 w 859857"/>
              <a:gd name="connsiteY155" fmla="*/ 137777 h 859817"/>
              <a:gd name="connsiteX156" fmla="*/ 859782 w 859857"/>
              <a:gd name="connsiteY156" fmla="*/ 113481 h 859817"/>
              <a:gd name="connsiteX157" fmla="*/ 847169 w 859857"/>
              <a:gd name="connsiteY157" fmla="*/ 98338 h 859817"/>
              <a:gd name="connsiteX158" fmla="*/ 842258 w 859857"/>
              <a:gd name="connsiteY158" fmla="*/ 135991 h 859817"/>
              <a:gd name="connsiteX159" fmla="*/ 830129 w 859857"/>
              <a:gd name="connsiteY159" fmla="*/ 138186 h 859817"/>
              <a:gd name="connsiteX160" fmla="*/ 818074 w 859857"/>
              <a:gd name="connsiteY160" fmla="*/ 149162 h 859817"/>
              <a:gd name="connsiteX161" fmla="*/ 810149 w 859857"/>
              <a:gd name="connsiteY161" fmla="*/ 168286 h 859817"/>
              <a:gd name="connsiteX162" fmla="*/ 810893 w 859857"/>
              <a:gd name="connsiteY162" fmla="*/ 184583 h 859817"/>
              <a:gd name="connsiteX163" fmla="*/ 817925 w 859857"/>
              <a:gd name="connsiteY163" fmla="*/ 194703 h 859817"/>
              <a:gd name="connsiteX164" fmla="*/ 803302 w 859857"/>
              <a:gd name="connsiteY164" fmla="*/ 209326 h 859817"/>
              <a:gd name="connsiteX165" fmla="*/ 793182 w 859857"/>
              <a:gd name="connsiteY165" fmla="*/ 202294 h 859817"/>
              <a:gd name="connsiteX166" fmla="*/ 776886 w 859857"/>
              <a:gd name="connsiteY166" fmla="*/ 201549 h 859817"/>
              <a:gd name="connsiteX167" fmla="*/ 757761 w 859857"/>
              <a:gd name="connsiteY167" fmla="*/ 209475 h 859817"/>
              <a:gd name="connsiteX168" fmla="*/ 746786 w 859857"/>
              <a:gd name="connsiteY168" fmla="*/ 221529 h 859817"/>
              <a:gd name="connsiteX169" fmla="*/ 744590 w 859857"/>
              <a:gd name="connsiteY169" fmla="*/ 233658 h 859817"/>
              <a:gd name="connsiteX170" fmla="*/ 723903 w 859857"/>
              <a:gd name="connsiteY170" fmla="*/ 233658 h 859817"/>
              <a:gd name="connsiteX171" fmla="*/ 721708 w 859857"/>
              <a:gd name="connsiteY171" fmla="*/ 221529 h 859817"/>
              <a:gd name="connsiteX172" fmla="*/ 710732 w 859857"/>
              <a:gd name="connsiteY172" fmla="*/ 209475 h 859817"/>
              <a:gd name="connsiteX173" fmla="*/ 691608 w 859857"/>
              <a:gd name="connsiteY173" fmla="*/ 201549 h 859817"/>
              <a:gd name="connsiteX174" fmla="*/ 675312 w 859857"/>
              <a:gd name="connsiteY174" fmla="*/ 202294 h 859817"/>
              <a:gd name="connsiteX175" fmla="*/ 665191 w 859857"/>
              <a:gd name="connsiteY175" fmla="*/ 209326 h 859817"/>
              <a:gd name="connsiteX176" fmla="*/ 650568 w 859857"/>
              <a:gd name="connsiteY176" fmla="*/ 194703 h 859817"/>
              <a:gd name="connsiteX177" fmla="*/ 657601 w 859857"/>
              <a:gd name="connsiteY177" fmla="*/ 184583 h 859817"/>
              <a:gd name="connsiteX178" fmla="*/ 658345 w 859857"/>
              <a:gd name="connsiteY178" fmla="*/ 168286 h 859817"/>
              <a:gd name="connsiteX179" fmla="*/ 650420 w 859857"/>
              <a:gd name="connsiteY179" fmla="*/ 149199 h 859817"/>
              <a:gd name="connsiteX180" fmla="*/ 638365 w 859857"/>
              <a:gd name="connsiteY180" fmla="*/ 138223 h 859817"/>
              <a:gd name="connsiteX181" fmla="*/ 626236 w 859857"/>
              <a:gd name="connsiteY181" fmla="*/ 136028 h 859817"/>
              <a:gd name="connsiteX182" fmla="*/ 626236 w 859857"/>
              <a:gd name="connsiteY182" fmla="*/ 115341 h 859817"/>
              <a:gd name="connsiteX183" fmla="*/ 638365 w 859857"/>
              <a:gd name="connsiteY183" fmla="*/ 113146 h 859817"/>
              <a:gd name="connsiteX184" fmla="*/ 650420 w 859857"/>
              <a:gd name="connsiteY184" fmla="*/ 102170 h 859817"/>
              <a:gd name="connsiteX185" fmla="*/ 658345 w 859857"/>
              <a:gd name="connsiteY185" fmla="*/ 83046 h 859817"/>
              <a:gd name="connsiteX186" fmla="*/ 657601 w 859857"/>
              <a:gd name="connsiteY186" fmla="*/ 66749 h 859817"/>
              <a:gd name="connsiteX187" fmla="*/ 650568 w 859857"/>
              <a:gd name="connsiteY187" fmla="*/ 56629 h 859817"/>
              <a:gd name="connsiteX188" fmla="*/ 665191 w 859857"/>
              <a:gd name="connsiteY188" fmla="*/ 42006 h 859817"/>
              <a:gd name="connsiteX189" fmla="*/ 675312 w 859857"/>
              <a:gd name="connsiteY189" fmla="*/ 49038 h 859817"/>
              <a:gd name="connsiteX190" fmla="*/ 691608 w 859857"/>
              <a:gd name="connsiteY190" fmla="*/ 49783 h 859817"/>
              <a:gd name="connsiteX191" fmla="*/ 710732 w 859857"/>
              <a:gd name="connsiteY191" fmla="*/ 41857 h 859817"/>
              <a:gd name="connsiteX192" fmla="*/ 721708 w 859857"/>
              <a:gd name="connsiteY192" fmla="*/ 29803 h 859817"/>
              <a:gd name="connsiteX193" fmla="*/ 723903 w 859857"/>
              <a:gd name="connsiteY193" fmla="*/ 17673 h 859817"/>
              <a:gd name="connsiteX194" fmla="*/ 744590 w 859857"/>
              <a:gd name="connsiteY194" fmla="*/ 17673 h 859817"/>
              <a:gd name="connsiteX195" fmla="*/ 746786 w 859857"/>
              <a:gd name="connsiteY195" fmla="*/ 29803 h 859817"/>
              <a:gd name="connsiteX196" fmla="*/ 757761 w 859857"/>
              <a:gd name="connsiteY196" fmla="*/ 41857 h 859817"/>
              <a:gd name="connsiteX197" fmla="*/ 776886 w 859857"/>
              <a:gd name="connsiteY197" fmla="*/ 49783 h 859817"/>
              <a:gd name="connsiteX198" fmla="*/ 793182 w 859857"/>
              <a:gd name="connsiteY198" fmla="*/ 49038 h 859817"/>
              <a:gd name="connsiteX199" fmla="*/ 803302 w 859857"/>
              <a:gd name="connsiteY199" fmla="*/ 42006 h 859817"/>
              <a:gd name="connsiteX200" fmla="*/ 817925 w 859857"/>
              <a:gd name="connsiteY200" fmla="*/ 56629 h 859817"/>
              <a:gd name="connsiteX201" fmla="*/ 810893 w 859857"/>
              <a:gd name="connsiteY201" fmla="*/ 66749 h 859817"/>
              <a:gd name="connsiteX202" fmla="*/ 810149 w 859857"/>
              <a:gd name="connsiteY202" fmla="*/ 83046 h 859817"/>
              <a:gd name="connsiteX203" fmla="*/ 818074 w 859857"/>
              <a:gd name="connsiteY203" fmla="*/ 102170 h 859817"/>
              <a:gd name="connsiteX204" fmla="*/ 830129 w 859857"/>
              <a:gd name="connsiteY204" fmla="*/ 113146 h 859817"/>
              <a:gd name="connsiteX205" fmla="*/ 842258 w 859857"/>
              <a:gd name="connsiteY205" fmla="*/ 115341 h 859817"/>
              <a:gd name="connsiteX206" fmla="*/ 734168 w 859857"/>
              <a:gd name="connsiteY206" fmla="*/ 72962 h 859817"/>
              <a:gd name="connsiteX207" fmla="*/ 681483 w 859857"/>
              <a:gd name="connsiteY207" fmla="*/ 125647 h 859817"/>
              <a:gd name="connsiteX208" fmla="*/ 734168 w 859857"/>
              <a:gd name="connsiteY208" fmla="*/ 178332 h 859817"/>
              <a:gd name="connsiteX209" fmla="*/ 786853 w 859857"/>
              <a:gd name="connsiteY209" fmla="*/ 125647 h 859817"/>
              <a:gd name="connsiteX210" fmla="*/ 734168 w 859857"/>
              <a:gd name="connsiteY210" fmla="*/ 72962 h 859817"/>
              <a:gd name="connsiteX211" fmla="*/ 734168 w 859857"/>
              <a:gd name="connsiteY211" fmla="*/ 160771 h 859817"/>
              <a:gd name="connsiteX212" fmla="*/ 699045 w 859857"/>
              <a:gd name="connsiteY212" fmla="*/ 125648 h 859817"/>
              <a:gd name="connsiteX213" fmla="*/ 734168 w 859857"/>
              <a:gd name="connsiteY213" fmla="*/ 90524 h 859817"/>
              <a:gd name="connsiteX214" fmla="*/ 769292 w 859857"/>
              <a:gd name="connsiteY214" fmla="*/ 125648 h 859817"/>
              <a:gd name="connsiteX215" fmla="*/ 734168 w 859857"/>
              <a:gd name="connsiteY215" fmla="*/ 160771 h 859817"/>
              <a:gd name="connsiteX216" fmla="*/ 12687 w 859857"/>
              <a:gd name="connsiteY216" fmla="*/ 152921 h 859817"/>
              <a:gd name="connsiteX217" fmla="*/ 25263 w 859857"/>
              <a:gd name="connsiteY217" fmla="*/ 155190 h 859817"/>
              <a:gd name="connsiteX218" fmla="*/ 33746 w 859857"/>
              <a:gd name="connsiteY218" fmla="*/ 175691 h 859817"/>
              <a:gd name="connsiteX219" fmla="*/ 26454 w 859857"/>
              <a:gd name="connsiteY219" fmla="*/ 186221 h 859817"/>
              <a:gd name="connsiteX220" fmla="*/ 28203 w 859857"/>
              <a:gd name="connsiteY220" fmla="*/ 205866 h 859817"/>
              <a:gd name="connsiteX221" fmla="*/ 45392 w 859857"/>
              <a:gd name="connsiteY221" fmla="*/ 223056 h 859817"/>
              <a:gd name="connsiteX222" fmla="*/ 65038 w 859857"/>
              <a:gd name="connsiteY222" fmla="*/ 224805 h 859817"/>
              <a:gd name="connsiteX223" fmla="*/ 75568 w 859857"/>
              <a:gd name="connsiteY223" fmla="*/ 217512 h 859817"/>
              <a:gd name="connsiteX224" fmla="*/ 96068 w 859857"/>
              <a:gd name="connsiteY224" fmla="*/ 225995 h 859817"/>
              <a:gd name="connsiteX225" fmla="*/ 98338 w 859857"/>
              <a:gd name="connsiteY225" fmla="*/ 238571 h 859817"/>
              <a:gd name="connsiteX226" fmla="*/ 113481 w 859857"/>
              <a:gd name="connsiteY226" fmla="*/ 251221 h 859817"/>
              <a:gd name="connsiteX227" fmla="*/ 137777 w 859857"/>
              <a:gd name="connsiteY227" fmla="*/ 251221 h 859817"/>
              <a:gd name="connsiteX228" fmla="*/ 152920 w 859857"/>
              <a:gd name="connsiteY228" fmla="*/ 238571 h 859817"/>
              <a:gd name="connsiteX229" fmla="*/ 155189 w 859857"/>
              <a:gd name="connsiteY229" fmla="*/ 225995 h 859817"/>
              <a:gd name="connsiteX230" fmla="*/ 175690 w 859857"/>
              <a:gd name="connsiteY230" fmla="*/ 217512 h 859817"/>
              <a:gd name="connsiteX231" fmla="*/ 186220 w 859857"/>
              <a:gd name="connsiteY231" fmla="*/ 224805 h 859817"/>
              <a:gd name="connsiteX232" fmla="*/ 205865 w 859857"/>
              <a:gd name="connsiteY232" fmla="*/ 223056 h 859817"/>
              <a:gd name="connsiteX233" fmla="*/ 223055 w 859857"/>
              <a:gd name="connsiteY233" fmla="*/ 205866 h 859817"/>
              <a:gd name="connsiteX234" fmla="*/ 224804 w 859857"/>
              <a:gd name="connsiteY234" fmla="*/ 186221 h 859817"/>
              <a:gd name="connsiteX235" fmla="*/ 217511 w 859857"/>
              <a:gd name="connsiteY235" fmla="*/ 175728 h 859817"/>
              <a:gd name="connsiteX236" fmla="*/ 225994 w 859857"/>
              <a:gd name="connsiteY236" fmla="*/ 155227 h 859817"/>
              <a:gd name="connsiteX237" fmla="*/ 238570 w 859857"/>
              <a:gd name="connsiteY237" fmla="*/ 152958 h 859817"/>
              <a:gd name="connsiteX238" fmla="*/ 251220 w 859857"/>
              <a:gd name="connsiteY238" fmla="*/ 137815 h 859817"/>
              <a:gd name="connsiteX239" fmla="*/ 251220 w 859857"/>
              <a:gd name="connsiteY239" fmla="*/ 113519 h 859817"/>
              <a:gd name="connsiteX240" fmla="*/ 238570 w 859857"/>
              <a:gd name="connsiteY240" fmla="*/ 98376 h 859817"/>
              <a:gd name="connsiteX241" fmla="*/ 225994 w 859857"/>
              <a:gd name="connsiteY241" fmla="*/ 96106 h 859817"/>
              <a:gd name="connsiteX242" fmla="*/ 217511 w 859857"/>
              <a:gd name="connsiteY242" fmla="*/ 75605 h 859817"/>
              <a:gd name="connsiteX243" fmla="*/ 224804 w 859857"/>
              <a:gd name="connsiteY243" fmla="*/ 65076 h 859817"/>
              <a:gd name="connsiteX244" fmla="*/ 223055 w 859857"/>
              <a:gd name="connsiteY244" fmla="*/ 45430 h 859817"/>
              <a:gd name="connsiteX245" fmla="*/ 205865 w 859857"/>
              <a:gd name="connsiteY245" fmla="*/ 28240 h 859817"/>
              <a:gd name="connsiteX246" fmla="*/ 186220 w 859857"/>
              <a:gd name="connsiteY246" fmla="*/ 26455 h 859817"/>
              <a:gd name="connsiteX247" fmla="*/ 175690 w 859857"/>
              <a:gd name="connsiteY247" fmla="*/ 33747 h 859817"/>
              <a:gd name="connsiteX248" fmla="*/ 155189 w 859857"/>
              <a:gd name="connsiteY248" fmla="*/ 25264 h 859817"/>
              <a:gd name="connsiteX249" fmla="*/ 152920 w 859857"/>
              <a:gd name="connsiteY249" fmla="*/ 12688 h 859817"/>
              <a:gd name="connsiteX250" fmla="*/ 137777 w 859857"/>
              <a:gd name="connsiteY250" fmla="*/ 38 h 859817"/>
              <a:gd name="connsiteX251" fmla="*/ 113481 w 859857"/>
              <a:gd name="connsiteY251" fmla="*/ 38 h 859817"/>
              <a:gd name="connsiteX252" fmla="*/ 98338 w 859857"/>
              <a:gd name="connsiteY252" fmla="*/ 12688 h 859817"/>
              <a:gd name="connsiteX253" fmla="*/ 96068 w 859857"/>
              <a:gd name="connsiteY253" fmla="*/ 25264 h 859817"/>
              <a:gd name="connsiteX254" fmla="*/ 75568 w 859857"/>
              <a:gd name="connsiteY254" fmla="*/ 33747 h 859817"/>
              <a:gd name="connsiteX255" fmla="*/ 65038 w 859857"/>
              <a:gd name="connsiteY255" fmla="*/ 26455 h 859817"/>
              <a:gd name="connsiteX256" fmla="*/ 45392 w 859857"/>
              <a:gd name="connsiteY256" fmla="*/ 28203 h 859817"/>
              <a:gd name="connsiteX257" fmla="*/ 28203 w 859857"/>
              <a:gd name="connsiteY257" fmla="*/ 45393 h 859817"/>
              <a:gd name="connsiteX258" fmla="*/ 26417 w 859857"/>
              <a:gd name="connsiteY258" fmla="*/ 65038 h 859817"/>
              <a:gd name="connsiteX259" fmla="*/ 33709 w 859857"/>
              <a:gd name="connsiteY259" fmla="*/ 75531 h 859817"/>
              <a:gd name="connsiteX260" fmla="*/ 25226 w 859857"/>
              <a:gd name="connsiteY260" fmla="*/ 96032 h 859817"/>
              <a:gd name="connsiteX261" fmla="*/ 12650 w 859857"/>
              <a:gd name="connsiteY261" fmla="*/ 98301 h 859817"/>
              <a:gd name="connsiteX262" fmla="*/ 0 w 859857"/>
              <a:gd name="connsiteY262" fmla="*/ 113444 h 859817"/>
              <a:gd name="connsiteX263" fmla="*/ 0 w 859857"/>
              <a:gd name="connsiteY263" fmla="*/ 137741 h 859817"/>
              <a:gd name="connsiteX264" fmla="*/ 12687 w 859857"/>
              <a:gd name="connsiteY264" fmla="*/ 152922 h 859817"/>
              <a:gd name="connsiteX265" fmla="*/ 17562 w 859857"/>
              <a:gd name="connsiteY265" fmla="*/ 115305 h 859817"/>
              <a:gd name="connsiteX266" fmla="*/ 29691 w 859857"/>
              <a:gd name="connsiteY266" fmla="*/ 113109 h 859817"/>
              <a:gd name="connsiteX267" fmla="*/ 41746 w 859857"/>
              <a:gd name="connsiteY267" fmla="*/ 102134 h 859817"/>
              <a:gd name="connsiteX268" fmla="*/ 49671 w 859857"/>
              <a:gd name="connsiteY268" fmla="*/ 83009 h 859817"/>
              <a:gd name="connsiteX269" fmla="*/ 48926 w 859857"/>
              <a:gd name="connsiteY269" fmla="*/ 66713 h 859817"/>
              <a:gd name="connsiteX270" fmla="*/ 41894 w 859857"/>
              <a:gd name="connsiteY270" fmla="*/ 56556 h 859817"/>
              <a:gd name="connsiteX271" fmla="*/ 56517 w 859857"/>
              <a:gd name="connsiteY271" fmla="*/ 41933 h 859817"/>
              <a:gd name="connsiteX272" fmla="*/ 66637 w 859857"/>
              <a:gd name="connsiteY272" fmla="*/ 48965 h 859817"/>
              <a:gd name="connsiteX273" fmla="*/ 82934 w 859857"/>
              <a:gd name="connsiteY273" fmla="*/ 49709 h 859817"/>
              <a:gd name="connsiteX274" fmla="*/ 102058 w 859857"/>
              <a:gd name="connsiteY274" fmla="*/ 41784 h 859817"/>
              <a:gd name="connsiteX275" fmla="*/ 113034 w 859857"/>
              <a:gd name="connsiteY275" fmla="*/ 29729 h 859817"/>
              <a:gd name="connsiteX276" fmla="*/ 115229 w 859857"/>
              <a:gd name="connsiteY276" fmla="*/ 17600 h 859817"/>
              <a:gd name="connsiteX277" fmla="*/ 135916 w 859857"/>
              <a:gd name="connsiteY277" fmla="*/ 17600 h 859817"/>
              <a:gd name="connsiteX278" fmla="*/ 138111 w 859857"/>
              <a:gd name="connsiteY278" fmla="*/ 29729 h 859817"/>
              <a:gd name="connsiteX279" fmla="*/ 149087 w 859857"/>
              <a:gd name="connsiteY279" fmla="*/ 41784 h 859817"/>
              <a:gd name="connsiteX280" fmla="*/ 168211 w 859857"/>
              <a:gd name="connsiteY280" fmla="*/ 49709 h 859817"/>
              <a:gd name="connsiteX281" fmla="*/ 184508 w 859857"/>
              <a:gd name="connsiteY281" fmla="*/ 48965 h 859817"/>
              <a:gd name="connsiteX282" fmla="*/ 194628 w 859857"/>
              <a:gd name="connsiteY282" fmla="*/ 41933 h 859817"/>
              <a:gd name="connsiteX283" fmla="*/ 209251 w 859857"/>
              <a:gd name="connsiteY283" fmla="*/ 56556 h 859817"/>
              <a:gd name="connsiteX284" fmla="*/ 202219 w 859857"/>
              <a:gd name="connsiteY284" fmla="*/ 66676 h 859817"/>
              <a:gd name="connsiteX285" fmla="*/ 201475 w 859857"/>
              <a:gd name="connsiteY285" fmla="*/ 82972 h 859817"/>
              <a:gd name="connsiteX286" fmla="*/ 209400 w 859857"/>
              <a:gd name="connsiteY286" fmla="*/ 102096 h 859817"/>
              <a:gd name="connsiteX287" fmla="*/ 221455 w 859857"/>
              <a:gd name="connsiteY287" fmla="*/ 113072 h 859817"/>
              <a:gd name="connsiteX288" fmla="*/ 233584 w 859857"/>
              <a:gd name="connsiteY288" fmla="*/ 115267 h 859817"/>
              <a:gd name="connsiteX289" fmla="*/ 233584 w 859857"/>
              <a:gd name="connsiteY289" fmla="*/ 135955 h 859817"/>
              <a:gd name="connsiteX290" fmla="*/ 221455 w 859857"/>
              <a:gd name="connsiteY290" fmla="*/ 138150 h 859817"/>
              <a:gd name="connsiteX291" fmla="*/ 209400 w 859857"/>
              <a:gd name="connsiteY291" fmla="*/ 149126 h 859817"/>
              <a:gd name="connsiteX292" fmla="*/ 201475 w 859857"/>
              <a:gd name="connsiteY292" fmla="*/ 168250 h 859817"/>
              <a:gd name="connsiteX293" fmla="*/ 202219 w 859857"/>
              <a:gd name="connsiteY293" fmla="*/ 184546 h 859817"/>
              <a:gd name="connsiteX294" fmla="*/ 209251 w 859857"/>
              <a:gd name="connsiteY294" fmla="*/ 194667 h 859817"/>
              <a:gd name="connsiteX295" fmla="*/ 194628 w 859857"/>
              <a:gd name="connsiteY295" fmla="*/ 209289 h 859817"/>
              <a:gd name="connsiteX296" fmla="*/ 184508 w 859857"/>
              <a:gd name="connsiteY296" fmla="*/ 202257 h 859817"/>
              <a:gd name="connsiteX297" fmla="*/ 168211 w 859857"/>
              <a:gd name="connsiteY297" fmla="*/ 201513 h 859817"/>
              <a:gd name="connsiteX298" fmla="*/ 149087 w 859857"/>
              <a:gd name="connsiteY298" fmla="*/ 209438 h 859817"/>
              <a:gd name="connsiteX299" fmla="*/ 138111 w 859857"/>
              <a:gd name="connsiteY299" fmla="*/ 221493 h 859817"/>
              <a:gd name="connsiteX300" fmla="*/ 135916 w 859857"/>
              <a:gd name="connsiteY300" fmla="*/ 233622 h 859817"/>
              <a:gd name="connsiteX301" fmla="*/ 115229 w 859857"/>
              <a:gd name="connsiteY301" fmla="*/ 233622 h 859817"/>
              <a:gd name="connsiteX302" fmla="*/ 113034 w 859857"/>
              <a:gd name="connsiteY302" fmla="*/ 221493 h 859817"/>
              <a:gd name="connsiteX303" fmla="*/ 102058 w 859857"/>
              <a:gd name="connsiteY303" fmla="*/ 209438 h 859817"/>
              <a:gd name="connsiteX304" fmla="*/ 82934 w 859857"/>
              <a:gd name="connsiteY304" fmla="*/ 201513 h 859817"/>
              <a:gd name="connsiteX305" fmla="*/ 66637 w 859857"/>
              <a:gd name="connsiteY305" fmla="*/ 202257 h 859817"/>
              <a:gd name="connsiteX306" fmla="*/ 56517 w 859857"/>
              <a:gd name="connsiteY306" fmla="*/ 209289 h 859817"/>
              <a:gd name="connsiteX307" fmla="*/ 41894 w 859857"/>
              <a:gd name="connsiteY307" fmla="*/ 194667 h 859817"/>
              <a:gd name="connsiteX308" fmla="*/ 48926 w 859857"/>
              <a:gd name="connsiteY308" fmla="*/ 184546 h 859817"/>
              <a:gd name="connsiteX309" fmla="*/ 49671 w 859857"/>
              <a:gd name="connsiteY309" fmla="*/ 168250 h 859817"/>
              <a:gd name="connsiteX310" fmla="*/ 41746 w 859857"/>
              <a:gd name="connsiteY310" fmla="*/ 149126 h 859817"/>
              <a:gd name="connsiteX311" fmla="*/ 29691 w 859857"/>
              <a:gd name="connsiteY311" fmla="*/ 138150 h 859817"/>
              <a:gd name="connsiteX312" fmla="*/ 17562 w 859857"/>
              <a:gd name="connsiteY312" fmla="*/ 135955 h 859817"/>
              <a:gd name="connsiteX313" fmla="*/ 125651 w 859857"/>
              <a:gd name="connsiteY313" fmla="*/ 178296 h 859817"/>
              <a:gd name="connsiteX314" fmla="*/ 178336 w 859857"/>
              <a:gd name="connsiteY314" fmla="*/ 125612 h 859817"/>
              <a:gd name="connsiteX315" fmla="*/ 125651 w 859857"/>
              <a:gd name="connsiteY315" fmla="*/ 72927 h 859817"/>
              <a:gd name="connsiteX316" fmla="*/ 72967 w 859857"/>
              <a:gd name="connsiteY316" fmla="*/ 125612 h 859817"/>
              <a:gd name="connsiteX317" fmla="*/ 125651 w 859857"/>
              <a:gd name="connsiteY317" fmla="*/ 178296 h 859817"/>
              <a:gd name="connsiteX318" fmla="*/ 125651 w 859857"/>
              <a:gd name="connsiteY318" fmla="*/ 90487 h 859817"/>
              <a:gd name="connsiteX319" fmla="*/ 160775 w 859857"/>
              <a:gd name="connsiteY319" fmla="*/ 125611 h 859817"/>
              <a:gd name="connsiteX320" fmla="*/ 125651 w 859857"/>
              <a:gd name="connsiteY320" fmla="*/ 160734 h 859817"/>
              <a:gd name="connsiteX321" fmla="*/ 90528 w 859857"/>
              <a:gd name="connsiteY321" fmla="*/ 125611 h 859817"/>
              <a:gd name="connsiteX322" fmla="*/ 125651 w 859857"/>
              <a:gd name="connsiteY322" fmla="*/ 90487 h 859817"/>
              <a:gd name="connsiteX323" fmla="*/ 847170 w 859857"/>
              <a:gd name="connsiteY323" fmla="*/ 706898 h 859817"/>
              <a:gd name="connsiteX324" fmla="*/ 834594 w 859857"/>
              <a:gd name="connsiteY324" fmla="*/ 704628 h 859817"/>
              <a:gd name="connsiteX325" fmla="*/ 826111 w 859857"/>
              <a:gd name="connsiteY325" fmla="*/ 684127 h 859817"/>
              <a:gd name="connsiteX326" fmla="*/ 833404 w 859857"/>
              <a:gd name="connsiteY326" fmla="*/ 673597 h 859817"/>
              <a:gd name="connsiteX327" fmla="*/ 831655 w 859857"/>
              <a:gd name="connsiteY327" fmla="*/ 653952 h 859817"/>
              <a:gd name="connsiteX328" fmla="*/ 814465 w 859857"/>
              <a:gd name="connsiteY328" fmla="*/ 636762 h 859817"/>
              <a:gd name="connsiteX329" fmla="*/ 794820 w 859857"/>
              <a:gd name="connsiteY329" fmla="*/ 634976 h 859817"/>
              <a:gd name="connsiteX330" fmla="*/ 784290 w 859857"/>
              <a:gd name="connsiteY330" fmla="*/ 642269 h 859817"/>
              <a:gd name="connsiteX331" fmla="*/ 763789 w 859857"/>
              <a:gd name="connsiteY331" fmla="*/ 633786 h 859817"/>
              <a:gd name="connsiteX332" fmla="*/ 761520 w 859857"/>
              <a:gd name="connsiteY332" fmla="*/ 621210 h 859817"/>
              <a:gd name="connsiteX333" fmla="*/ 746377 w 859857"/>
              <a:gd name="connsiteY333" fmla="*/ 608560 h 859817"/>
              <a:gd name="connsiteX334" fmla="*/ 722043 w 859857"/>
              <a:gd name="connsiteY334" fmla="*/ 608597 h 859817"/>
              <a:gd name="connsiteX335" fmla="*/ 706900 w 859857"/>
              <a:gd name="connsiteY335" fmla="*/ 621247 h 859817"/>
              <a:gd name="connsiteX336" fmla="*/ 704631 w 859857"/>
              <a:gd name="connsiteY336" fmla="*/ 633823 h 859817"/>
              <a:gd name="connsiteX337" fmla="*/ 684130 w 859857"/>
              <a:gd name="connsiteY337" fmla="*/ 642306 h 859817"/>
              <a:gd name="connsiteX338" fmla="*/ 673600 w 859857"/>
              <a:gd name="connsiteY338" fmla="*/ 635014 h 859817"/>
              <a:gd name="connsiteX339" fmla="*/ 653955 w 859857"/>
              <a:gd name="connsiteY339" fmla="*/ 636799 h 859817"/>
              <a:gd name="connsiteX340" fmla="*/ 636802 w 859857"/>
              <a:gd name="connsiteY340" fmla="*/ 653952 h 859817"/>
              <a:gd name="connsiteX341" fmla="*/ 635016 w 859857"/>
              <a:gd name="connsiteY341" fmla="*/ 673597 h 859817"/>
              <a:gd name="connsiteX342" fmla="*/ 642309 w 859857"/>
              <a:gd name="connsiteY342" fmla="*/ 684127 h 859817"/>
              <a:gd name="connsiteX343" fmla="*/ 633826 w 859857"/>
              <a:gd name="connsiteY343" fmla="*/ 704628 h 859817"/>
              <a:gd name="connsiteX344" fmla="*/ 621250 w 859857"/>
              <a:gd name="connsiteY344" fmla="*/ 706898 h 859817"/>
              <a:gd name="connsiteX345" fmla="*/ 608600 w 859857"/>
              <a:gd name="connsiteY345" fmla="*/ 722040 h 859817"/>
              <a:gd name="connsiteX346" fmla="*/ 608600 w 859857"/>
              <a:gd name="connsiteY346" fmla="*/ 746337 h 859817"/>
              <a:gd name="connsiteX347" fmla="*/ 621250 w 859857"/>
              <a:gd name="connsiteY347" fmla="*/ 761480 h 859817"/>
              <a:gd name="connsiteX348" fmla="*/ 633826 w 859857"/>
              <a:gd name="connsiteY348" fmla="*/ 763749 h 859817"/>
              <a:gd name="connsiteX349" fmla="*/ 642346 w 859857"/>
              <a:gd name="connsiteY349" fmla="*/ 784250 h 859817"/>
              <a:gd name="connsiteX350" fmla="*/ 635054 w 859857"/>
              <a:gd name="connsiteY350" fmla="*/ 794780 h 859817"/>
              <a:gd name="connsiteX351" fmla="*/ 636840 w 859857"/>
              <a:gd name="connsiteY351" fmla="*/ 814425 h 859817"/>
              <a:gd name="connsiteX352" fmla="*/ 654029 w 859857"/>
              <a:gd name="connsiteY352" fmla="*/ 831615 h 859817"/>
              <a:gd name="connsiteX353" fmla="*/ 673675 w 859857"/>
              <a:gd name="connsiteY353" fmla="*/ 833401 h 859817"/>
              <a:gd name="connsiteX354" fmla="*/ 684167 w 859857"/>
              <a:gd name="connsiteY354" fmla="*/ 826108 h 859817"/>
              <a:gd name="connsiteX355" fmla="*/ 704668 w 859857"/>
              <a:gd name="connsiteY355" fmla="*/ 834591 h 859817"/>
              <a:gd name="connsiteX356" fmla="*/ 706938 w 859857"/>
              <a:gd name="connsiteY356" fmla="*/ 847167 h 859817"/>
              <a:gd name="connsiteX357" fmla="*/ 722080 w 859857"/>
              <a:gd name="connsiteY357" fmla="*/ 859817 h 859817"/>
              <a:gd name="connsiteX358" fmla="*/ 746377 w 859857"/>
              <a:gd name="connsiteY358" fmla="*/ 859817 h 859817"/>
              <a:gd name="connsiteX359" fmla="*/ 761520 w 859857"/>
              <a:gd name="connsiteY359" fmla="*/ 847167 h 859817"/>
              <a:gd name="connsiteX360" fmla="*/ 763789 w 859857"/>
              <a:gd name="connsiteY360" fmla="*/ 834591 h 859817"/>
              <a:gd name="connsiteX361" fmla="*/ 784290 w 859857"/>
              <a:gd name="connsiteY361" fmla="*/ 826108 h 859817"/>
              <a:gd name="connsiteX362" fmla="*/ 794820 w 859857"/>
              <a:gd name="connsiteY362" fmla="*/ 833401 h 859817"/>
              <a:gd name="connsiteX363" fmla="*/ 814465 w 859857"/>
              <a:gd name="connsiteY363" fmla="*/ 831652 h 859817"/>
              <a:gd name="connsiteX364" fmla="*/ 831655 w 859857"/>
              <a:gd name="connsiteY364" fmla="*/ 814462 h 859817"/>
              <a:gd name="connsiteX365" fmla="*/ 833441 w 859857"/>
              <a:gd name="connsiteY365" fmla="*/ 794817 h 859817"/>
              <a:gd name="connsiteX366" fmla="*/ 826148 w 859857"/>
              <a:gd name="connsiteY366" fmla="*/ 784324 h 859817"/>
              <a:gd name="connsiteX367" fmla="*/ 834631 w 859857"/>
              <a:gd name="connsiteY367" fmla="*/ 763824 h 859817"/>
              <a:gd name="connsiteX368" fmla="*/ 847207 w 859857"/>
              <a:gd name="connsiteY368" fmla="*/ 761554 h 859817"/>
              <a:gd name="connsiteX369" fmla="*/ 859858 w 859857"/>
              <a:gd name="connsiteY369" fmla="*/ 746411 h 859817"/>
              <a:gd name="connsiteX370" fmla="*/ 859858 w 859857"/>
              <a:gd name="connsiteY370" fmla="*/ 722115 h 859817"/>
              <a:gd name="connsiteX371" fmla="*/ 847170 w 859857"/>
              <a:gd name="connsiteY371" fmla="*/ 706897 h 859817"/>
              <a:gd name="connsiteX372" fmla="*/ 842259 w 859857"/>
              <a:gd name="connsiteY372" fmla="*/ 744551 h 859817"/>
              <a:gd name="connsiteX373" fmla="*/ 830130 w 859857"/>
              <a:gd name="connsiteY373" fmla="*/ 746746 h 859817"/>
              <a:gd name="connsiteX374" fmla="*/ 818075 w 859857"/>
              <a:gd name="connsiteY374" fmla="*/ 757722 h 859817"/>
              <a:gd name="connsiteX375" fmla="*/ 810150 w 859857"/>
              <a:gd name="connsiteY375" fmla="*/ 776846 h 859817"/>
              <a:gd name="connsiteX376" fmla="*/ 810894 w 859857"/>
              <a:gd name="connsiteY376" fmla="*/ 793142 h 859817"/>
              <a:gd name="connsiteX377" fmla="*/ 817926 w 859857"/>
              <a:gd name="connsiteY377" fmla="*/ 803263 h 859817"/>
              <a:gd name="connsiteX378" fmla="*/ 803303 w 859857"/>
              <a:gd name="connsiteY378" fmla="*/ 817885 h 859817"/>
              <a:gd name="connsiteX379" fmla="*/ 793183 w 859857"/>
              <a:gd name="connsiteY379" fmla="*/ 810853 h 859817"/>
              <a:gd name="connsiteX380" fmla="*/ 776887 w 859857"/>
              <a:gd name="connsiteY380" fmla="*/ 810109 h 859817"/>
              <a:gd name="connsiteX381" fmla="*/ 757762 w 859857"/>
              <a:gd name="connsiteY381" fmla="*/ 818034 h 859817"/>
              <a:gd name="connsiteX382" fmla="*/ 746787 w 859857"/>
              <a:gd name="connsiteY382" fmla="*/ 830089 h 859817"/>
              <a:gd name="connsiteX383" fmla="*/ 744591 w 859857"/>
              <a:gd name="connsiteY383" fmla="*/ 842218 h 859817"/>
              <a:gd name="connsiteX384" fmla="*/ 723904 w 859857"/>
              <a:gd name="connsiteY384" fmla="*/ 842218 h 859817"/>
              <a:gd name="connsiteX385" fmla="*/ 721709 w 859857"/>
              <a:gd name="connsiteY385" fmla="*/ 830089 h 859817"/>
              <a:gd name="connsiteX386" fmla="*/ 710733 w 859857"/>
              <a:gd name="connsiteY386" fmla="*/ 818034 h 859817"/>
              <a:gd name="connsiteX387" fmla="*/ 691609 w 859857"/>
              <a:gd name="connsiteY387" fmla="*/ 810109 h 859817"/>
              <a:gd name="connsiteX388" fmla="*/ 675312 w 859857"/>
              <a:gd name="connsiteY388" fmla="*/ 810853 h 859817"/>
              <a:gd name="connsiteX389" fmla="*/ 665192 w 859857"/>
              <a:gd name="connsiteY389" fmla="*/ 817885 h 859817"/>
              <a:gd name="connsiteX390" fmla="*/ 650569 w 859857"/>
              <a:gd name="connsiteY390" fmla="*/ 803263 h 859817"/>
              <a:gd name="connsiteX391" fmla="*/ 657601 w 859857"/>
              <a:gd name="connsiteY391" fmla="*/ 793142 h 859817"/>
              <a:gd name="connsiteX392" fmla="*/ 658346 w 859857"/>
              <a:gd name="connsiteY392" fmla="*/ 776846 h 859817"/>
              <a:gd name="connsiteX393" fmla="*/ 650421 w 859857"/>
              <a:gd name="connsiteY393" fmla="*/ 757759 h 859817"/>
              <a:gd name="connsiteX394" fmla="*/ 638366 w 859857"/>
              <a:gd name="connsiteY394" fmla="*/ 746783 h 859817"/>
              <a:gd name="connsiteX395" fmla="*/ 626237 w 859857"/>
              <a:gd name="connsiteY395" fmla="*/ 744588 h 859817"/>
              <a:gd name="connsiteX396" fmla="*/ 626237 w 859857"/>
              <a:gd name="connsiteY396" fmla="*/ 723901 h 859817"/>
              <a:gd name="connsiteX397" fmla="*/ 638366 w 859857"/>
              <a:gd name="connsiteY397" fmla="*/ 721705 h 859817"/>
              <a:gd name="connsiteX398" fmla="*/ 650421 w 859857"/>
              <a:gd name="connsiteY398" fmla="*/ 710730 h 859817"/>
              <a:gd name="connsiteX399" fmla="*/ 658346 w 859857"/>
              <a:gd name="connsiteY399" fmla="*/ 691605 h 859817"/>
              <a:gd name="connsiteX400" fmla="*/ 657601 w 859857"/>
              <a:gd name="connsiteY400" fmla="*/ 675309 h 859817"/>
              <a:gd name="connsiteX401" fmla="*/ 650569 w 859857"/>
              <a:gd name="connsiteY401" fmla="*/ 665189 h 859817"/>
              <a:gd name="connsiteX402" fmla="*/ 665192 w 859857"/>
              <a:gd name="connsiteY402" fmla="*/ 650566 h 859817"/>
              <a:gd name="connsiteX403" fmla="*/ 675312 w 859857"/>
              <a:gd name="connsiteY403" fmla="*/ 657598 h 859817"/>
              <a:gd name="connsiteX404" fmla="*/ 691609 w 859857"/>
              <a:gd name="connsiteY404" fmla="*/ 658342 h 859817"/>
              <a:gd name="connsiteX405" fmla="*/ 710733 w 859857"/>
              <a:gd name="connsiteY405" fmla="*/ 650417 h 859817"/>
              <a:gd name="connsiteX406" fmla="*/ 721709 w 859857"/>
              <a:gd name="connsiteY406" fmla="*/ 638362 h 859817"/>
              <a:gd name="connsiteX407" fmla="*/ 723904 w 859857"/>
              <a:gd name="connsiteY407" fmla="*/ 626233 h 859817"/>
              <a:gd name="connsiteX408" fmla="*/ 744591 w 859857"/>
              <a:gd name="connsiteY408" fmla="*/ 626233 h 859817"/>
              <a:gd name="connsiteX409" fmla="*/ 746787 w 859857"/>
              <a:gd name="connsiteY409" fmla="*/ 638362 h 859817"/>
              <a:gd name="connsiteX410" fmla="*/ 757762 w 859857"/>
              <a:gd name="connsiteY410" fmla="*/ 650417 h 859817"/>
              <a:gd name="connsiteX411" fmla="*/ 776887 w 859857"/>
              <a:gd name="connsiteY411" fmla="*/ 658342 h 859817"/>
              <a:gd name="connsiteX412" fmla="*/ 793183 w 859857"/>
              <a:gd name="connsiteY412" fmla="*/ 657598 h 859817"/>
              <a:gd name="connsiteX413" fmla="*/ 803303 w 859857"/>
              <a:gd name="connsiteY413" fmla="*/ 650566 h 859817"/>
              <a:gd name="connsiteX414" fmla="*/ 817926 w 859857"/>
              <a:gd name="connsiteY414" fmla="*/ 665189 h 859817"/>
              <a:gd name="connsiteX415" fmla="*/ 810894 w 859857"/>
              <a:gd name="connsiteY415" fmla="*/ 675309 h 859817"/>
              <a:gd name="connsiteX416" fmla="*/ 810150 w 859857"/>
              <a:gd name="connsiteY416" fmla="*/ 691605 h 859817"/>
              <a:gd name="connsiteX417" fmla="*/ 818075 w 859857"/>
              <a:gd name="connsiteY417" fmla="*/ 710730 h 859817"/>
              <a:gd name="connsiteX418" fmla="*/ 830130 w 859857"/>
              <a:gd name="connsiteY418" fmla="*/ 721705 h 859817"/>
              <a:gd name="connsiteX419" fmla="*/ 842259 w 859857"/>
              <a:gd name="connsiteY419" fmla="*/ 723901 h 859817"/>
              <a:gd name="connsiteX420" fmla="*/ 734169 w 859857"/>
              <a:gd name="connsiteY420" fmla="*/ 681522 h 859817"/>
              <a:gd name="connsiteX421" fmla="*/ 681484 w 859857"/>
              <a:gd name="connsiteY421" fmla="*/ 734207 h 859817"/>
              <a:gd name="connsiteX422" fmla="*/ 734169 w 859857"/>
              <a:gd name="connsiteY422" fmla="*/ 786891 h 859817"/>
              <a:gd name="connsiteX423" fmla="*/ 786854 w 859857"/>
              <a:gd name="connsiteY423" fmla="*/ 734207 h 859817"/>
              <a:gd name="connsiteX424" fmla="*/ 734169 w 859857"/>
              <a:gd name="connsiteY424" fmla="*/ 681522 h 859817"/>
              <a:gd name="connsiteX425" fmla="*/ 734169 w 859857"/>
              <a:gd name="connsiteY425" fmla="*/ 769331 h 859817"/>
              <a:gd name="connsiteX426" fmla="*/ 699046 w 859857"/>
              <a:gd name="connsiteY426" fmla="*/ 734208 h 859817"/>
              <a:gd name="connsiteX427" fmla="*/ 734169 w 859857"/>
              <a:gd name="connsiteY427" fmla="*/ 699084 h 859817"/>
              <a:gd name="connsiteX428" fmla="*/ 769292 w 859857"/>
              <a:gd name="connsiteY428" fmla="*/ 734208 h 859817"/>
              <a:gd name="connsiteX429" fmla="*/ 734169 w 859857"/>
              <a:gd name="connsiteY429" fmla="*/ 769331 h 859817"/>
              <a:gd name="connsiteX430" fmla="*/ 238612 w 859857"/>
              <a:gd name="connsiteY430" fmla="*/ 706898 h 859817"/>
              <a:gd name="connsiteX431" fmla="*/ 226036 w 859857"/>
              <a:gd name="connsiteY431" fmla="*/ 704628 h 859817"/>
              <a:gd name="connsiteX432" fmla="*/ 217553 w 859857"/>
              <a:gd name="connsiteY432" fmla="*/ 684127 h 859817"/>
              <a:gd name="connsiteX433" fmla="*/ 224845 w 859857"/>
              <a:gd name="connsiteY433" fmla="*/ 673597 h 859817"/>
              <a:gd name="connsiteX434" fmla="*/ 223097 w 859857"/>
              <a:gd name="connsiteY434" fmla="*/ 653952 h 859817"/>
              <a:gd name="connsiteX435" fmla="*/ 205907 w 859857"/>
              <a:gd name="connsiteY435" fmla="*/ 636762 h 859817"/>
              <a:gd name="connsiteX436" fmla="*/ 186262 w 859857"/>
              <a:gd name="connsiteY436" fmla="*/ 634976 h 859817"/>
              <a:gd name="connsiteX437" fmla="*/ 175732 w 859857"/>
              <a:gd name="connsiteY437" fmla="*/ 642269 h 859817"/>
              <a:gd name="connsiteX438" fmla="*/ 155231 w 859857"/>
              <a:gd name="connsiteY438" fmla="*/ 633786 h 859817"/>
              <a:gd name="connsiteX439" fmla="*/ 152961 w 859857"/>
              <a:gd name="connsiteY439" fmla="*/ 621210 h 859817"/>
              <a:gd name="connsiteX440" fmla="*/ 137819 w 859857"/>
              <a:gd name="connsiteY440" fmla="*/ 608560 h 859817"/>
              <a:gd name="connsiteX441" fmla="*/ 113522 w 859857"/>
              <a:gd name="connsiteY441" fmla="*/ 608560 h 859817"/>
              <a:gd name="connsiteX442" fmla="*/ 98379 w 859857"/>
              <a:gd name="connsiteY442" fmla="*/ 621210 h 859817"/>
              <a:gd name="connsiteX443" fmla="*/ 96110 w 859857"/>
              <a:gd name="connsiteY443" fmla="*/ 633786 h 859817"/>
              <a:gd name="connsiteX444" fmla="*/ 75609 w 859857"/>
              <a:gd name="connsiteY444" fmla="*/ 642269 h 859817"/>
              <a:gd name="connsiteX445" fmla="*/ 65079 w 859857"/>
              <a:gd name="connsiteY445" fmla="*/ 634976 h 859817"/>
              <a:gd name="connsiteX446" fmla="*/ 45434 w 859857"/>
              <a:gd name="connsiteY446" fmla="*/ 636725 h 859817"/>
              <a:gd name="connsiteX447" fmla="*/ 28244 w 859857"/>
              <a:gd name="connsiteY447" fmla="*/ 653952 h 859817"/>
              <a:gd name="connsiteX448" fmla="*/ 26458 w 859857"/>
              <a:gd name="connsiteY448" fmla="*/ 673597 h 859817"/>
              <a:gd name="connsiteX449" fmla="*/ 33751 w 859857"/>
              <a:gd name="connsiteY449" fmla="*/ 684090 h 859817"/>
              <a:gd name="connsiteX450" fmla="*/ 25268 w 859857"/>
              <a:gd name="connsiteY450" fmla="*/ 704591 h 859817"/>
              <a:gd name="connsiteX451" fmla="*/ 12692 w 859857"/>
              <a:gd name="connsiteY451" fmla="*/ 706860 h 859817"/>
              <a:gd name="connsiteX452" fmla="*/ 42 w 859857"/>
              <a:gd name="connsiteY452" fmla="*/ 722003 h 859817"/>
              <a:gd name="connsiteX453" fmla="*/ 42 w 859857"/>
              <a:gd name="connsiteY453" fmla="*/ 746299 h 859817"/>
              <a:gd name="connsiteX454" fmla="*/ 12692 w 859857"/>
              <a:gd name="connsiteY454" fmla="*/ 761442 h 859817"/>
              <a:gd name="connsiteX455" fmla="*/ 25268 w 859857"/>
              <a:gd name="connsiteY455" fmla="*/ 763712 h 859817"/>
              <a:gd name="connsiteX456" fmla="*/ 33751 w 859857"/>
              <a:gd name="connsiteY456" fmla="*/ 784213 h 859817"/>
              <a:gd name="connsiteX457" fmla="*/ 26458 w 859857"/>
              <a:gd name="connsiteY457" fmla="*/ 794780 h 859817"/>
              <a:gd name="connsiteX458" fmla="*/ 28244 w 859857"/>
              <a:gd name="connsiteY458" fmla="*/ 814425 h 859817"/>
              <a:gd name="connsiteX459" fmla="*/ 45434 w 859857"/>
              <a:gd name="connsiteY459" fmla="*/ 831615 h 859817"/>
              <a:gd name="connsiteX460" fmla="*/ 65079 w 859857"/>
              <a:gd name="connsiteY460" fmla="*/ 833401 h 859817"/>
              <a:gd name="connsiteX461" fmla="*/ 75609 w 859857"/>
              <a:gd name="connsiteY461" fmla="*/ 826108 h 859817"/>
              <a:gd name="connsiteX462" fmla="*/ 96110 w 859857"/>
              <a:gd name="connsiteY462" fmla="*/ 834591 h 859817"/>
              <a:gd name="connsiteX463" fmla="*/ 98379 w 859857"/>
              <a:gd name="connsiteY463" fmla="*/ 847167 h 859817"/>
              <a:gd name="connsiteX464" fmla="*/ 113522 w 859857"/>
              <a:gd name="connsiteY464" fmla="*/ 859817 h 859817"/>
              <a:gd name="connsiteX465" fmla="*/ 137819 w 859857"/>
              <a:gd name="connsiteY465" fmla="*/ 859817 h 859817"/>
              <a:gd name="connsiteX466" fmla="*/ 152961 w 859857"/>
              <a:gd name="connsiteY466" fmla="*/ 847167 h 859817"/>
              <a:gd name="connsiteX467" fmla="*/ 155231 w 859857"/>
              <a:gd name="connsiteY467" fmla="*/ 834591 h 859817"/>
              <a:gd name="connsiteX468" fmla="*/ 175732 w 859857"/>
              <a:gd name="connsiteY468" fmla="*/ 826108 h 859817"/>
              <a:gd name="connsiteX469" fmla="*/ 186262 w 859857"/>
              <a:gd name="connsiteY469" fmla="*/ 833401 h 859817"/>
              <a:gd name="connsiteX470" fmla="*/ 205907 w 859857"/>
              <a:gd name="connsiteY470" fmla="*/ 831652 h 859817"/>
              <a:gd name="connsiteX471" fmla="*/ 223097 w 859857"/>
              <a:gd name="connsiteY471" fmla="*/ 814462 h 859817"/>
              <a:gd name="connsiteX472" fmla="*/ 224845 w 859857"/>
              <a:gd name="connsiteY472" fmla="*/ 794817 h 859817"/>
              <a:gd name="connsiteX473" fmla="*/ 217553 w 859857"/>
              <a:gd name="connsiteY473" fmla="*/ 784287 h 859817"/>
              <a:gd name="connsiteX474" fmla="*/ 226036 w 859857"/>
              <a:gd name="connsiteY474" fmla="*/ 763786 h 859817"/>
              <a:gd name="connsiteX475" fmla="*/ 238612 w 859857"/>
              <a:gd name="connsiteY475" fmla="*/ 761517 h 859817"/>
              <a:gd name="connsiteX476" fmla="*/ 251262 w 859857"/>
              <a:gd name="connsiteY476" fmla="*/ 746374 h 859817"/>
              <a:gd name="connsiteX477" fmla="*/ 251262 w 859857"/>
              <a:gd name="connsiteY477" fmla="*/ 722077 h 859817"/>
              <a:gd name="connsiteX478" fmla="*/ 238612 w 859857"/>
              <a:gd name="connsiteY478" fmla="*/ 706897 h 859817"/>
              <a:gd name="connsiteX479" fmla="*/ 233701 w 859857"/>
              <a:gd name="connsiteY479" fmla="*/ 744551 h 859817"/>
              <a:gd name="connsiteX480" fmla="*/ 221571 w 859857"/>
              <a:gd name="connsiteY480" fmla="*/ 746746 h 859817"/>
              <a:gd name="connsiteX481" fmla="*/ 209517 w 859857"/>
              <a:gd name="connsiteY481" fmla="*/ 757722 h 859817"/>
              <a:gd name="connsiteX482" fmla="*/ 201591 w 859857"/>
              <a:gd name="connsiteY482" fmla="*/ 776846 h 859817"/>
              <a:gd name="connsiteX483" fmla="*/ 202336 w 859857"/>
              <a:gd name="connsiteY483" fmla="*/ 793142 h 859817"/>
              <a:gd name="connsiteX484" fmla="*/ 209368 w 859857"/>
              <a:gd name="connsiteY484" fmla="*/ 803263 h 859817"/>
              <a:gd name="connsiteX485" fmla="*/ 194745 w 859857"/>
              <a:gd name="connsiteY485" fmla="*/ 817885 h 859817"/>
              <a:gd name="connsiteX486" fmla="*/ 184588 w 859857"/>
              <a:gd name="connsiteY486" fmla="*/ 810853 h 859817"/>
              <a:gd name="connsiteX487" fmla="*/ 168291 w 859857"/>
              <a:gd name="connsiteY487" fmla="*/ 810109 h 859817"/>
              <a:gd name="connsiteX488" fmla="*/ 149167 w 859857"/>
              <a:gd name="connsiteY488" fmla="*/ 818034 h 859817"/>
              <a:gd name="connsiteX489" fmla="*/ 138191 w 859857"/>
              <a:gd name="connsiteY489" fmla="*/ 830089 h 859817"/>
              <a:gd name="connsiteX490" fmla="*/ 135996 w 859857"/>
              <a:gd name="connsiteY490" fmla="*/ 842218 h 859817"/>
              <a:gd name="connsiteX491" fmla="*/ 115309 w 859857"/>
              <a:gd name="connsiteY491" fmla="*/ 842218 h 859817"/>
              <a:gd name="connsiteX492" fmla="*/ 113113 w 859857"/>
              <a:gd name="connsiteY492" fmla="*/ 830089 h 859817"/>
              <a:gd name="connsiteX493" fmla="*/ 102138 w 859857"/>
              <a:gd name="connsiteY493" fmla="*/ 818034 h 859817"/>
              <a:gd name="connsiteX494" fmla="*/ 83013 w 859857"/>
              <a:gd name="connsiteY494" fmla="*/ 810109 h 859817"/>
              <a:gd name="connsiteX495" fmla="*/ 66717 w 859857"/>
              <a:gd name="connsiteY495" fmla="*/ 810853 h 859817"/>
              <a:gd name="connsiteX496" fmla="*/ 56597 w 859857"/>
              <a:gd name="connsiteY496" fmla="*/ 817885 h 859817"/>
              <a:gd name="connsiteX497" fmla="*/ 41974 w 859857"/>
              <a:gd name="connsiteY497" fmla="*/ 803263 h 859817"/>
              <a:gd name="connsiteX498" fmla="*/ 49006 w 859857"/>
              <a:gd name="connsiteY498" fmla="*/ 793142 h 859817"/>
              <a:gd name="connsiteX499" fmla="*/ 49750 w 859857"/>
              <a:gd name="connsiteY499" fmla="*/ 776846 h 859817"/>
              <a:gd name="connsiteX500" fmla="*/ 41825 w 859857"/>
              <a:gd name="connsiteY500" fmla="*/ 757722 h 859817"/>
              <a:gd name="connsiteX501" fmla="*/ 29770 w 859857"/>
              <a:gd name="connsiteY501" fmla="*/ 746746 h 859817"/>
              <a:gd name="connsiteX502" fmla="*/ 17641 w 859857"/>
              <a:gd name="connsiteY502" fmla="*/ 744551 h 859817"/>
              <a:gd name="connsiteX503" fmla="*/ 17641 w 859857"/>
              <a:gd name="connsiteY503" fmla="*/ 723863 h 859817"/>
              <a:gd name="connsiteX504" fmla="*/ 29770 w 859857"/>
              <a:gd name="connsiteY504" fmla="*/ 721668 h 859817"/>
              <a:gd name="connsiteX505" fmla="*/ 41825 w 859857"/>
              <a:gd name="connsiteY505" fmla="*/ 710693 h 859817"/>
              <a:gd name="connsiteX506" fmla="*/ 49750 w 859857"/>
              <a:gd name="connsiteY506" fmla="*/ 691568 h 859817"/>
              <a:gd name="connsiteX507" fmla="*/ 49006 w 859857"/>
              <a:gd name="connsiteY507" fmla="*/ 675272 h 859817"/>
              <a:gd name="connsiteX508" fmla="*/ 41900 w 859857"/>
              <a:gd name="connsiteY508" fmla="*/ 665114 h 859817"/>
              <a:gd name="connsiteX509" fmla="*/ 56522 w 859857"/>
              <a:gd name="connsiteY509" fmla="*/ 650492 h 859817"/>
              <a:gd name="connsiteX510" fmla="*/ 66643 w 859857"/>
              <a:gd name="connsiteY510" fmla="*/ 657524 h 859817"/>
              <a:gd name="connsiteX511" fmla="*/ 82939 w 859857"/>
              <a:gd name="connsiteY511" fmla="*/ 658268 h 859817"/>
              <a:gd name="connsiteX512" fmla="*/ 102063 w 859857"/>
              <a:gd name="connsiteY512" fmla="*/ 650343 h 859817"/>
              <a:gd name="connsiteX513" fmla="*/ 113039 w 859857"/>
              <a:gd name="connsiteY513" fmla="*/ 638288 h 859817"/>
              <a:gd name="connsiteX514" fmla="*/ 115234 w 859857"/>
              <a:gd name="connsiteY514" fmla="*/ 626159 h 859817"/>
              <a:gd name="connsiteX515" fmla="*/ 135922 w 859857"/>
              <a:gd name="connsiteY515" fmla="*/ 626159 h 859817"/>
              <a:gd name="connsiteX516" fmla="*/ 138117 w 859857"/>
              <a:gd name="connsiteY516" fmla="*/ 638288 h 859817"/>
              <a:gd name="connsiteX517" fmla="*/ 149093 w 859857"/>
              <a:gd name="connsiteY517" fmla="*/ 650343 h 859817"/>
              <a:gd name="connsiteX518" fmla="*/ 168217 w 859857"/>
              <a:gd name="connsiteY518" fmla="*/ 658268 h 859817"/>
              <a:gd name="connsiteX519" fmla="*/ 184513 w 859857"/>
              <a:gd name="connsiteY519" fmla="*/ 657524 h 859817"/>
              <a:gd name="connsiteX520" fmla="*/ 194633 w 859857"/>
              <a:gd name="connsiteY520" fmla="*/ 650492 h 859817"/>
              <a:gd name="connsiteX521" fmla="*/ 209256 w 859857"/>
              <a:gd name="connsiteY521" fmla="*/ 665114 h 859817"/>
              <a:gd name="connsiteX522" fmla="*/ 202224 w 859857"/>
              <a:gd name="connsiteY522" fmla="*/ 675235 h 859817"/>
              <a:gd name="connsiteX523" fmla="*/ 201443 w 859857"/>
              <a:gd name="connsiteY523" fmla="*/ 691531 h 859817"/>
              <a:gd name="connsiteX524" fmla="*/ 209368 w 859857"/>
              <a:gd name="connsiteY524" fmla="*/ 710655 h 859817"/>
              <a:gd name="connsiteX525" fmla="*/ 221423 w 859857"/>
              <a:gd name="connsiteY525" fmla="*/ 721631 h 859817"/>
              <a:gd name="connsiteX526" fmla="*/ 233552 w 859857"/>
              <a:gd name="connsiteY526" fmla="*/ 723826 h 859817"/>
              <a:gd name="connsiteX527" fmla="*/ 125649 w 859857"/>
              <a:gd name="connsiteY527" fmla="*/ 681522 h 859817"/>
              <a:gd name="connsiteX528" fmla="*/ 72964 w 859857"/>
              <a:gd name="connsiteY528" fmla="*/ 734207 h 859817"/>
              <a:gd name="connsiteX529" fmla="*/ 125649 w 859857"/>
              <a:gd name="connsiteY529" fmla="*/ 786891 h 859817"/>
              <a:gd name="connsiteX530" fmla="*/ 178334 w 859857"/>
              <a:gd name="connsiteY530" fmla="*/ 734207 h 859817"/>
              <a:gd name="connsiteX531" fmla="*/ 125649 w 859857"/>
              <a:gd name="connsiteY531" fmla="*/ 681522 h 859817"/>
              <a:gd name="connsiteX532" fmla="*/ 125649 w 859857"/>
              <a:gd name="connsiteY532" fmla="*/ 769331 h 859817"/>
              <a:gd name="connsiteX533" fmla="*/ 90526 w 859857"/>
              <a:gd name="connsiteY533" fmla="*/ 734208 h 859817"/>
              <a:gd name="connsiteX534" fmla="*/ 125649 w 859857"/>
              <a:gd name="connsiteY534" fmla="*/ 699084 h 859817"/>
              <a:gd name="connsiteX535" fmla="*/ 160772 w 859857"/>
              <a:gd name="connsiteY535" fmla="*/ 734208 h 859817"/>
              <a:gd name="connsiteX536" fmla="*/ 125649 w 859857"/>
              <a:gd name="connsiteY536" fmla="*/ 769331 h 859817"/>
              <a:gd name="connsiteX537" fmla="*/ 284155 w 859857"/>
              <a:gd name="connsiteY537" fmla="*/ 123860 h 859817"/>
              <a:gd name="connsiteX538" fmla="*/ 288582 w 859857"/>
              <a:gd name="connsiteY538" fmla="*/ 112289 h 859817"/>
              <a:gd name="connsiteX539" fmla="*/ 429895 w 859857"/>
              <a:gd name="connsiteY539" fmla="*/ 82338 h 859817"/>
              <a:gd name="connsiteX540" fmla="*/ 551263 w 859857"/>
              <a:gd name="connsiteY540" fmla="*/ 104104 h 859817"/>
              <a:gd name="connsiteX541" fmla="*/ 537496 w 859857"/>
              <a:gd name="connsiteY541" fmla="*/ 71622 h 859817"/>
              <a:gd name="connsiteX542" fmla="*/ 542147 w 859857"/>
              <a:gd name="connsiteY542" fmla="*/ 60125 h 859817"/>
              <a:gd name="connsiteX543" fmla="*/ 553644 w 859857"/>
              <a:gd name="connsiteY543" fmla="*/ 64776 h 859817"/>
              <a:gd name="connsiteX544" fmla="*/ 575707 w 859857"/>
              <a:gd name="connsiteY544" fmla="*/ 116866 h 859817"/>
              <a:gd name="connsiteX545" fmla="*/ 575744 w 859857"/>
              <a:gd name="connsiteY545" fmla="*/ 123564 h 859817"/>
              <a:gd name="connsiteX546" fmla="*/ 571019 w 859857"/>
              <a:gd name="connsiteY546" fmla="*/ 128363 h 859817"/>
              <a:gd name="connsiteX547" fmla="*/ 518929 w 859857"/>
              <a:gd name="connsiteY547" fmla="*/ 150427 h 859817"/>
              <a:gd name="connsiteX548" fmla="*/ 515506 w 859857"/>
              <a:gd name="connsiteY548" fmla="*/ 151134 h 859817"/>
              <a:gd name="connsiteX549" fmla="*/ 507432 w 859857"/>
              <a:gd name="connsiteY549" fmla="*/ 145776 h 859817"/>
              <a:gd name="connsiteX550" fmla="*/ 512083 w 859857"/>
              <a:gd name="connsiteY550" fmla="*/ 134280 h 859817"/>
              <a:gd name="connsiteX551" fmla="*/ 544751 w 859857"/>
              <a:gd name="connsiteY551" fmla="*/ 120439 h 859817"/>
              <a:gd name="connsiteX552" fmla="*/ 429822 w 859857"/>
              <a:gd name="connsiteY552" fmla="*/ 99863 h 859817"/>
              <a:gd name="connsiteX553" fmla="*/ 295653 w 859857"/>
              <a:gd name="connsiteY553" fmla="*/ 128289 h 859817"/>
              <a:gd name="connsiteX554" fmla="*/ 284156 w 859857"/>
              <a:gd name="connsiteY554" fmla="*/ 123862 h 859817"/>
              <a:gd name="connsiteX555" fmla="*/ 120439 w 859857"/>
              <a:gd name="connsiteY555" fmla="*/ 314989 h 859817"/>
              <a:gd name="connsiteX556" fmla="*/ 99863 w 859857"/>
              <a:gd name="connsiteY556" fmla="*/ 429917 h 859817"/>
              <a:gd name="connsiteX557" fmla="*/ 128289 w 859857"/>
              <a:gd name="connsiteY557" fmla="*/ 564086 h 859817"/>
              <a:gd name="connsiteX558" fmla="*/ 123862 w 859857"/>
              <a:gd name="connsiteY558" fmla="*/ 575657 h 859817"/>
              <a:gd name="connsiteX559" fmla="*/ 120290 w 859857"/>
              <a:gd name="connsiteY559" fmla="*/ 576401 h 859817"/>
              <a:gd name="connsiteX560" fmla="*/ 112253 w 859857"/>
              <a:gd name="connsiteY560" fmla="*/ 571192 h 859817"/>
              <a:gd name="connsiteX561" fmla="*/ 82302 w 859857"/>
              <a:gd name="connsiteY561" fmla="*/ 429879 h 859817"/>
              <a:gd name="connsiteX562" fmla="*/ 104105 w 859857"/>
              <a:gd name="connsiteY562" fmla="*/ 308512 h 859817"/>
              <a:gd name="connsiteX563" fmla="*/ 71623 w 859857"/>
              <a:gd name="connsiteY563" fmla="*/ 322278 h 859817"/>
              <a:gd name="connsiteX564" fmla="*/ 60127 w 859857"/>
              <a:gd name="connsiteY564" fmla="*/ 317628 h 859817"/>
              <a:gd name="connsiteX565" fmla="*/ 64777 w 859857"/>
              <a:gd name="connsiteY565" fmla="*/ 306131 h 859817"/>
              <a:gd name="connsiteX566" fmla="*/ 116868 w 859857"/>
              <a:gd name="connsiteY566" fmla="*/ 284067 h 859817"/>
              <a:gd name="connsiteX567" fmla="*/ 128364 w 859857"/>
              <a:gd name="connsiteY567" fmla="*/ 288718 h 859817"/>
              <a:gd name="connsiteX568" fmla="*/ 150428 w 859857"/>
              <a:gd name="connsiteY568" fmla="*/ 340808 h 859817"/>
              <a:gd name="connsiteX569" fmla="*/ 145777 w 859857"/>
              <a:gd name="connsiteY569" fmla="*/ 352305 h 859817"/>
              <a:gd name="connsiteX570" fmla="*/ 134281 w 859857"/>
              <a:gd name="connsiteY570" fmla="*/ 347654 h 859817"/>
              <a:gd name="connsiteX571" fmla="*/ 739411 w 859857"/>
              <a:gd name="connsiteY571" fmla="*/ 544817 h 859817"/>
              <a:gd name="connsiteX572" fmla="*/ 759987 w 859857"/>
              <a:gd name="connsiteY572" fmla="*/ 429889 h 859817"/>
              <a:gd name="connsiteX573" fmla="*/ 731561 w 859857"/>
              <a:gd name="connsiteY573" fmla="*/ 295719 h 859817"/>
              <a:gd name="connsiteX574" fmla="*/ 735988 w 859857"/>
              <a:gd name="connsiteY574" fmla="*/ 284148 h 859817"/>
              <a:gd name="connsiteX575" fmla="*/ 747559 w 859857"/>
              <a:gd name="connsiteY575" fmla="*/ 288576 h 859817"/>
              <a:gd name="connsiteX576" fmla="*/ 777511 w 859857"/>
              <a:gd name="connsiteY576" fmla="*/ 429889 h 859817"/>
              <a:gd name="connsiteX577" fmla="*/ 755707 w 859857"/>
              <a:gd name="connsiteY577" fmla="*/ 551257 h 859817"/>
              <a:gd name="connsiteX578" fmla="*/ 788189 w 859857"/>
              <a:gd name="connsiteY578" fmla="*/ 537490 h 859817"/>
              <a:gd name="connsiteX579" fmla="*/ 799686 w 859857"/>
              <a:gd name="connsiteY579" fmla="*/ 542141 h 859817"/>
              <a:gd name="connsiteX580" fmla="*/ 795035 w 859857"/>
              <a:gd name="connsiteY580" fmla="*/ 553638 h 859817"/>
              <a:gd name="connsiteX581" fmla="*/ 742945 w 859857"/>
              <a:gd name="connsiteY581" fmla="*/ 575701 h 859817"/>
              <a:gd name="connsiteX582" fmla="*/ 739522 w 859857"/>
              <a:gd name="connsiteY582" fmla="*/ 576408 h 859817"/>
              <a:gd name="connsiteX583" fmla="*/ 731448 w 859857"/>
              <a:gd name="connsiteY583" fmla="*/ 571050 h 859817"/>
              <a:gd name="connsiteX584" fmla="*/ 709384 w 859857"/>
              <a:gd name="connsiteY584" fmla="*/ 518960 h 859817"/>
              <a:gd name="connsiteX585" fmla="*/ 714035 w 859857"/>
              <a:gd name="connsiteY585" fmla="*/ 507463 h 859817"/>
              <a:gd name="connsiteX586" fmla="*/ 725532 w 859857"/>
              <a:gd name="connsiteY586" fmla="*/ 512114 h 859817"/>
              <a:gd name="connsiteX587" fmla="*/ 575667 w 859857"/>
              <a:gd name="connsiteY587" fmla="*/ 735946 h 859817"/>
              <a:gd name="connsiteX588" fmla="*/ 571240 w 859857"/>
              <a:gd name="connsiteY588" fmla="*/ 747517 h 859817"/>
              <a:gd name="connsiteX589" fmla="*/ 429927 w 859857"/>
              <a:gd name="connsiteY589" fmla="*/ 777468 h 859817"/>
              <a:gd name="connsiteX590" fmla="*/ 308559 w 859857"/>
              <a:gd name="connsiteY590" fmla="*/ 755665 h 859817"/>
              <a:gd name="connsiteX591" fmla="*/ 322326 w 859857"/>
              <a:gd name="connsiteY591" fmla="*/ 788147 h 859817"/>
              <a:gd name="connsiteX592" fmla="*/ 317675 w 859857"/>
              <a:gd name="connsiteY592" fmla="*/ 799643 h 859817"/>
              <a:gd name="connsiteX593" fmla="*/ 314252 w 859857"/>
              <a:gd name="connsiteY593" fmla="*/ 800350 h 859817"/>
              <a:gd name="connsiteX594" fmla="*/ 306178 w 859857"/>
              <a:gd name="connsiteY594" fmla="*/ 794993 h 859817"/>
              <a:gd name="connsiteX595" fmla="*/ 284114 w 859857"/>
              <a:gd name="connsiteY595" fmla="*/ 742902 h 859817"/>
              <a:gd name="connsiteX596" fmla="*/ 288765 w 859857"/>
              <a:gd name="connsiteY596" fmla="*/ 731406 h 859817"/>
              <a:gd name="connsiteX597" fmla="*/ 340855 w 859857"/>
              <a:gd name="connsiteY597" fmla="*/ 709342 h 859817"/>
              <a:gd name="connsiteX598" fmla="*/ 352352 w 859857"/>
              <a:gd name="connsiteY598" fmla="*/ 713993 h 859817"/>
              <a:gd name="connsiteX599" fmla="*/ 347701 w 859857"/>
              <a:gd name="connsiteY599" fmla="*/ 725489 h 859817"/>
              <a:gd name="connsiteX600" fmla="*/ 315033 w 859857"/>
              <a:gd name="connsiteY600" fmla="*/ 739330 h 859817"/>
              <a:gd name="connsiteX601" fmla="*/ 429962 w 859857"/>
              <a:gd name="connsiteY601" fmla="*/ 759906 h 859817"/>
              <a:gd name="connsiteX602" fmla="*/ 564131 w 859857"/>
              <a:gd name="connsiteY602" fmla="*/ 731480 h 859817"/>
              <a:gd name="connsiteX603" fmla="*/ 575665 w 859857"/>
              <a:gd name="connsiteY603" fmla="*/ 735945 h 859817"/>
              <a:gd name="connsiteX604" fmla="*/ 278982 w 859857"/>
              <a:gd name="connsiteY604" fmla="*/ 266582 h 859817"/>
              <a:gd name="connsiteX605" fmla="*/ 278424 w 859857"/>
              <a:gd name="connsiteY605" fmla="*/ 244221 h 859817"/>
              <a:gd name="connsiteX606" fmla="*/ 286982 w 859857"/>
              <a:gd name="connsiteY606" fmla="*/ 235217 h 859817"/>
              <a:gd name="connsiteX607" fmla="*/ 295986 w 859857"/>
              <a:gd name="connsiteY607" fmla="*/ 243774 h 859817"/>
              <a:gd name="connsiteX608" fmla="*/ 297102 w 859857"/>
              <a:gd name="connsiteY608" fmla="*/ 288087 h 859817"/>
              <a:gd name="connsiteX609" fmla="*/ 288545 w 859857"/>
              <a:gd name="connsiteY609" fmla="*/ 297091 h 859817"/>
              <a:gd name="connsiteX610" fmla="*/ 244231 w 859857"/>
              <a:gd name="connsiteY610" fmla="*/ 298208 h 859817"/>
              <a:gd name="connsiteX611" fmla="*/ 244008 w 859857"/>
              <a:gd name="connsiteY611" fmla="*/ 298208 h 859817"/>
              <a:gd name="connsiteX612" fmla="*/ 235227 w 859857"/>
              <a:gd name="connsiteY612" fmla="*/ 289650 h 859817"/>
              <a:gd name="connsiteX613" fmla="*/ 243785 w 859857"/>
              <a:gd name="connsiteY613" fmla="*/ 280646 h 859817"/>
              <a:gd name="connsiteX614" fmla="*/ 267635 w 859857"/>
              <a:gd name="connsiteY614" fmla="*/ 280051 h 859817"/>
              <a:gd name="connsiteX615" fmla="*/ 233181 w 859857"/>
              <a:gd name="connsiteY615" fmla="*/ 245597 h 859817"/>
              <a:gd name="connsiteX616" fmla="*/ 233181 w 859857"/>
              <a:gd name="connsiteY616" fmla="*/ 233207 h 859817"/>
              <a:gd name="connsiteX617" fmla="*/ 245571 w 859857"/>
              <a:gd name="connsiteY617" fmla="*/ 233207 h 859817"/>
              <a:gd name="connsiteX618" fmla="*/ 289438 w 859857"/>
              <a:gd name="connsiteY618" fmla="*/ 624589 h 859817"/>
              <a:gd name="connsiteX619" fmla="*/ 280657 w 859857"/>
              <a:gd name="connsiteY619" fmla="*/ 616031 h 859817"/>
              <a:gd name="connsiteX620" fmla="*/ 280062 w 859857"/>
              <a:gd name="connsiteY620" fmla="*/ 592182 h 859817"/>
              <a:gd name="connsiteX621" fmla="*/ 245608 w 859857"/>
              <a:gd name="connsiteY621" fmla="*/ 626636 h 859817"/>
              <a:gd name="connsiteX622" fmla="*/ 239394 w 859857"/>
              <a:gd name="connsiteY622" fmla="*/ 629203 h 859817"/>
              <a:gd name="connsiteX623" fmla="*/ 233181 w 859857"/>
              <a:gd name="connsiteY623" fmla="*/ 626636 h 859817"/>
              <a:gd name="connsiteX624" fmla="*/ 233181 w 859857"/>
              <a:gd name="connsiteY624" fmla="*/ 614246 h 859817"/>
              <a:gd name="connsiteX625" fmla="*/ 266556 w 859857"/>
              <a:gd name="connsiteY625" fmla="*/ 580871 h 859817"/>
              <a:gd name="connsiteX626" fmla="*/ 244194 w 859857"/>
              <a:gd name="connsiteY626" fmla="*/ 581429 h 859817"/>
              <a:gd name="connsiteX627" fmla="*/ 243970 w 859857"/>
              <a:gd name="connsiteY627" fmla="*/ 581429 h 859817"/>
              <a:gd name="connsiteX628" fmla="*/ 235190 w 859857"/>
              <a:gd name="connsiteY628" fmla="*/ 572871 h 859817"/>
              <a:gd name="connsiteX629" fmla="*/ 243747 w 859857"/>
              <a:gd name="connsiteY629" fmla="*/ 563867 h 859817"/>
              <a:gd name="connsiteX630" fmla="*/ 288060 w 859857"/>
              <a:gd name="connsiteY630" fmla="*/ 562751 h 859817"/>
              <a:gd name="connsiteX631" fmla="*/ 297064 w 859857"/>
              <a:gd name="connsiteY631" fmla="*/ 571309 h 859817"/>
              <a:gd name="connsiteX632" fmla="*/ 298181 w 859857"/>
              <a:gd name="connsiteY632" fmla="*/ 615622 h 859817"/>
              <a:gd name="connsiteX633" fmla="*/ 289623 w 859857"/>
              <a:gd name="connsiteY633" fmla="*/ 624626 h 859817"/>
              <a:gd name="connsiteX634" fmla="*/ 289437 w 859857"/>
              <a:gd name="connsiteY634" fmla="*/ 624589 h 859817"/>
              <a:gd name="connsiteX635" fmla="*/ 580846 w 859857"/>
              <a:gd name="connsiteY635" fmla="*/ 593223 h 859817"/>
              <a:gd name="connsiteX636" fmla="*/ 581404 w 859857"/>
              <a:gd name="connsiteY636" fmla="*/ 615585 h 859817"/>
              <a:gd name="connsiteX637" fmla="*/ 572846 w 859857"/>
              <a:gd name="connsiteY637" fmla="*/ 624589 h 859817"/>
              <a:gd name="connsiteX638" fmla="*/ 572623 w 859857"/>
              <a:gd name="connsiteY638" fmla="*/ 624589 h 859817"/>
              <a:gd name="connsiteX639" fmla="*/ 563842 w 859857"/>
              <a:gd name="connsiteY639" fmla="*/ 616032 h 859817"/>
              <a:gd name="connsiteX640" fmla="*/ 562726 w 859857"/>
              <a:gd name="connsiteY640" fmla="*/ 571718 h 859817"/>
              <a:gd name="connsiteX641" fmla="*/ 571284 w 859857"/>
              <a:gd name="connsiteY641" fmla="*/ 562714 h 859817"/>
              <a:gd name="connsiteX642" fmla="*/ 615597 w 859857"/>
              <a:gd name="connsiteY642" fmla="*/ 561598 h 859817"/>
              <a:gd name="connsiteX643" fmla="*/ 615820 w 859857"/>
              <a:gd name="connsiteY643" fmla="*/ 561598 h 859817"/>
              <a:gd name="connsiteX644" fmla="*/ 624601 w 859857"/>
              <a:gd name="connsiteY644" fmla="*/ 570156 h 859817"/>
              <a:gd name="connsiteX645" fmla="*/ 616043 w 859857"/>
              <a:gd name="connsiteY645" fmla="*/ 579160 h 859817"/>
              <a:gd name="connsiteX646" fmla="*/ 592194 w 859857"/>
              <a:gd name="connsiteY646" fmla="*/ 579755 h 859817"/>
              <a:gd name="connsiteX647" fmla="*/ 626647 w 859857"/>
              <a:gd name="connsiteY647" fmla="*/ 614209 h 859817"/>
              <a:gd name="connsiteX648" fmla="*/ 626647 w 859857"/>
              <a:gd name="connsiteY648" fmla="*/ 626599 h 859817"/>
              <a:gd name="connsiteX649" fmla="*/ 620434 w 859857"/>
              <a:gd name="connsiteY649" fmla="*/ 629166 h 859817"/>
              <a:gd name="connsiteX650" fmla="*/ 614220 w 859857"/>
              <a:gd name="connsiteY650" fmla="*/ 626599 h 859817"/>
              <a:gd name="connsiteX651" fmla="*/ 570390 w 859857"/>
              <a:gd name="connsiteY651" fmla="*/ 235217 h 859817"/>
              <a:gd name="connsiteX652" fmla="*/ 579171 w 859857"/>
              <a:gd name="connsiteY652" fmla="*/ 243774 h 859817"/>
              <a:gd name="connsiteX653" fmla="*/ 579766 w 859857"/>
              <a:gd name="connsiteY653" fmla="*/ 267624 h 859817"/>
              <a:gd name="connsiteX654" fmla="*/ 614220 w 859857"/>
              <a:gd name="connsiteY654" fmla="*/ 233170 h 859817"/>
              <a:gd name="connsiteX655" fmla="*/ 626610 w 859857"/>
              <a:gd name="connsiteY655" fmla="*/ 233170 h 859817"/>
              <a:gd name="connsiteX656" fmla="*/ 626610 w 859857"/>
              <a:gd name="connsiteY656" fmla="*/ 245560 h 859817"/>
              <a:gd name="connsiteX657" fmla="*/ 593236 w 859857"/>
              <a:gd name="connsiteY657" fmla="*/ 278935 h 859817"/>
              <a:gd name="connsiteX658" fmla="*/ 615598 w 859857"/>
              <a:gd name="connsiteY658" fmla="*/ 278377 h 859817"/>
              <a:gd name="connsiteX659" fmla="*/ 615821 w 859857"/>
              <a:gd name="connsiteY659" fmla="*/ 278377 h 859817"/>
              <a:gd name="connsiteX660" fmla="*/ 624602 w 859857"/>
              <a:gd name="connsiteY660" fmla="*/ 286934 h 859817"/>
              <a:gd name="connsiteX661" fmla="*/ 616044 w 859857"/>
              <a:gd name="connsiteY661" fmla="*/ 295939 h 859817"/>
              <a:gd name="connsiteX662" fmla="*/ 571731 w 859857"/>
              <a:gd name="connsiteY662" fmla="*/ 297055 h 859817"/>
              <a:gd name="connsiteX663" fmla="*/ 571508 w 859857"/>
              <a:gd name="connsiteY663" fmla="*/ 297055 h 859817"/>
              <a:gd name="connsiteX664" fmla="*/ 562727 w 859857"/>
              <a:gd name="connsiteY664" fmla="*/ 288497 h 859817"/>
              <a:gd name="connsiteX665" fmla="*/ 561611 w 859857"/>
              <a:gd name="connsiteY665" fmla="*/ 244184 h 859817"/>
              <a:gd name="connsiteX666" fmla="*/ 570168 w 859857"/>
              <a:gd name="connsiteY666" fmla="*/ 235180 h 859817"/>
              <a:gd name="connsiteX667" fmla="*/ 570391 w 859857"/>
              <a:gd name="connsiteY667" fmla="*/ 235217 h 859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</a:cxnLst>
            <a:rect l="l" t="t" r="r" b="b"/>
            <a:pathLst>
              <a:path w="859857" h="859817">
                <a:moveTo>
                  <a:pt x="580389" y="463495"/>
                </a:moveTo>
                <a:cubicBezTo>
                  <a:pt x="588761" y="461970"/>
                  <a:pt x="594862" y="454677"/>
                  <a:pt x="594862" y="446157"/>
                </a:cubicBezTo>
                <a:lnTo>
                  <a:pt x="594862" y="413675"/>
                </a:lnTo>
                <a:cubicBezTo>
                  <a:pt x="594862" y="405154"/>
                  <a:pt x="588760" y="397861"/>
                  <a:pt x="580389" y="396336"/>
                </a:cubicBezTo>
                <a:lnTo>
                  <a:pt x="561749" y="392913"/>
                </a:lnTo>
                <a:cubicBezTo>
                  <a:pt x="558809" y="382458"/>
                  <a:pt x="554605" y="372337"/>
                  <a:pt x="549284" y="362775"/>
                </a:cubicBezTo>
                <a:lnTo>
                  <a:pt x="560037" y="347223"/>
                </a:lnTo>
                <a:cubicBezTo>
                  <a:pt x="564874" y="340228"/>
                  <a:pt x="564018" y="330777"/>
                  <a:pt x="558028" y="324749"/>
                </a:cubicBezTo>
                <a:lnTo>
                  <a:pt x="535033" y="301755"/>
                </a:lnTo>
                <a:cubicBezTo>
                  <a:pt x="529006" y="295728"/>
                  <a:pt x="519555" y="294872"/>
                  <a:pt x="512560" y="299746"/>
                </a:cubicBezTo>
                <a:lnTo>
                  <a:pt x="496971" y="310499"/>
                </a:lnTo>
                <a:cubicBezTo>
                  <a:pt x="487483" y="305141"/>
                  <a:pt x="477362" y="300936"/>
                  <a:pt x="466908" y="298034"/>
                </a:cubicBezTo>
                <a:lnTo>
                  <a:pt x="466871" y="297997"/>
                </a:lnTo>
                <a:lnTo>
                  <a:pt x="463485" y="279431"/>
                </a:lnTo>
                <a:cubicBezTo>
                  <a:pt x="461959" y="271059"/>
                  <a:pt x="454667" y="264958"/>
                  <a:pt x="446146" y="264958"/>
                </a:cubicBezTo>
                <a:lnTo>
                  <a:pt x="413664" y="264958"/>
                </a:lnTo>
                <a:cubicBezTo>
                  <a:pt x="405144" y="264958"/>
                  <a:pt x="397851" y="271022"/>
                  <a:pt x="396326" y="279431"/>
                </a:cubicBezTo>
                <a:lnTo>
                  <a:pt x="392903" y="298071"/>
                </a:lnTo>
                <a:cubicBezTo>
                  <a:pt x="382447" y="301011"/>
                  <a:pt x="372327" y="305215"/>
                  <a:pt x="362765" y="310536"/>
                </a:cubicBezTo>
                <a:lnTo>
                  <a:pt x="347212" y="299783"/>
                </a:lnTo>
                <a:cubicBezTo>
                  <a:pt x="340217" y="294946"/>
                  <a:pt x="330766" y="295802"/>
                  <a:pt x="324739" y="301792"/>
                </a:cubicBezTo>
                <a:lnTo>
                  <a:pt x="301745" y="324786"/>
                </a:lnTo>
                <a:cubicBezTo>
                  <a:pt x="295717" y="330814"/>
                  <a:pt x="294861" y="340265"/>
                  <a:pt x="299736" y="347260"/>
                </a:cubicBezTo>
                <a:lnTo>
                  <a:pt x="310488" y="362849"/>
                </a:lnTo>
                <a:cubicBezTo>
                  <a:pt x="305130" y="372337"/>
                  <a:pt x="300926" y="382457"/>
                  <a:pt x="297950" y="392987"/>
                </a:cubicBezTo>
                <a:lnTo>
                  <a:pt x="279383" y="396373"/>
                </a:lnTo>
                <a:cubicBezTo>
                  <a:pt x="271012" y="397899"/>
                  <a:pt x="264910" y="405191"/>
                  <a:pt x="264910" y="413712"/>
                </a:cubicBezTo>
                <a:lnTo>
                  <a:pt x="264910" y="446194"/>
                </a:lnTo>
                <a:cubicBezTo>
                  <a:pt x="264910" y="454714"/>
                  <a:pt x="271012" y="462007"/>
                  <a:pt x="279383" y="463532"/>
                </a:cubicBezTo>
                <a:lnTo>
                  <a:pt x="298024" y="466955"/>
                </a:lnTo>
                <a:cubicBezTo>
                  <a:pt x="300963" y="477411"/>
                  <a:pt x="305130" y="487531"/>
                  <a:pt x="310488" y="497093"/>
                </a:cubicBezTo>
                <a:lnTo>
                  <a:pt x="299736" y="512646"/>
                </a:lnTo>
                <a:cubicBezTo>
                  <a:pt x="294899" y="519641"/>
                  <a:pt x="295717" y="529092"/>
                  <a:pt x="301745" y="535119"/>
                </a:cubicBezTo>
                <a:lnTo>
                  <a:pt x="324739" y="558076"/>
                </a:lnTo>
                <a:cubicBezTo>
                  <a:pt x="330767" y="564104"/>
                  <a:pt x="340217" y="564959"/>
                  <a:pt x="347212" y="560085"/>
                </a:cubicBezTo>
                <a:lnTo>
                  <a:pt x="362802" y="549333"/>
                </a:lnTo>
                <a:cubicBezTo>
                  <a:pt x="372290" y="554690"/>
                  <a:pt x="382410" y="558895"/>
                  <a:pt x="392940" y="561871"/>
                </a:cubicBezTo>
                <a:lnTo>
                  <a:pt x="396326" y="580437"/>
                </a:lnTo>
                <a:cubicBezTo>
                  <a:pt x="397851" y="588809"/>
                  <a:pt x="405144" y="594911"/>
                  <a:pt x="413664" y="594911"/>
                </a:cubicBezTo>
                <a:lnTo>
                  <a:pt x="446146" y="594911"/>
                </a:lnTo>
                <a:cubicBezTo>
                  <a:pt x="454667" y="594911"/>
                  <a:pt x="461960" y="588809"/>
                  <a:pt x="463485" y="580437"/>
                </a:cubicBezTo>
                <a:lnTo>
                  <a:pt x="466908" y="561797"/>
                </a:lnTo>
                <a:cubicBezTo>
                  <a:pt x="477363" y="558858"/>
                  <a:pt x="487484" y="554690"/>
                  <a:pt x="497046" y="549333"/>
                </a:cubicBezTo>
                <a:lnTo>
                  <a:pt x="512598" y="560085"/>
                </a:lnTo>
                <a:cubicBezTo>
                  <a:pt x="519593" y="564959"/>
                  <a:pt x="529044" y="564104"/>
                  <a:pt x="535072" y="558076"/>
                </a:cubicBezTo>
                <a:lnTo>
                  <a:pt x="558066" y="535082"/>
                </a:lnTo>
                <a:cubicBezTo>
                  <a:pt x="564093" y="529054"/>
                  <a:pt x="564949" y="519604"/>
                  <a:pt x="560075" y="512608"/>
                </a:cubicBezTo>
                <a:lnTo>
                  <a:pt x="549322" y="497019"/>
                </a:lnTo>
                <a:cubicBezTo>
                  <a:pt x="554680" y="487531"/>
                  <a:pt x="558847" y="477411"/>
                  <a:pt x="561861" y="466881"/>
                </a:cubicBezTo>
                <a:close/>
                <a:moveTo>
                  <a:pt x="544893" y="462193"/>
                </a:moveTo>
                <a:cubicBezTo>
                  <a:pt x="542326" y="471309"/>
                  <a:pt x="538680" y="480127"/>
                  <a:pt x="534029" y="488387"/>
                </a:cubicBezTo>
                <a:cubicBezTo>
                  <a:pt x="530680" y="494302"/>
                  <a:pt x="531015" y="501446"/>
                  <a:pt x="534885" y="507064"/>
                </a:cubicBezTo>
                <a:lnTo>
                  <a:pt x="545638" y="522654"/>
                </a:lnTo>
                <a:lnTo>
                  <a:pt x="522569" y="545648"/>
                </a:lnTo>
                <a:lnTo>
                  <a:pt x="507054" y="534895"/>
                </a:lnTo>
                <a:cubicBezTo>
                  <a:pt x="501473" y="531026"/>
                  <a:pt x="494292" y="530691"/>
                  <a:pt x="488376" y="534040"/>
                </a:cubicBezTo>
                <a:cubicBezTo>
                  <a:pt x="480116" y="538690"/>
                  <a:pt x="471298" y="542374"/>
                  <a:pt x="462182" y="544904"/>
                </a:cubicBezTo>
                <a:cubicBezTo>
                  <a:pt x="455634" y="546727"/>
                  <a:pt x="450834" y="552047"/>
                  <a:pt x="449606" y="558707"/>
                </a:cubicBezTo>
                <a:lnTo>
                  <a:pt x="446183" y="577348"/>
                </a:lnTo>
                <a:lnTo>
                  <a:pt x="413627" y="577311"/>
                </a:lnTo>
                <a:lnTo>
                  <a:pt x="410241" y="558744"/>
                </a:lnTo>
                <a:cubicBezTo>
                  <a:pt x="409013" y="552047"/>
                  <a:pt x="404214" y="546764"/>
                  <a:pt x="397665" y="544941"/>
                </a:cubicBezTo>
                <a:cubicBezTo>
                  <a:pt x="388549" y="542374"/>
                  <a:pt x="379732" y="538727"/>
                  <a:pt x="371471" y="534077"/>
                </a:cubicBezTo>
                <a:cubicBezTo>
                  <a:pt x="368755" y="532551"/>
                  <a:pt x="365779" y="531807"/>
                  <a:pt x="362802" y="531807"/>
                </a:cubicBezTo>
                <a:cubicBezTo>
                  <a:pt x="359305" y="531807"/>
                  <a:pt x="355807" y="532849"/>
                  <a:pt x="352793" y="534970"/>
                </a:cubicBezTo>
                <a:lnTo>
                  <a:pt x="337167" y="545722"/>
                </a:lnTo>
                <a:lnTo>
                  <a:pt x="314172" y="522654"/>
                </a:lnTo>
                <a:lnTo>
                  <a:pt x="324925" y="507101"/>
                </a:lnTo>
                <a:cubicBezTo>
                  <a:pt x="328795" y="501520"/>
                  <a:pt x="329129" y="494340"/>
                  <a:pt x="325781" y="488424"/>
                </a:cubicBezTo>
                <a:cubicBezTo>
                  <a:pt x="321130" y="480164"/>
                  <a:pt x="317446" y="471345"/>
                  <a:pt x="314917" y="462230"/>
                </a:cubicBezTo>
                <a:cubicBezTo>
                  <a:pt x="313093" y="455682"/>
                  <a:pt x="307810" y="450882"/>
                  <a:pt x="301113" y="449654"/>
                </a:cubicBezTo>
                <a:lnTo>
                  <a:pt x="282473" y="446231"/>
                </a:lnTo>
                <a:lnTo>
                  <a:pt x="282510" y="413675"/>
                </a:lnTo>
                <a:lnTo>
                  <a:pt x="301076" y="410289"/>
                </a:lnTo>
                <a:cubicBezTo>
                  <a:pt x="307773" y="409061"/>
                  <a:pt x="313056" y="404261"/>
                  <a:pt x="314880" y="397713"/>
                </a:cubicBezTo>
                <a:cubicBezTo>
                  <a:pt x="317447" y="388597"/>
                  <a:pt x="321093" y="379779"/>
                  <a:pt x="325744" y="371519"/>
                </a:cubicBezTo>
                <a:cubicBezTo>
                  <a:pt x="329092" y="365603"/>
                  <a:pt x="328758" y="358422"/>
                  <a:pt x="324888" y="352842"/>
                </a:cubicBezTo>
                <a:lnTo>
                  <a:pt x="314135" y="337215"/>
                </a:lnTo>
                <a:lnTo>
                  <a:pt x="337204" y="314221"/>
                </a:lnTo>
                <a:lnTo>
                  <a:pt x="352756" y="324973"/>
                </a:lnTo>
                <a:cubicBezTo>
                  <a:pt x="358337" y="328843"/>
                  <a:pt x="365481" y="329178"/>
                  <a:pt x="371434" y="325829"/>
                </a:cubicBezTo>
                <a:cubicBezTo>
                  <a:pt x="379694" y="321178"/>
                  <a:pt x="388512" y="317495"/>
                  <a:pt x="397628" y="314965"/>
                </a:cubicBezTo>
                <a:cubicBezTo>
                  <a:pt x="404176" y="313142"/>
                  <a:pt x="408976" y="307821"/>
                  <a:pt x="410203" y="301161"/>
                </a:cubicBezTo>
                <a:lnTo>
                  <a:pt x="413626" y="282521"/>
                </a:lnTo>
                <a:lnTo>
                  <a:pt x="446183" y="282558"/>
                </a:lnTo>
                <a:lnTo>
                  <a:pt x="449569" y="301124"/>
                </a:lnTo>
                <a:cubicBezTo>
                  <a:pt x="450797" y="307821"/>
                  <a:pt x="455596" y="313105"/>
                  <a:pt x="462145" y="314928"/>
                </a:cubicBezTo>
                <a:cubicBezTo>
                  <a:pt x="471260" y="317495"/>
                  <a:pt x="480078" y="321141"/>
                  <a:pt x="488338" y="325792"/>
                </a:cubicBezTo>
                <a:cubicBezTo>
                  <a:pt x="494254" y="329141"/>
                  <a:pt x="501435" y="328806"/>
                  <a:pt x="507016" y="324936"/>
                </a:cubicBezTo>
                <a:lnTo>
                  <a:pt x="522643" y="314183"/>
                </a:lnTo>
                <a:lnTo>
                  <a:pt x="545637" y="337252"/>
                </a:lnTo>
                <a:lnTo>
                  <a:pt x="534884" y="352804"/>
                </a:lnTo>
                <a:cubicBezTo>
                  <a:pt x="531015" y="358386"/>
                  <a:pt x="530680" y="365529"/>
                  <a:pt x="534028" y="371482"/>
                </a:cubicBezTo>
                <a:cubicBezTo>
                  <a:pt x="538679" y="379742"/>
                  <a:pt x="542326" y="388560"/>
                  <a:pt x="544893" y="397676"/>
                </a:cubicBezTo>
                <a:cubicBezTo>
                  <a:pt x="546716" y="404224"/>
                  <a:pt x="551999" y="409024"/>
                  <a:pt x="558696" y="410252"/>
                </a:cubicBezTo>
                <a:lnTo>
                  <a:pt x="577337" y="413675"/>
                </a:lnTo>
                <a:lnTo>
                  <a:pt x="577299" y="446231"/>
                </a:lnTo>
                <a:lnTo>
                  <a:pt x="558733" y="449617"/>
                </a:lnTo>
                <a:cubicBezTo>
                  <a:pt x="551999" y="450808"/>
                  <a:pt x="546716" y="455645"/>
                  <a:pt x="544893" y="462193"/>
                </a:cubicBezTo>
                <a:close/>
                <a:moveTo>
                  <a:pt x="429926" y="353284"/>
                </a:moveTo>
                <a:cubicBezTo>
                  <a:pt x="387659" y="353284"/>
                  <a:pt x="353317" y="387664"/>
                  <a:pt x="353317" y="429894"/>
                </a:cubicBezTo>
                <a:cubicBezTo>
                  <a:pt x="353317" y="472161"/>
                  <a:pt x="387696" y="506503"/>
                  <a:pt x="429926" y="506503"/>
                </a:cubicBezTo>
                <a:cubicBezTo>
                  <a:pt x="472194" y="506503"/>
                  <a:pt x="506536" y="472124"/>
                  <a:pt x="506536" y="429894"/>
                </a:cubicBezTo>
                <a:cubicBezTo>
                  <a:pt x="506536" y="387664"/>
                  <a:pt x="472156" y="353284"/>
                  <a:pt x="429926" y="353284"/>
                </a:cubicBezTo>
                <a:close/>
                <a:moveTo>
                  <a:pt x="429926" y="488977"/>
                </a:moveTo>
                <a:cubicBezTo>
                  <a:pt x="397370" y="488977"/>
                  <a:pt x="370842" y="462486"/>
                  <a:pt x="370842" y="429893"/>
                </a:cubicBezTo>
                <a:cubicBezTo>
                  <a:pt x="370842" y="397299"/>
                  <a:pt x="397333" y="370808"/>
                  <a:pt x="429926" y="370808"/>
                </a:cubicBezTo>
                <a:cubicBezTo>
                  <a:pt x="462520" y="370808"/>
                  <a:pt x="489011" y="397299"/>
                  <a:pt x="489011" y="429893"/>
                </a:cubicBezTo>
                <a:cubicBezTo>
                  <a:pt x="488974" y="462486"/>
                  <a:pt x="462482" y="488977"/>
                  <a:pt x="429926" y="488977"/>
                </a:cubicBezTo>
                <a:close/>
                <a:moveTo>
                  <a:pt x="847169" y="98338"/>
                </a:moveTo>
                <a:lnTo>
                  <a:pt x="834593" y="96068"/>
                </a:lnTo>
                <a:cubicBezTo>
                  <a:pt x="832510" y="88962"/>
                  <a:pt x="829645" y="82078"/>
                  <a:pt x="826110" y="75568"/>
                </a:cubicBezTo>
                <a:lnTo>
                  <a:pt x="833403" y="65038"/>
                </a:lnTo>
                <a:cubicBezTo>
                  <a:pt x="837644" y="58936"/>
                  <a:pt x="836900" y="50676"/>
                  <a:pt x="831654" y="45392"/>
                </a:cubicBezTo>
                <a:lnTo>
                  <a:pt x="814464" y="28203"/>
                </a:lnTo>
                <a:cubicBezTo>
                  <a:pt x="809218" y="22919"/>
                  <a:pt x="800958" y="22175"/>
                  <a:pt x="794819" y="26417"/>
                </a:cubicBezTo>
                <a:lnTo>
                  <a:pt x="784289" y="33709"/>
                </a:lnTo>
                <a:cubicBezTo>
                  <a:pt x="777778" y="30137"/>
                  <a:pt x="770895" y="27310"/>
                  <a:pt x="763788" y="25226"/>
                </a:cubicBezTo>
                <a:lnTo>
                  <a:pt x="761519" y="12650"/>
                </a:lnTo>
                <a:cubicBezTo>
                  <a:pt x="760179" y="5320"/>
                  <a:pt x="753817" y="0"/>
                  <a:pt x="746376" y="0"/>
                </a:cubicBezTo>
                <a:lnTo>
                  <a:pt x="722042" y="37"/>
                </a:lnTo>
                <a:cubicBezTo>
                  <a:pt x="714601" y="37"/>
                  <a:pt x="708239" y="5358"/>
                  <a:pt x="706899" y="12687"/>
                </a:cubicBezTo>
                <a:lnTo>
                  <a:pt x="704630" y="25263"/>
                </a:lnTo>
                <a:cubicBezTo>
                  <a:pt x="697523" y="27347"/>
                  <a:pt x="690640" y="30212"/>
                  <a:pt x="684129" y="33746"/>
                </a:cubicBezTo>
                <a:lnTo>
                  <a:pt x="673599" y="26454"/>
                </a:lnTo>
                <a:cubicBezTo>
                  <a:pt x="667497" y="22212"/>
                  <a:pt x="659238" y="22956"/>
                  <a:pt x="653954" y="28203"/>
                </a:cubicBezTo>
                <a:lnTo>
                  <a:pt x="636764" y="45392"/>
                </a:lnTo>
                <a:cubicBezTo>
                  <a:pt x="631518" y="50638"/>
                  <a:pt x="630774" y="58899"/>
                  <a:pt x="634978" y="65038"/>
                </a:cubicBezTo>
                <a:lnTo>
                  <a:pt x="642271" y="75530"/>
                </a:lnTo>
                <a:cubicBezTo>
                  <a:pt x="638699" y="82042"/>
                  <a:pt x="635871" y="88924"/>
                  <a:pt x="633788" y="96031"/>
                </a:cubicBezTo>
                <a:lnTo>
                  <a:pt x="621212" y="98301"/>
                </a:lnTo>
                <a:cubicBezTo>
                  <a:pt x="613882" y="99640"/>
                  <a:pt x="608562" y="106002"/>
                  <a:pt x="608562" y="113443"/>
                </a:cubicBezTo>
                <a:lnTo>
                  <a:pt x="608562" y="137740"/>
                </a:lnTo>
                <a:cubicBezTo>
                  <a:pt x="608562" y="145181"/>
                  <a:pt x="613882" y="151543"/>
                  <a:pt x="621212" y="152883"/>
                </a:cubicBezTo>
                <a:lnTo>
                  <a:pt x="633788" y="155152"/>
                </a:lnTo>
                <a:cubicBezTo>
                  <a:pt x="635871" y="162259"/>
                  <a:pt x="638736" y="169143"/>
                  <a:pt x="642308" y="175653"/>
                </a:cubicBezTo>
                <a:lnTo>
                  <a:pt x="635016" y="186183"/>
                </a:lnTo>
                <a:cubicBezTo>
                  <a:pt x="630774" y="192285"/>
                  <a:pt x="631518" y="200545"/>
                  <a:pt x="636764" y="205828"/>
                </a:cubicBezTo>
                <a:lnTo>
                  <a:pt x="653954" y="223018"/>
                </a:lnTo>
                <a:cubicBezTo>
                  <a:pt x="659200" y="228264"/>
                  <a:pt x="667460" y="229008"/>
                  <a:pt x="673599" y="224767"/>
                </a:cubicBezTo>
                <a:lnTo>
                  <a:pt x="684092" y="217474"/>
                </a:lnTo>
                <a:cubicBezTo>
                  <a:pt x="690603" y="221046"/>
                  <a:pt x="697486" y="223874"/>
                  <a:pt x="704593" y="225957"/>
                </a:cubicBezTo>
                <a:lnTo>
                  <a:pt x="706862" y="238533"/>
                </a:lnTo>
                <a:cubicBezTo>
                  <a:pt x="708202" y="245863"/>
                  <a:pt x="714564" y="251183"/>
                  <a:pt x="722005" y="251183"/>
                </a:cubicBezTo>
                <a:lnTo>
                  <a:pt x="746302" y="251183"/>
                </a:lnTo>
                <a:cubicBezTo>
                  <a:pt x="753743" y="251183"/>
                  <a:pt x="760105" y="245863"/>
                  <a:pt x="761444" y="238533"/>
                </a:cubicBezTo>
                <a:lnTo>
                  <a:pt x="763714" y="225957"/>
                </a:lnTo>
                <a:cubicBezTo>
                  <a:pt x="770820" y="223874"/>
                  <a:pt x="777704" y="221009"/>
                  <a:pt x="784215" y="217474"/>
                </a:cubicBezTo>
                <a:lnTo>
                  <a:pt x="794744" y="224767"/>
                </a:lnTo>
                <a:cubicBezTo>
                  <a:pt x="800846" y="229008"/>
                  <a:pt x="809106" y="228264"/>
                  <a:pt x="814390" y="223018"/>
                </a:cubicBezTo>
                <a:lnTo>
                  <a:pt x="831580" y="205828"/>
                </a:lnTo>
                <a:cubicBezTo>
                  <a:pt x="836826" y="200582"/>
                  <a:pt x="837570" y="192322"/>
                  <a:pt x="833366" y="186183"/>
                </a:cubicBezTo>
                <a:lnTo>
                  <a:pt x="826073" y="175690"/>
                </a:lnTo>
                <a:cubicBezTo>
                  <a:pt x="829645" y="169179"/>
                  <a:pt x="832473" y="162296"/>
                  <a:pt x="834556" y="155189"/>
                </a:cubicBezTo>
                <a:lnTo>
                  <a:pt x="847132" y="152920"/>
                </a:lnTo>
                <a:cubicBezTo>
                  <a:pt x="854462" y="151580"/>
                  <a:pt x="859782" y="145218"/>
                  <a:pt x="859782" y="137777"/>
                </a:cubicBezTo>
                <a:lnTo>
                  <a:pt x="859782" y="113481"/>
                </a:lnTo>
                <a:cubicBezTo>
                  <a:pt x="859782" y="106039"/>
                  <a:pt x="854462" y="99677"/>
                  <a:pt x="847169" y="98338"/>
                </a:cubicBezTo>
                <a:close/>
                <a:moveTo>
                  <a:pt x="842258" y="135991"/>
                </a:moveTo>
                <a:lnTo>
                  <a:pt x="830129" y="138186"/>
                </a:lnTo>
                <a:cubicBezTo>
                  <a:pt x="824287" y="139265"/>
                  <a:pt x="819673" y="143470"/>
                  <a:pt x="818074" y="149162"/>
                </a:cubicBezTo>
                <a:cubicBezTo>
                  <a:pt x="816213" y="155822"/>
                  <a:pt x="813535" y="162259"/>
                  <a:pt x="810149" y="168286"/>
                </a:cubicBezTo>
                <a:cubicBezTo>
                  <a:pt x="807247" y="173458"/>
                  <a:pt x="807507" y="179709"/>
                  <a:pt x="810893" y="184583"/>
                </a:cubicBezTo>
                <a:lnTo>
                  <a:pt x="817925" y="194703"/>
                </a:lnTo>
                <a:lnTo>
                  <a:pt x="803302" y="209326"/>
                </a:lnTo>
                <a:lnTo>
                  <a:pt x="793182" y="202294"/>
                </a:lnTo>
                <a:cubicBezTo>
                  <a:pt x="788308" y="198908"/>
                  <a:pt x="782057" y="198610"/>
                  <a:pt x="776886" y="201549"/>
                </a:cubicBezTo>
                <a:cubicBezTo>
                  <a:pt x="770858" y="204935"/>
                  <a:pt x="764421" y="207614"/>
                  <a:pt x="757761" y="209475"/>
                </a:cubicBezTo>
                <a:cubicBezTo>
                  <a:pt x="752031" y="211074"/>
                  <a:pt x="747827" y="215688"/>
                  <a:pt x="746786" y="221529"/>
                </a:cubicBezTo>
                <a:lnTo>
                  <a:pt x="744590" y="233658"/>
                </a:lnTo>
                <a:lnTo>
                  <a:pt x="723903" y="233658"/>
                </a:lnTo>
                <a:lnTo>
                  <a:pt x="721708" y="221529"/>
                </a:lnTo>
                <a:cubicBezTo>
                  <a:pt x="720629" y="215688"/>
                  <a:pt x="716424" y="211074"/>
                  <a:pt x="710732" y="209475"/>
                </a:cubicBezTo>
                <a:cubicBezTo>
                  <a:pt x="704072" y="207614"/>
                  <a:pt x="697672" y="204935"/>
                  <a:pt x="691608" y="201549"/>
                </a:cubicBezTo>
                <a:cubicBezTo>
                  <a:pt x="686436" y="198647"/>
                  <a:pt x="680185" y="198908"/>
                  <a:pt x="675312" y="202294"/>
                </a:cubicBezTo>
                <a:lnTo>
                  <a:pt x="665191" y="209326"/>
                </a:lnTo>
                <a:lnTo>
                  <a:pt x="650568" y="194703"/>
                </a:lnTo>
                <a:lnTo>
                  <a:pt x="657601" y="184583"/>
                </a:lnTo>
                <a:cubicBezTo>
                  <a:pt x="660986" y="179708"/>
                  <a:pt x="661284" y="173457"/>
                  <a:pt x="658345" y="168286"/>
                </a:cubicBezTo>
                <a:cubicBezTo>
                  <a:pt x="654959" y="162259"/>
                  <a:pt x="652280" y="155822"/>
                  <a:pt x="650420" y="149199"/>
                </a:cubicBezTo>
                <a:cubicBezTo>
                  <a:pt x="648820" y="143469"/>
                  <a:pt x="644206" y="139265"/>
                  <a:pt x="638365" y="138223"/>
                </a:cubicBezTo>
                <a:lnTo>
                  <a:pt x="626236" y="136028"/>
                </a:lnTo>
                <a:lnTo>
                  <a:pt x="626236" y="115341"/>
                </a:lnTo>
                <a:lnTo>
                  <a:pt x="638365" y="113146"/>
                </a:lnTo>
                <a:cubicBezTo>
                  <a:pt x="644206" y="112104"/>
                  <a:pt x="648820" y="107862"/>
                  <a:pt x="650420" y="102170"/>
                </a:cubicBezTo>
                <a:cubicBezTo>
                  <a:pt x="652280" y="95510"/>
                  <a:pt x="654959" y="89073"/>
                  <a:pt x="658345" y="83046"/>
                </a:cubicBezTo>
                <a:cubicBezTo>
                  <a:pt x="661247" y="77874"/>
                  <a:pt x="660949" y="71623"/>
                  <a:pt x="657601" y="66749"/>
                </a:cubicBezTo>
                <a:lnTo>
                  <a:pt x="650568" y="56629"/>
                </a:lnTo>
                <a:lnTo>
                  <a:pt x="665191" y="42006"/>
                </a:lnTo>
                <a:lnTo>
                  <a:pt x="675312" y="49038"/>
                </a:lnTo>
                <a:cubicBezTo>
                  <a:pt x="680186" y="52424"/>
                  <a:pt x="686437" y="52722"/>
                  <a:pt x="691608" y="49783"/>
                </a:cubicBezTo>
                <a:cubicBezTo>
                  <a:pt x="697635" y="46397"/>
                  <a:pt x="704072" y="43718"/>
                  <a:pt x="710732" y="41857"/>
                </a:cubicBezTo>
                <a:cubicBezTo>
                  <a:pt x="716462" y="40258"/>
                  <a:pt x="720667" y="35644"/>
                  <a:pt x="721708" y="29803"/>
                </a:cubicBezTo>
                <a:lnTo>
                  <a:pt x="723903" y="17673"/>
                </a:lnTo>
                <a:lnTo>
                  <a:pt x="744590" y="17673"/>
                </a:lnTo>
                <a:lnTo>
                  <a:pt x="746786" y="29803"/>
                </a:lnTo>
                <a:cubicBezTo>
                  <a:pt x="747865" y="35644"/>
                  <a:pt x="752069" y="40258"/>
                  <a:pt x="757761" y="41857"/>
                </a:cubicBezTo>
                <a:cubicBezTo>
                  <a:pt x="764421" y="43718"/>
                  <a:pt x="770821" y="46397"/>
                  <a:pt x="776886" y="49783"/>
                </a:cubicBezTo>
                <a:cubicBezTo>
                  <a:pt x="782057" y="52685"/>
                  <a:pt x="788308" y="52424"/>
                  <a:pt x="793182" y="49038"/>
                </a:cubicBezTo>
                <a:lnTo>
                  <a:pt x="803302" y="42006"/>
                </a:lnTo>
                <a:lnTo>
                  <a:pt x="817925" y="56629"/>
                </a:lnTo>
                <a:lnTo>
                  <a:pt x="810893" y="66749"/>
                </a:lnTo>
                <a:cubicBezTo>
                  <a:pt x="807507" y="71624"/>
                  <a:pt x="807209" y="77875"/>
                  <a:pt x="810149" y="83046"/>
                </a:cubicBezTo>
                <a:cubicBezTo>
                  <a:pt x="813535" y="89073"/>
                  <a:pt x="816213" y="95510"/>
                  <a:pt x="818074" y="102170"/>
                </a:cubicBezTo>
                <a:cubicBezTo>
                  <a:pt x="819674" y="107863"/>
                  <a:pt x="824287" y="112105"/>
                  <a:pt x="830129" y="113146"/>
                </a:cubicBezTo>
                <a:lnTo>
                  <a:pt x="842258" y="115341"/>
                </a:lnTo>
                <a:close/>
                <a:moveTo>
                  <a:pt x="734168" y="72962"/>
                </a:moveTo>
                <a:cubicBezTo>
                  <a:pt x="705109" y="72962"/>
                  <a:pt x="681483" y="96589"/>
                  <a:pt x="681483" y="125647"/>
                </a:cubicBezTo>
                <a:cubicBezTo>
                  <a:pt x="681483" y="154706"/>
                  <a:pt x="705110" y="178332"/>
                  <a:pt x="734168" y="178332"/>
                </a:cubicBezTo>
                <a:cubicBezTo>
                  <a:pt x="763226" y="178332"/>
                  <a:pt x="786853" y="154705"/>
                  <a:pt x="786853" y="125647"/>
                </a:cubicBezTo>
                <a:cubicBezTo>
                  <a:pt x="786853" y="96588"/>
                  <a:pt x="763226" y="72962"/>
                  <a:pt x="734168" y="72962"/>
                </a:cubicBezTo>
                <a:close/>
                <a:moveTo>
                  <a:pt x="734168" y="160771"/>
                </a:moveTo>
                <a:cubicBezTo>
                  <a:pt x="714783" y="160771"/>
                  <a:pt x="699045" y="144996"/>
                  <a:pt x="699045" y="125648"/>
                </a:cubicBezTo>
                <a:cubicBezTo>
                  <a:pt x="699045" y="106263"/>
                  <a:pt x="714820" y="90524"/>
                  <a:pt x="734168" y="90524"/>
                </a:cubicBezTo>
                <a:cubicBezTo>
                  <a:pt x="753553" y="90524"/>
                  <a:pt x="769292" y="106300"/>
                  <a:pt x="769292" y="125648"/>
                </a:cubicBezTo>
                <a:cubicBezTo>
                  <a:pt x="769329" y="144995"/>
                  <a:pt x="753553" y="160771"/>
                  <a:pt x="734168" y="160771"/>
                </a:cubicBezTo>
                <a:close/>
                <a:moveTo>
                  <a:pt x="12687" y="152921"/>
                </a:moveTo>
                <a:lnTo>
                  <a:pt x="25263" y="155190"/>
                </a:lnTo>
                <a:cubicBezTo>
                  <a:pt x="27347" y="162297"/>
                  <a:pt x="30212" y="169181"/>
                  <a:pt x="33746" y="175691"/>
                </a:cubicBezTo>
                <a:lnTo>
                  <a:pt x="26454" y="186221"/>
                </a:lnTo>
                <a:cubicBezTo>
                  <a:pt x="22212" y="192323"/>
                  <a:pt x="22956" y="200583"/>
                  <a:pt x="28203" y="205866"/>
                </a:cubicBezTo>
                <a:lnTo>
                  <a:pt x="45392" y="223056"/>
                </a:lnTo>
                <a:cubicBezTo>
                  <a:pt x="50639" y="228302"/>
                  <a:pt x="58936" y="229046"/>
                  <a:pt x="65038" y="224805"/>
                </a:cubicBezTo>
                <a:lnTo>
                  <a:pt x="75568" y="217512"/>
                </a:lnTo>
                <a:cubicBezTo>
                  <a:pt x="82079" y="221084"/>
                  <a:pt x="88962" y="223912"/>
                  <a:pt x="96068" y="225995"/>
                </a:cubicBezTo>
                <a:lnTo>
                  <a:pt x="98338" y="238571"/>
                </a:lnTo>
                <a:cubicBezTo>
                  <a:pt x="99677" y="245901"/>
                  <a:pt x="106040" y="251221"/>
                  <a:pt x="113481" y="251221"/>
                </a:cubicBezTo>
                <a:lnTo>
                  <a:pt x="137777" y="251221"/>
                </a:lnTo>
                <a:cubicBezTo>
                  <a:pt x="145218" y="251221"/>
                  <a:pt x="151581" y="245901"/>
                  <a:pt x="152920" y="238571"/>
                </a:cubicBezTo>
                <a:lnTo>
                  <a:pt x="155189" y="225995"/>
                </a:lnTo>
                <a:cubicBezTo>
                  <a:pt x="162296" y="223912"/>
                  <a:pt x="169180" y="221047"/>
                  <a:pt x="175690" y="217512"/>
                </a:cubicBezTo>
                <a:lnTo>
                  <a:pt x="186220" y="224805"/>
                </a:lnTo>
                <a:cubicBezTo>
                  <a:pt x="192322" y="229046"/>
                  <a:pt x="200582" y="228302"/>
                  <a:pt x="205865" y="223056"/>
                </a:cubicBezTo>
                <a:lnTo>
                  <a:pt x="223055" y="205866"/>
                </a:lnTo>
                <a:cubicBezTo>
                  <a:pt x="228301" y="200620"/>
                  <a:pt x="229045" y="192360"/>
                  <a:pt x="224804" y="186221"/>
                </a:cubicBezTo>
                <a:lnTo>
                  <a:pt x="217511" y="175728"/>
                </a:lnTo>
                <a:cubicBezTo>
                  <a:pt x="221083" y="169217"/>
                  <a:pt x="223911" y="162334"/>
                  <a:pt x="225994" y="155227"/>
                </a:cubicBezTo>
                <a:lnTo>
                  <a:pt x="238570" y="152958"/>
                </a:lnTo>
                <a:cubicBezTo>
                  <a:pt x="245900" y="151618"/>
                  <a:pt x="251220" y="145256"/>
                  <a:pt x="251220" y="137815"/>
                </a:cubicBezTo>
                <a:lnTo>
                  <a:pt x="251220" y="113519"/>
                </a:lnTo>
                <a:cubicBezTo>
                  <a:pt x="251220" y="106077"/>
                  <a:pt x="245900" y="99715"/>
                  <a:pt x="238570" y="98376"/>
                </a:cubicBezTo>
                <a:lnTo>
                  <a:pt x="225994" y="96106"/>
                </a:lnTo>
                <a:cubicBezTo>
                  <a:pt x="223911" y="89000"/>
                  <a:pt x="221046" y="82116"/>
                  <a:pt x="217511" y="75605"/>
                </a:cubicBezTo>
                <a:lnTo>
                  <a:pt x="224804" y="65076"/>
                </a:lnTo>
                <a:cubicBezTo>
                  <a:pt x="229045" y="58974"/>
                  <a:pt x="228301" y="50714"/>
                  <a:pt x="223055" y="45430"/>
                </a:cubicBezTo>
                <a:lnTo>
                  <a:pt x="205865" y="28240"/>
                </a:lnTo>
                <a:cubicBezTo>
                  <a:pt x="200619" y="22957"/>
                  <a:pt x="192359" y="22213"/>
                  <a:pt x="186220" y="26455"/>
                </a:cubicBezTo>
                <a:lnTo>
                  <a:pt x="175690" y="33747"/>
                </a:lnTo>
                <a:cubicBezTo>
                  <a:pt x="169179" y="30175"/>
                  <a:pt x="162296" y="27347"/>
                  <a:pt x="155189" y="25264"/>
                </a:cubicBezTo>
                <a:lnTo>
                  <a:pt x="152920" y="12688"/>
                </a:lnTo>
                <a:cubicBezTo>
                  <a:pt x="151580" y="5358"/>
                  <a:pt x="145218" y="38"/>
                  <a:pt x="137777" y="38"/>
                </a:cubicBezTo>
                <a:lnTo>
                  <a:pt x="113481" y="38"/>
                </a:lnTo>
                <a:cubicBezTo>
                  <a:pt x="106039" y="38"/>
                  <a:pt x="99677" y="5358"/>
                  <a:pt x="98338" y="12688"/>
                </a:cubicBezTo>
                <a:lnTo>
                  <a:pt x="96068" y="25264"/>
                </a:lnTo>
                <a:cubicBezTo>
                  <a:pt x="88962" y="27348"/>
                  <a:pt x="82078" y="30212"/>
                  <a:pt x="75568" y="33747"/>
                </a:cubicBezTo>
                <a:lnTo>
                  <a:pt x="65038" y="26455"/>
                </a:lnTo>
                <a:cubicBezTo>
                  <a:pt x="58936" y="22213"/>
                  <a:pt x="50676" y="22957"/>
                  <a:pt x="45392" y="28203"/>
                </a:cubicBezTo>
                <a:lnTo>
                  <a:pt x="28203" y="45393"/>
                </a:lnTo>
                <a:cubicBezTo>
                  <a:pt x="22956" y="50639"/>
                  <a:pt x="22212" y="58899"/>
                  <a:pt x="26417" y="65038"/>
                </a:cubicBezTo>
                <a:lnTo>
                  <a:pt x="33709" y="75531"/>
                </a:lnTo>
                <a:cubicBezTo>
                  <a:pt x="30137" y="82042"/>
                  <a:pt x="27310" y="88925"/>
                  <a:pt x="25226" y="96032"/>
                </a:cubicBezTo>
                <a:lnTo>
                  <a:pt x="12650" y="98301"/>
                </a:lnTo>
                <a:cubicBezTo>
                  <a:pt x="5320" y="99641"/>
                  <a:pt x="0" y="106003"/>
                  <a:pt x="0" y="113444"/>
                </a:cubicBezTo>
                <a:lnTo>
                  <a:pt x="0" y="137741"/>
                </a:lnTo>
                <a:cubicBezTo>
                  <a:pt x="37" y="145219"/>
                  <a:pt x="5358" y="151581"/>
                  <a:pt x="12687" y="152922"/>
                </a:cubicBezTo>
                <a:close/>
                <a:moveTo>
                  <a:pt x="17562" y="115305"/>
                </a:moveTo>
                <a:lnTo>
                  <a:pt x="29691" y="113109"/>
                </a:lnTo>
                <a:cubicBezTo>
                  <a:pt x="35532" y="112067"/>
                  <a:pt x="40146" y="107826"/>
                  <a:pt x="41746" y="102134"/>
                </a:cubicBezTo>
                <a:cubicBezTo>
                  <a:pt x="43606" y="95474"/>
                  <a:pt x="46285" y="89037"/>
                  <a:pt x="49671" y="83009"/>
                </a:cubicBezTo>
                <a:cubicBezTo>
                  <a:pt x="52573" y="77838"/>
                  <a:pt x="52275" y="71587"/>
                  <a:pt x="48926" y="66713"/>
                </a:cubicBezTo>
                <a:lnTo>
                  <a:pt x="41894" y="56556"/>
                </a:lnTo>
                <a:lnTo>
                  <a:pt x="56517" y="41933"/>
                </a:lnTo>
                <a:lnTo>
                  <a:pt x="66637" y="48965"/>
                </a:lnTo>
                <a:cubicBezTo>
                  <a:pt x="71512" y="52351"/>
                  <a:pt x="77763" y="52648"/>
                  <a:pt x="82934" y="49709"/>
                </a:cubicBezTo>
                <a:cubicBezTo>
                  <a:pt x="88961" y="46323"/>
                  <a:pt x="95398" y="43644"/>
                  <a:pt x="102058" y="41784"/>
                </a:cubicBezTo>
                <a:cubicBezTo>
                  <a:pt x="107788" y="40184"/>
                  <a:pt x="111993" y="35570"/>
                  <a:pt x="113034" y="29729"/>
                </a:cubicBezTo>
                <a:lnTo>
                  <a:pt x="115229" y="17600"/>
                </a:lnTo>
                <a:lnTo>
                  <a:pt x="135916" y="17600"/>
                </a:lnTo>
                <a:lnTo>
                  <a:pt x="138111" y="29729"/>
                </a:lnTo>
                <a:cubicBezTo>
                  <a:pt x="139191" y="35571"/>
                  <a:pt x="143395" y="40185"/>
                  <a:pt x="149087" y="41784"/>
                </a:cubicBezTo>
                <a:cubicBezTo>
                  <a:pt x="155747" y="43644"/>
                  <a:pt x="162147" y="46323"/>
                  <a:pt x="168211" y="49709"/>
                </a:cubicBezTo>
                <a:cubicBezTo>
                  <a:pt x="173383" y="52611"/>
                  <a:pt x="179634" y="52351"/>
                  <a:pt x="184508" y="48965"/>
                </a:cubicBezTo>
                <a:lnTo>
                  <a:pt x="194628" y="41933"/>
                </a:lnTo>
                <a:lnTo>
                  <a:pt x="209251" y="56556"/>
                </a:lnTo>
                <a:lnTo>
                  <a:pt x="202219" y="66676"/>
                </a:lnTo>
                <a:cubicBezTo>
                  <a:pt x="198833" y="71550"/>
                  <a:pt x="198535" y="77801"/>
                  <a:pt x="201475" y="82972"/>
                </a:cubicBezTo>
                <a:cubicBezTo>
                  <a:pt x="204860" y="89000"/>
                  <a:pt x="207539" y="95437"/>
                  <a:pt x="209400" y="102096"/>
                </a:cubicBezTo>
                <a:cubicBezTo>
                  <a:pt x="211000" y="107789"/>
                  <a:pt x="215613" y="112031"/>
                  <a:pt x="221455" y="113072"/>
                </a:cubicBezTo>
                <a:lnTo>
                  <a:pt x="233584" y="115267"/>
                </a:lnTo>
                <a:lnTo>
                  <a:pt x="233584" y="135955"/>
                </a:lnTo>
                <a:lnTo>
                  <a:pt x="221455" y="138150"/>
                </a:lnTo>
                <a:cubicBezTo>
                  <a:pt x="215613" y="139229"/>
                  <a:pt x="210999" y="143433"/>
                  <a:pt x="209400" y="149126"/>
                </a:cubicBezTo>
                <a:cubicBezTo>
                  <a:pt x="207539" y="155786"/>
                  <a:pt x="204860" y="162222"/>
                  <a:pt x="201475" y="168250"/>
                </a:cubicBezTo>
                <a:cubicBezTo>
                  <a:pt x="198572" y="173422"/>
                  <a:pt x="198870" y="179672"/>
                  <a:pt x="202219" y="184546"/>
                </a:cubicBezTo>
                <a:lnTo>
                  <a:pt x="209251" y="194667"/>
                </a:lnTo>
                <a:lnTo>
                  <a:pt x="194628" y="209289"/>
                </a:lnTo>
                <a:lnTo>
                  <a:pt x="184508" y="202257"/>
                </a:lnTo>
                <a:cubicBezTo>
                  <a:pt x="179634" y="198871"/>
                  <a:pt x="173383" y="198574"/>
                  <a:pt x="168211" y="201513"/>
                </a:cubicBezTo>
                <a:cubicBezTo>
                  <a:pt x="162184" y="204899"/>
                  <a:pt x="155747" y="207578"/>
                  <a:pt x="149087" y="209438"/>
                </a:cubicBezTo>
                <a:cubicBezTo>
                  <a:pt x="143357" y="211038"/>
                  <a:pt x="139153" y="215652"/>
                  <a:pt x="138111" y="221493"/>
                </a:cubicBezTo>
                <a:lnTo>
                  <a:pt x="135916" y="233622"/>
                </a:lnTo>
                <a:lnTo>
                  <a:pt x="115229" y="233622"/>
                </a:lnTo>
                <a:lnTo>
                  <a:pt x="113034" y="221493"/>
                </a:lnTo>
                <a:cubicBezTo>
                  <a:pt x="111955" y="215651"/>
                  <a:pt x="107750" y="211037"/>
                  <a:pt x="102058" y="209438"/>
                </a:cubicBezTo>
                <a:cubicBezTo>
                  <a:pt x="95398" y="207578"/>
                  <a:pt x="88998" y="204899"/>
                  <a:pt x="82934" y="201513"/>
                </a:cubicBezTo>
                <a:cubicBezTo>
                  <a:pt x="77762" y="198611"/>
                  <a:pt x="71511" y="198871"/>
                  <a:pt x="66637" y="202257"/>
                </a:cubicBezTo>
                <a:lnTo>
                  <a:pt x="56517" y="209289"/>
                </a:lnTo>
                <a:lnTo>
                  <a:pt x="41894" y="194667"/>
                </a:lnTo>
                <a:lnTo>
                  <a:pt x="48926" y="184546"/>
                </a:lnTo>
                <a:cubicBezTo>
                  <a:pt x="52312" y="179672"/>
                  <a:pt x="52610" y="173421"/>
                  <a:pt x="49671" y="168250"/>
                </a:cubicBezTo>
                <a:cubicBezTo>
                  <a:pt x="46285" y="162222"/>
                  <a:pt x="43606" y="155785"/>
                  <a:pt x="41746" y="149126"/>
                </a:cubicBezTo>
                <a:cubicBezTo>
                  <a:pt x="40146" y="143396"/>
                  <a:pt x="35532" y="139191"/>
                  <a:pt x="29691" y="138150"/>
                </a:cubicBezTo>
                <a:lnTo>
                  <a:pt x="17562" y="135955"/>
                </a:lnTo>
                <a:close/>
                <a:moveTo>
                  <a:pt x="125651" y="178296"/>
                </a:moveTo>
                <a:cubicBezTo>
                  <a:pt x="154710" y="178296"/>
                  <a:pt x="178336" y="154669"/>
                  <a:pt x="178336" y="125612"/>
                </a:cubicBezTo>
                <a:cubicBezTo>
                  <a:pt x="178336" y="96554"/>
                  <a:pt x="154709" y="72927"/>
                  <a:pt x="125651" y="72927"/>
                </a:cubicBezTo>
                <a:cubicBezTo>
                  <a:pt x="96592" y="72927"/>
                  <a:pt x="72967" y="96554"/>
                  <a:pt x="72967" y="125612"/>
                </a:cubicBezTo>
                <a:cubicBezTo>
                  <a:pt x="72967" y="154669"/>
                  <a:pt x="96593" y="178296"/>
                  <a:pt x="125651" y="178296"/>
                </a:cubicBezTo>
                <a:close/>
                <a:moveTo>
                  <a:pt x="125651" y="90487"/>
                </a:moveTo>
                <a:cubicBezTo>
                  <a:pt x="145037" y="90487"/>
                  <a:pt x="160775" y="106262"/>
                  <a:pt x="160775" y="125611"/>
                </a:cubicBezTo>
                <a:cubicBezTo>
                  <a:pt x="160775" y="144996"/>
                  <a:pt x="144999" y="160734"/>
                  <a:pt x="125651" y="160734"/>
                </a:cubicBezTo>
                <a:cubicBezTo>
                  <a:pt x="106266" y="160734"/>
                  <a:pt x="90528" y="144959"/>
                  <a:pt x="90528" y="125611"/>
                </a:cubicBezTo>
                <a:cubicBezTo>
                  <a:pt x="90491" y="106263"/>
                  <a:pt x="106266" y="90487"/>
                  <a:pt x="125651" y="90487"/>
                </a:cubicBezTo>
                <a:close/>
                <a:moveTo>
                  <a:pt x="847170" y="706898"/>
                </a:moveTo>
                <a:lnTo>
                  <a:pt x="834594" y="704628"/>
                </a:lnTo>
                <a:cubicBezTo>
                  <a:pt x="832511" y="697521"/>
                  <a:pt x="829646" y="690638"/>
                  <a:pt x="826111" y="684127"/>
                </a:cubicBezTo>
                <a:lnTo>
                  <a:pt x="833404" y="673597"/>
                </a:lnTo>
                <a:cubicBezTo>
                  <a:pt x="837645" y="667495"/>
                  <a:pt x="836901" y="659236"/>
                  <a:pt x="831655" y="653952"/>
                </a:cubicBezTo>
                <a:lnTo>
                  <a:pt x="814465" y="636762"/>
                </a:lnTo>
                <a:cubicBezTo>
                  <a:pt x="809219" y="631516"/>
                  <a:pt x="800959" y="630772"/>
                  <a:pt x="794820" y="634976"/>
                </a:cubicBezTo>
                <a:lnTo>
                  <a:pt x="784290" y="642269"/>
                </a:lnTo>
                <a:cubicBezTo>
                  <a:pt x="777779" y="638697"/>
                  <a:pt x="770896" y="635869"/>
                  <a:pt x="763789" y="633786"/>
                </a:cubicBezTo>
                <a:lnTo>
                  <a:pt x="761520" y="621210"/>
                </a:lnTo>
                <a:cubicBezTo>
                  <a:pt x="760180" y="613880"/>
                  <a:pt x="753818" y="608560"/>
                  <a:pt x="746377" y="608560"/>
                </a:cubicBezTo>
                <a:lnTo>
                  <a:pt x="722043" y="608597"/>
                </a:lnTo>
                <a:cubicBezTo>
                  <a:pt x="714602" y="608597"/>
                  <a:pt x="708240" y="613918"/>
                  <a:pt x="706900" y="621247"/>
                </a:cubicBezTo>
                <a:lnTo>
                  <a:pt x="704631" y="633823"/>
                </a:lnTo>
                <a:cubicBezTo>
                  <a:pt x="697524" y="635907"/>
                  <a:pt x="690640" y="638771"/>
                  <a:pt x="684130" y="642306"/>
                </a:cubicBezTo>
                <a:lnTo>
                  <a:pt x="673600" y="635014"/>
                </a:lnTo>
                <a:cubicBezTo>
                  <a:pt x="667498" y="630772"/>
                  <a:pt x="659238" y="631516"/>
                  <a:pt x="653955" y="636799"/>
                </a:cubicBezTo>
                <a:lnTo>
                  <a:pt x="636802" y="653952"/>
                </a:lnTo>
                <a:cubicBezTo>
                  <a:pt x="631556" y="659198"/>
                  <a:pt x="630812" y="667459"/>
                  <a:pt x="635016" y="673597"/>
                </a:cubicBezTo>
                <a:lnTo>
                  <a:pt x="642309" y="684127"/>
                </a:lnTo>
                <a:cubicBezTo>
                  <a:pt x="638737" y="690638"/>
                  <a:pt x="635909" y="697521"/>
                  <a:pt x="633826" y="704628"/>
                </a:cubicBezTo>
                <a:lnTo>
                  <a:pt x="621250" y="706898"/>
                </a:lnTo>
                <a:cubicBezTo>
                  <a:pt x="613920" y="708237"/>
                  <a:pt x="608600" y="714599"/>
                  <a:pt x="608600" y="722040"/>
                </a:cubicBezTo>
                <a:lnTo>
                  <a:pt x="608600" y="746337"/>
                </a:lnTo>
                <a:cubicBezTo>
                  <a:pt x="608600" y="753778"/>
                  <a:pt x="613920" y="760140"/>
                  <a:pt x="621250" y="761480"/>
                </a:cubicBezTo>
                <a:lnTo>
                  <a:pt x="633826" y="763749"/>
                </a:lnTo>
                <a:cubicBezTo>
                  <a:pt x="635909" y="770856"/>
                  <a:pt x="638774" y="777740"/>
                  <a:pt x="642346" y="784250"/>
                </a:cubicBezTo>
                <a:lnTo>
                  <a:pt x="635054" y="794780"/>
                </a:lnTo>
                <a:cubicBezTo>
                  <a:pt x="630812" y="800919"/>
                  <a:pt x="631556" y="809142"/>
                  <a:pt x="636840" y="814425"/>
                </a:cubicBezTo>
                <a:lnTo>
                  <a:pt x="654029" y="831615"/>
                </a:lnTo>
                <a:cubicBezTo>
                  <a:pt x="659275" y="836861"/>
                  <a:pt x="667536" y="837642"/>
                  <a:pt x="673675" y="833401"/>
                </a:cubicBezTo>
                <a:lnTo>
                  <a:pt x="684167" y="826108"/>
                </a:lnTo>
                <a:cubicBezTo>
                  <a:pt x="690679" y="829680"/>
                  <a:pt x="697561" y="832508"/>
                  <a:pt x="704668" y="834591"/>
                </a:cubicBezTo>
                <a:lnTo>
                  <a:pt x="706938" y="847167"/>
                </a:lnTo>
                <a:cubicBezTo>
                  <a:pt x="708277" y="854497"/>
                  <a:pt x="714639" y="859817"/>
                  <a:pt x="722080" y="859817"/>
                </a:cubicBezTo>
                <a:lnTo>
                  <a:pt x="746377" y="859817"/>
                </a:lnTo>
                <a:cubicBezTo>
                  <a:pt x="753818" y="859817"/>
                  <a:pt x="760180" y="854497"/>
                  <a:pt x="761520" y="847167"/>
                </a:cubicBezTo>
                <a:lnTo>
                  <a:pt x="763789" y="834591"/>
                </a:lnTo>
                <a:cubicBezTo>
                  <a:pt x="770896" y="832508"/>
                  <a:pt x="777780" y="829643"/>
                  <a:pt x="784290" y="826108"/>
                </a:cubicBezTo>
                <a:lnTo>
                  <a:pt x="794820" y="833401"/>
                </a:lnTo>
                <a:cubicBezTo>
                  <a:pt x="800922" y="837642"/>
                  <a:pt x="809182" y="836898"/>
                  <a:pt x="814465" y="831652"/>
                </a:cubicBezTo>
                <a:lnTo>
                  <a:pt x="831655" y="814462"/>
                </a:lnTo>
                <a:cubicBezTo>
                  <a:pt x="836901" y="809216"/>
                  <a:pt x="837645" y="800956"/>
                  <a:pt x="833441" y="794817"/>
                </a:cubicBezTo>
                <a:lnTo>
                  <a:pt x="826148" y="784324"/>
                </a:lnTo>
                <a:cubicBezTo>
                  <a:pt x="829720" y="777813"/>
                  <a:pt x="832548" y="770930"/>
                  <a:pt x="834631" y="763824"/>
                </a:cubicBezTo>
                <a:lnTo>
                  <a:pt x="847207" y="761554"/>
                </a:lnTo>
                <a:cubicBezTo>
                  <a:pt x="854537" y="760215"/>
                  <a:pt x="859858" y="753852"/>
                  <a:pt x="859858" y="746411"/>
                </a:cubicBezTo>
                <a:lnTo>
                  <a:pt x="859858" y="722115"/>
                </a:lnTo>
                <a:cubicBezTo>
                  <a:pt x="859783" y="714599"/>
                  <a:pt x="854462" y="708237"/>
                  <a:pt x="847170" y="706897"/>
                </a:cubicBezTo>
                <a:close/>
                <a:moveTo>
                  <a:pt x="842259" y="744551"/>
                </a:moveTo>
                <a:lnTo>
                  <a:pt x="830130" y="746746"/>
                </a:lnTo>
                <a:cubicBezTo>
                  <a:pt x="824288" y="747825"/>
                  <a:pt x="819674" y="752029"/>
                  <a:pt x="818075" y="757722"/>
                </a:cubicBezTo>
                <a:cubicBezTo>
                  <a:pt x="816214" y="764382"/>
                  <a:pt x="813536" y="770819"/>
                  <a:pt x="810150" y="776846"/>
                </a:cubicBezTo>
                <a:cubicBezTo>
                  <a:pt x="807248" y="782018"/>
                  <a:pt x="807508" y="788268"/>
                  <a:pt x="810894" y="793142"/>
                </a:cubicBezTo>
                <a:lnTo>
                  <a:pt x="817926" y="803263"/>
                </a:lnTo>
                <a:lnTo>
                  <a:pt x="803303" y="817885"/>
                </a:lnTo>
                <a:lnTo>
                  <a:pt x="793183" y="810853"/>
                </a:lnTo>
                <a:cubicBezTo>
                  <a:pt x="788309" y="807467"/>
                  <a:pt x="782058" y="807170"/>
                  <a:pt x="776887" y="810109"/>
                </a:cubicBezTo>
                <a:cubicBezTo>
                  <a:pt x="770859" y="813495"/>
                  <a:pt x="764422" y="816174"/>
                  <a:pt x="757762" y="818034"/>
                </a:cubicBezTo>
                <a:cubicBezTo>
                  <a:pt x="752032" y="819634"/>
                  <a:pt x="747828" y="824248"/>
                  <a:pt x="746787" y="830089"/>
                </a:cubicBezTo>
                <a:lnTo>
                  <a:pt x="744591" y="842218"/>
                </a:lnTo>
                <a:lnTo>
                  <a:pt x="723904" y="842218"/>
                </a:lnTo>
                <a:lnTo>
                  <a:pt x="721709" y="830089"/>
                </a:lnTo>
                <a:cubicBezTo>
                  <a:pt x="720667" y="824248"/>
                  <a:pt x="716425" y="819633"/>
                  <a:pt x="710733" y="818034"/>
                </a:cubicBezTo>
                <a:cubicBezTo>
                  <a:pt x="704073" y="816174"/>
                  <a:pt x="697636" y="813495"/>
                  <a:pt x="691609" y="810109"/>
                </a:cubicBezTo>
                <a:cubicBezTo>
                  <a:pt x="686437" y="807207"/>
                  <a:pt x="680186" y="807505"/>
                  <a:pt x="675312" y="810853"/>
                </a:cubicBezTo>
                <a:lnTo>
                  <a:pt x="665192" y="817885"/>
                </a:lnTo>
                <a:lnTo>
                  <a:pt x="650569" y="803263"/>
                </a:lnTo>
                <a:lnTo>
                  <a:pt x="657601" y="793142"/>
                </a:lnTo>
                <a:cubicBezTo>
                  <a:pt x="660987" y="788268"/>
                  <a:pt x="661285" y="782017"/>
                  <a:pt x="658346" y="776846"/>
                </a:cubicBezTo>
                <a:cubicBezTo>
                  <a:pt x="654960" y="770818"/>
                  <a:pt x="652281" y="764382"/>
                  <a:pt x="650421" y="757759"/>
                </a:cubicBezTo>
                <a:cubicBezTo>
                  <a:pt x="648821" y="752029"/>
                  <a:pt x="644207" y="747824"/>
                  <a:pt x="638366" y="746783"/>
                </a:cubicBezTo>
                <a:lnTo>
                  <a:pt x="626237" y="744588"/>
                </a:lnTo>
                <a:lnTo>
                  <a:pt x="626237" y="723901"/>
                </a:lnTo>
                <a:lnTo>
                  <a:pt x="638366" y="721705"/>
                </a:lnTo>
                <a:cubicBezTo>
                  <a:pt x="644207" y="720626"/>
                  <a:pt x="648821" y="716422"/>
                  <a:pt x="650421" y="710730"/>
                </a:cubicBezTo>
                <a:cubicBezTo>
                  <a:pt x="652281" y="704070"/>
                  <a:pt x="654960" y="697633"/>
                  <a:pt x="658346" y="691605"/>
                </a:cubicBezTo>
                <a:cubicBezTo>
                  <a:pt x="661248" y="686434"/>
                  <a:pt x="660950" y="680183"/>
                  <a:pt x="657601" y="675309"/>
                </a:cubicBezTo>
                <a:lnTo>
                  <a:pt x="650569" y="665189"/>
                </a:lnTo>
                <a:lnTo>
                  <a:pt x="665192" y="650566"/>
                </a:lnTo>
                <a:lnTo>
                  <a:pt x="675312" y="657598"/>
                </a:lnTo>
                <a:cubicBezTo>
                  <a:pt x="680187" y="660984"/>
                  <a:pt x="686438" y="661282"/>
                  <a:pt x="691609" y="658342"/>
                </a:cubicBezTo>
                <a:cubicBezTo>
                  <a:pt x="697636" y="654956"/>
                  <a:pt x="704073" y="652278"/>
                  <a:pt x="710733" y="650417"/>
                </a:cubicBezTo>
                <a:cubicBezTo>
                  <a:pt x="716463" y="648817"/>
                  <a:pt x="720668" y="644204"/>
                  <a:pt x="721709" y="638362"/>
                </a:cubicBezTo>
                <a:lnTo>
                  <a:pt x="723904" y="626233"/>
                </a:lnTo>
                <a:lnTo>
                  <a:pt x="744591" y="626233"/>
                </a:lnTo>
                <a:lnTo>
                  <a:pt x="746787" y="638362"/>
                </a:lnTo>
                <a:cubicBezTo>
                  <a:pt x="747866" y="644204"/>
                  <a:pt x="752070" y="648818"/>
                  <a:pt x="757762" y="650417"/>
                </a:cubicBezTo>
                <a:cubicBezTo>
                  <a:pt x="764422" y="652278"/>
                  <a:pt x="770859" y="654956"/>
                  <a:pt x="776887" y="658342"/>
                </a:cubicBezTo>
                <a:cubicBezTo>
                  <a:pt x="782058" y="661244"/>
                  <a:pt x="788309" y="660947"/>
                  <a:pt x="793183" y="657598"/>
                </a:cubicBezTo>
                <a:lnTo>
                  <a:pt x="803303" y="650566"/>
                </a:lnTo>
                <a:lnTo>
                  <a:pt x="817926" y="665189"/>
                </a:lnTo>
                <a:lnTo>
                  <a:pt x="810894" y="675309"/>
                </a:lnTo>
                <a:cubicBezTo>
                  <a:pt x="807508" y="680183"/>
                  <a:pt x="807210" y="686434"/>
                  <a:pt x="810150" y="691605"/>
                </a:cubicBezTo>
                <a:cubicBezTo>
                  <a:pt x="813536" y="697633"/>
                  <a:pt x="816214" y="704070"/>
                  <a:pt x="818075" y="710730"/>
                </a:cubicBezTo>
                <a:cubicBezTo>
                  <a:pt x="819675" y="716460"/>
                  <a:pt x="824288" y="720664"/>
                  <a:pt x="830130" y="721705"/>
                </a:cubicBezTo>
                <a:lnTo>
                  <a:pt x="842259" y="723901"/>
                </a:lnTo>
                <a:close/>
                <a:moveTo>
                  <a:pt x="734169" y="681522"/>
                </a:moveTo>
                <a:cubicBezTo>
                  <a:pt x="705110" y="681522"/>
                  <a:pt x="681484" y="705149"/>
                  <a:pt x="681484" y="734207"/>
                </a:cubicBezTo>
                <a:cubicBezTo>
                  <a:pt x="681484" y="763265"/>
                  <a:pt x="705111" y="786891"/>
                  <a:pt x="734169" y="786891"/>
                </a:cubicBezTo>
                <a:cubicBezTo>
                  <a:pt x="763227" y="786891"/>
                  <a:pt x="786854" y="763265"/>
                  <a:pt x="786854" y="734207"/>
                </a:cubicBezTo>
                <a:cubicBezTo>
                  <a:pt x="786854" y="705149"/>
                  <a:pt x="763227" y="681522"/>
                  <a:pt x="734169" y="681522"/>
                </a:cubicBezTo>
                <a:close/>
                <a:moveTo>
                  <a:pt x="734169" y="769331"/>
                </a:moveTo>
                <a:cubicBezTo>
                  <a:pt x="714784" y="769331"/>
                  <a:pt x="699046" y="753556"/>
                  <a:pt x="699046" y="734208"/>
                </a:cubicBezTo>
                <a:cubicBezTo>
                  <a:pt x="699046" y="714822"/>
                  <a:pt x="714821" y="699084"/>
                  <a:pt x="734169" y="699084"/>
                </a:cubicBezTo>
                <a:cubicBezTo>
                  <a:pt x="753554" y="699084"/>
                  <a:pt x="769292" y="714859"/>
                  <a:pt x="769292" y="734208"/>
                </a:cubicBezTo>
                <a:cubicBezTo>
                  <a:pt x="769330" y="753555"/>
                  <a:pt x="753554" y="769331"/>
                  <a:pt x="734169" y="769331"/>
                </a:cubicBezTo>
                <a:close/>
                <a:moveTo>
                  <a:pt x="238612" y="706898"/>
                </a:moveTo>
                <a:lnTo>
                  <a:pt x="226036" y="704628"/>
                </a:lnTo>
                <a:cubicBezTo>
                  <a:pt x="223952" y="697521"/>
                  <a:pt x="221087" y="690638"/>
                  <a:pt x="217553" y="684127"/>
                </a:cubicBezTo>
                <a:lnTo>
                  <a:pt x="224845" y="673597"/>
                </a:lnTo>
                <a:cubicBezTo>
                  <a:pt x="229087" y="667495"/>
                  <a:pt x="228343" y="659236"/>
                  <a:pt x="223097" y="653952"/>
                </a:cubicBezTo>
                <a:lnTo>
                  <a:pt x="205907" y="636762"/>
                </a:lnTo>
                <a:cubicBezTo>
                  <a:pt x="200661" y="631516"/>
                  <a:pt x="192400" y="630772"/>
                  <a:pt x="186262" y="634976"/>
                </a:cubicBezTo>
                <a:lnTo>
                  <a:pt x="175732" y="642269"/>
                </a:lnTo>
                <a:cubicBezTo>
                  <a:pt x="169220" y="638697"/>
                  <a:pt x="162338" y="635869"/>
                  <a:pt x="155231" y="633786"/>
                </a:cubicBezTo>
                <a:lnTo>
                  <a:pt x="152961" y="621210"/>
                </a:lnTo>
                <a:cubicBezTo>
                  <a:pt x="151622" y="613880"/>
                  <a:pt x="145260" y="608560"/>
                  <a:pt x="137819" y="608560"/>
                </a:cubicBezTo>
                <a:lnTo>
                  <a:pt x="113522" y="608560"/>
                </a:lnTo>
                <a:cubicBezTo>
                  <a:pt x="106081" y="608560"/>
                  <a:pt x="99719" y="613880"/>
                  <a:pt x="98379" y="621210"/>
                </a:cubicBezTo>
                <a:lnTo>
                  <a:pt x="96110" y="633786"/>
                </a:lnTo>
                <a:cubicBezTo>
                  <a:pt x="89003" y="635869"/>
                  <a:pt x="82119" y="638734"/>
                  <a:pt x="75609" y="642269"/>
                </a:cubicBezTo>
                <a:lnTo>
                  <a:pt x="65079" y="634976"/>
                </a:lnTo>
                <a:cubicBezTo>
                  <a:pt x="58977" y="630735"/>
                  <a:pt x="50717" y="631479"/>
                  <a:pt x="45434" y="636725"/>
                </a:cubicBezTo>
                <a:lnTo>
                  <a:pt x="28244" y="653952"/>
                </a:lnTo>
                <a:cubicBezTo>
                  <a:pt x="22998" y="659198"/>
                  <a:pt x="22254" y="667458"/>
                  <a:pt x="26458" y="673597"/>
                </a:cubicBezTo>
                <a:lnTo>
                  <a:pt x="33751" y="684090"/>
                </a:lnTo>
                <a:cubicBezTo>
                  <a:pt x="30179" y="690601"/>
                  <a:pt x="27351" y="697484"/>
                  <a:pt x="25268" y="704591"/>
                </a:cubicBezTo>
                <a:lnTo>
                  <a:pt x="12692" y="706860"/>
                </a:lnTo>
                <a:cubicBezTo>
                  <a:pt x="5362" y="708200"/>
                  <a:pt x="42" y="714562"/>
                  <a:pt x="42" y="722003"/>
                </a:cubicBezTo>
                <a:lnTo>
                  <a:pt x="42" y="746299"/>
                </a:lnTo>
                <a:cubicBezTo>
                  <a:pt x="42" y="753741"/>
                  <a:pt x="5362" y="760103"/>
                  <a:pt x="12692" y="761442"/>
                </a:cubicBezTo>
                <a:lnTo>
                  <a:pt x="25268" y="763712"/>
                </a:lnTo>
                <a:cubicBezTo>
                  <a:pt x="27351" y="770818"/>
                  <a:pt x="30216" y="777702"/>
                  <a:pt x="33751" y="784213"/>
                </a:cubicBezTo>
                <a:lnTo>
                  <a:pt x="26458" y="794780"/>
                </a:lnTo>
                <a:cubicBezTo>
                  <a:pt x="22217" y="800919"/>
                  <a:pt x="22961" y="809141"/>
                  <a:pt x="28244" y="814425"/>
                </a:cubicBezTo>
                <a:lnTo>
                  <a:pt x="45434" y="831615"/>
                </a:lnTo>
                <a:cubicBezTo>
                  <a:pt x="50680" y="836898"/>
                  <a:pt x="58940" y="837605"/>
                  <a:pt x="65079" y="833401"/>
                </a:cubicBezTo>
                <a:lnTo>
                  <a:pt x="75609" y="826108"/>
                </a:lnTo>
                <a:cubicBezTo>
                  <a:pt x="82120" y="829680"/>
                  <a:pt x="89003" y="832508"/>
                  <a:pt x="96110" y="834591"/>
                </a:cubicBezTo>
                <a:lnTo>
                  <a:pt x="98379" y="847167"/>
                </a:lnTo>
                <a:cubicBezTo>
                  <a:pt x="99719" y="854497"/>
                  <a:pt x="106081" y="859817"/>
                  <a:pt x="113522" y="859817"/>
                </a:cubicBezTo>
                <a:lnTo>
                  <a:pt x="137819" y="859817"/>
                </a:lnTo>
                <a:cubicBezTo>
                  <a:pt x="145260" y="859817"/>
                  <a:pt x="151622" y="854497"/>
                  <a:pt x="152961" y="847167"/>
                </a:cubicBezTo>
                <a:lnTo>
                  <a:pt x="155231" y="834591"/>
                </a:lnTo>
                <a:cubicBezTo>
                  <a:pt x="162338" y="832508"/>
                  <a:pt x="169221" y="829643"/>
                  <a:pt x="175732" y="826108"/>
                </a:cubicBezTo>
                <a:lnTo>
                  <a:pt x="186262" y="833401"/>
                </a:lnTo>
                <a:cubicBezTo>
                  <a:pt x="192363" y="837642"/>
                  <a:pt x="200623" y="836898"/>
                  <a:pt x="205907" y="831652"/>
                </a:cubicBezTo>
                <a:lnTo>
                  <a:pt x="223097" y="814462"/>
                </a:lnTo>
                <a:cubicBezTo>
                  <a:pt x="228343" y="809216"/>
                  <a:pt x="229087" y="800956"/>
                  <a:pt x="224845" y="794817"/>
                </a:cubicBezTo>
                <a:lnTo>
                  <a:pt x="217553" y="784287"/>
                </a:lnTo>
                <a:cubicBezTo>
                  <a:pt x="221125" y="777776"/>
                  <a:pt x="223952" y="770893"/>
                  <a:pt x="226036" y="763786"/>
                </a:cubicBezTo>
                <a:lnTo>
                  <a:pt x="238612" y="761517"/>
                </a:lnTo>
                <a:cubicBezTo>
                  <a:pt x="245942" y="760177"/>
                  <a:pt x="251262" y="753815"/>
                  <a:pt x="251262" y="746374"/>
                </a:cubicBezTo>
                <a:lnTo>
                  <a:pt x="251262" y="722077"/>
                </a:lnTo>
                <a:cubicBezTo>
                  <a:pt x="251225" y="714599"/>
                  <a:pt x="245941" y="708237"/>
                  <a:pt x="238612" y="706897"/>
                </a:cubicBezTo>
                <a:close/>
                <a:moveTo>
                  <a:pt x="233701" y="744551"/>
                </a:moveTo>
                <a:lnTo>
                  <a:pt x="221571" y="746746"/>
                </a:lnTo>
                <a:cubicBezTo>
                  <a:pt x="215730" y="747825"/>
                  <a:pt x="211116" y="752029"/>
                  <a:pt x="209517" y="757722"/>
                </a:cubicBezTo>
                <a:cubicBezTo>
                  <a:pt x="207656" y="764382"/>
                  <a:pt x="204977" y="770819"/>
                  <a:pt x="201591" y="776846"/>
                </a:cubicBezTo>
                <a:cubicBezTo>
                  <a:pt x="198689" y="782018"/>
                  <a:pt x="198987" y="788268"/>
                  <a:pt x="202336" y="793142"/>
                </a:cubicBezTo>
                <a:lnTo>
                  <a:pt x="209368" y="803263"/>
                </a:lnTo>
                <a:lnTo>
                  <a:pt x="194745" y="817885"/>
                </a:lnTo>
                <a:lnTo>
                  <a:pt x="184588" y="810853"/>
                </a:lnTo>
                <a:cubicBezTo>
                  <a:pt x="179713" y="807467"/>
                  <a:pt x="173462" y="807170"/>
                  <a:pt x="168291" y="810109"/>
                </a:cubicBezTo>
                <a:cubicBezTo>
                  <a:pt x="162264" y="813495"/>
                  <a:pt x="155827" y="816174"/>
                  <a:pt x="149167" y="818034"/>
                </a:cubicBezTo>
                <a:cubicBezTo>
                  <a:pt x="143437" y="819634"/>
                  <a:pt x="139232" y="824248"/>
                  <a:pt x="138191" y="830089"/>
                </a:cubicBezTo>
                <a:lnTo>
                  <a:pt x="135996" y="842218"/>
                </a:lnTo>
                <a:lnTo>
                  <a:pt x="115309" y="842218"/>
                </a:lnTo>
                <a:lnTo>
                  <a:pt x="113113" y="830089"/>
                </a:lnTo>
                <a:cubicBezTo>
                  <a:pt x="112072" y="824248"/>
                  <a:pt x="107830" y="819633"/>
                  <a:pt x="102138" y="818034"/>
                </a:cubicBezTo>
                <a:cubicBezTo>
                  <a:pt x="95478" y="816174"/>
                  <a:pt x="89041" y="813495"/>
                  <a:pt x="83013" y="810109"/>
                </a:cubicBezTo>
                <a:cubicBezTo>
                  <a:pt x="77842" y="807207"/>
                  <a:pt x="71591" y="807505"/>
                  <a:pt x="66717" y="810853"/>
                </a:cubicBezTo>
                <a:lnTo>
                  <a:pt x="56597" y="817885"/>
                </a:lnTo>
                <a:lnTo>
                  <a:pt x="41974" y="803263"/>
                </a:lnTo>
                <a:lnTo>
                  <a:pt x="49006" y="793142"/>
                </a:lnTo>
                <a:cubicBezTo>
                  <a:pt x="52392" y="788268"/>
                  <a:pt x="52690" y="782017"/>
                  <a:pt x="49750" y="776846"/>
                </a:cubicBezTo>
                <a:cubicBezTo>
                  <a:pt x="46364" y="770818"/>
                  <a:pt x="43686" y="764382"/>
                  <a:pt x="41825" y="757722"/>
                </a:cubicBezTo>
                <a:cubicBezTo>
                  <a:pt x="40225" y="751992"/>
                  <a:pt x="35612" y="747787"/>
                  <a:pt x="29770" y="746746"/>
                </a:cubicBezTo>
                <a:lnTo>
                  <a:pt x="17641" y="744551"/>
                </a:lnTo>
                <a:lnTo>
                  <a:pt x="17641" y="723863"/>
                </a:lnTo>
                <a:lnTo>
                  <a:pt x="29770" y="721668"/>
                </a:lnTo>
                <a:cubicBezTo>
                  <a:pt x="35612" y="720589"/>
                  <a:pt x="40226" y="716385"/>
                  <a:pt x="41825" y="710693"/>
                </a:cubicBezTo>
                <a:cubicBezTo>
                  <a:pt x="43686" y="704033"/>
                  <a:pt x="46364" y="697596"/>
                  <a:pt x="49750" y="691568"/>
                </a:cubicBezTo>
                <a:cubicBezTo>
                  <a:pt x="52652" y="686397"/>
                  <a:pt x="52355" y="680146"/>
                  <a:pt x="49006" y="675272"/>
                </a:cubicBezTo>
                <a:lnTo>
                  <a:pt x="41900" y="665114"/>
                </a:lnTo>
                <a:lnTo>
                  <a:pt x="56522" y="650492"/>
                </a:lnTo>
                <a:lnTo>
                  <a:pt x="66643" y="657524"/>
                </a:lnTo>
                <a:cubicBezTo>
                  <a:pt x="71517" y="660910"/>
                  <a:pt x="77768" y="661207"/>
                  <a:pt x="82939" y="658268"/>
                </a:cubicBezTo>
                <a:cubicBezTo>
                  <a:pt x="88967" y="654882"/>
                  <a:pt x="95404" y="652203"/>
                  <a:pt x="102063" y="650343"/>
                </a:cubicBezTo>
                <a:cubicBezTo>
                  <a:pt x="107793" y="648743"/>
                  <a:pt x="111998" y="644129"/>
                  <a:pt x="113039" y="638288"/>
                </a:cubicBezTo>
                <a:lnTo>
                  <a:pt x="115234" y="626159"/>
                </a:lnTo>
                <a:lnTo>
                  <a:pt x="135922" y="626159"/>
                </a:lnTo>
                <a:lnTo>
                  <a:pt x="138117" y="638288"/>
                </a:lnTo>
                <a:cubicBezTo>
                  <a:pt x="139196" y="644130"/>
                  <a:pt x="143400" y="648744"/>
                  <a:pt x="149093" y="650343"/>
                </a:cubicBezTo>
                <a:cubicBezTo>
                  <a:pt x="155753" y="652203"/>
                  <a:pt x="162189" y="654882"/>
                  <a:pt x="168217" y="658268"/>
                </a:cubicBezTo>
                <a:cubicBezTo>
                  <a:pt x="173389" y="661170"/>
                  <a:pt x="179639" y="660872"/>
                  <a:pt x="184513" y="657524"/>
                </a:cubicBezTo>
                <a:lnTo>
                  <a:pt x="194633" y="650492"/>
                </a:lnTo>
                <a:lnTo>
                  <a:pt x="209256" y="665114"/>
                </a:lnTo>
                <a:lnTo>
                  <a:pt x="202224" y="675235"/>
                </a:lnTo>
                <a:cubicBezTo>
                  <a:pt x="198838" y="680109"/>
                  <a:pt x="198541" y="686360"/>
                  <a:pt x="201443" y="691531"/>
                </a:cubicBezTo>
                <a:cubicBezTo>
                  <a:pt x="204829" y="697559"/>
                  <a:pt x="207508" y="703996"/>
                  <a:pt x="209368" y="710655"/>
                </a:cubicBezTo>
                <a:cubicBezTo>
                  <a:pt x="210968" y="716385"/>
                  <a:pt x="215581" y="720590"/>
                  <a:pt x="221423" y="721631"/>
                </a:cubicBezTo>
                <a:lnTo>
                  <a:pt x="233552" y="723826"/>
                </a:lnTo>
                <a:close/>
                <a:moveTo>
                  <a:pt x="125649" y="681522"/>
                </a:moveTo>
                <a:cubicBezTo>
                  <a:pt x="96590" y="681522"/>
                  <a:pt x="72964" y="705149"/>
                  <a:pt x="72964" y="734207"/>
                </a:cubicBezTo>
                <a:cubicBezTo>
                  <a:pt x="72964" y="763265"/>
                  <a:pt x="96591" y="786891"/>
                  <a:pt x="125649" y="786891"/>
                </a:cubicBezTo>
                <a:cubicBezTo>
                  <a:pt x="154708" y="786891"/>
                  <a:pt x="178334" y="763265"/>
                  <a:pt x="178334" y="734207"/>
                </a:cubicBezTo>
                <a:cubicBezTo>
                  <a:pt x="178296" y="705148"/>
                  <a:pt x="154670" y="681522"/>
                  <a:pt x="125649" y="681522"/>
                </a:cubicBezTo>
                <a:close/>
                <a:moveTo>
                  <a:pt x="125649" y="769331"/>
                </a:moveTo>
                <a:cubicBezTo>
                  <a:pt x="106264" y="769331"/>
                  <a:pt x="90526" y="753556"/>
                  <a:pt x="90526" y="734208"/>
                </a:cubicBezTo>
                <a:cubicBezTo>
                  <a:pt x="90526" y="714822"/>
                  <a:pt x="106301" y="699084"/>
                  <a:pt x="125649" y="699084"/>
                </a:cubicBezTo>
                <a:cubicBezTo>
                  <a:pt x="145034" y="699084"/>
                  <a:pt x="160772" y="714859"/>
                  <a:pt x="160772" y="734208"/>
                </a:cubicBezTo>
                <a:cubicBezTo>
                  <a:pt x="160772" y="753556"/>
                  <a:pt x="144997" y="769331"/>
                  <a:pt x="125649" y="769331"/>
                </a:cubicBezTo>
                <a:close/>
                <a:moveTo>
                  <a:pt x="284155" y="123860"/>
                </a:moveTo>
                <a:cubicBezTo>
                  <a:pt x="282183" y="119432"/>
                  <a:pt x="284155" y="114261"/>
                  <a:pt x="288582" y="112289"/>
                </a:cubicBezTo>
                <a:cubicBezTo>
                  <a:pt x="333193" y="92421"/>
                  <a:pt x="380744" y="82338"/>
                  <a:pt x="429895" y="82338"/>
                </a:cubicBezTo>
                <a:cubicBezTo>
                  <a:pt x="471753" y="82338"/>
                  <a:pt x="512495" y="89667"/>
                  <a:pt x="551263" y="104104"/>
                </a:cubicBezTo>
                <a:lnTo>
                  <a:pt x="537496" y="71622"/>
                </a:lnTo>
                <a:cubicBezTo>
                  <a:pt x="535599" y="67157"/>
                  <a:pt x="537682" y="62023"/>
                  <a:pt x="542147" y="60125"/>
                </a:cubicBezTo>
                <a:cubicBezTo>
                  <a:pt x="546612" y="58228"/>
                  <a:pt x="551746" y="60311"/>
                  <a:pt x="553644" y="64776"/>
                </a:cubicBezTo>
                <a:lnTo>
                  <a:pt x="575707" y="116866"/>
                </a:lnTo>
                <a:cubicBezTo>
                  <a:pt x="576600" y="119024"/>
                  <a:pt x="576637" y="121443"/>
                  <a:pt x="575744" y="123564"/>
                </a:cubicBezTo>
                <a:cubicBezTo>
                  <a:pt x="574889" y="125722"/>
                  <a:pt x="573177" y="127433"/>
                  <a:pt x="571019" y="128363"/>
                </a:cubicBezTo>
                <a:lnTo>
                  <a:pt x="518929" y="150427"/>
                </a:lnTo>
                <a:cubicBezTo>
                  <a:pt x="517813" y="150911"/>
                  <a:pt x="516659" y="151134"/>
                  <a:pt x="515506" y="151134"/>
                </a:cubicBezTo>
                <a:cubicBezTo>
                  <a:pt x="512083" y="151134"/>
                  <a:pt x="508846" y="149125"/>
                  <a:pt x="507432" y="145776"/>
                </a:cubicBezTo>
                <a:cubicBezTo>
                  <a:pt x="505534" y="141311"/>
                  <a:pt x="507618" y="136177"/>
                  <a:pt x="512083" y="134280"/>
                </a:cubicBezTo>
                <a:lnTo>
                  <a:pt x="544751" y="120439"/>
                </a:lnTo>
                <a:cubicBezTo>
                  <a:pt x="508064" y="106784"/>
                  <a:pt x="469444" y="99863"/>
                  <a:pt x="429822" y="99863"/>
                </a:cubicBezTo>
                <a:cubicBezTo>
                  <a:pt x="383128" y="99863"/>
                  <a:pt x="337995" y="109425"/>
                  <a:pt x="295653" y="128289"/>
                </a:cubicBezTo>
                <a:cubicBezTo>
                  <a:pt x="291300" y="130261"/>
                  <a:pt x="286128" y="128289"/>
                  <a:pt x="284156" y="123862"/>
                </a:cubicBezTo>
                <a:close/>
                <a:moveTo>
                  <a:pt x="120439" y="314989"/>
                </a:moveTo>
                <a:cubicBezTo>
                  <a:pt x="106784" y="351675"/>
                  <a:pt x="99863" y="390295"/>
                  <a:pt x="99863" y="429917"/>
                </a:cubicBezTo>
                <a:cubicBezTo>
                  <a:pt x="99863" y="476612"/>
                  <a:pt x="109425" y="521744"/>
                  <a:pt x="128289" y="564086"/>
                </a:cubicBezTo>
                <a:cubicBezTo>
                  <a:pt x="130261" y="568514"/>
                  <a:pt x="128289" y="573686"/>
                  <a:pt x="123862" y="575657"/>
                </a:cubicBezTo>
                <a:cubicBezTo>
                  <a:pt x="122708" y="576178"/>
                  <a:pt x="121480" y="576401"/>
                  <a:pt x="120290" y="576401"/>
                </a:cubicBezTo>
                <a:cubicBezTo>
                  <a:pt x="116941" y="576401"/>
                  <a:pt x="113741" y="574467"/>
                  <a:pt x="112253" y="571192"/>
                </a:cubicBezTo>
                <a:cubicBezTo>
                  <a:pt x="92385" y="526581"/>
                  <a:pt x="82302" y="479030"/>
                  <a:pt x="82302" y="429879"/>
                </a:cubicBezTo>
                <a:cubicBezTo>
                  <a:pt x="82302" y="388059"/>
                  <a:pt x="89631" y="347280"/>
                  <a:pt x="104105" y="308512"/>
                </a:cubicBezTo>
                <a:lnTo>
                  <a:pt x="71623" y="322278"/>
                </a:lnTo>
                <a:cubicBezTo>
                  <a:pt x="67158" y="324176"/>
                  <a:pt x="62024" y="322092"/>
                  <a:pt x="60127" y="317628"/>
                </a:cubicBezTo>
                <a:cubicBezTo>
                  <a:pt x="58229" y="313163"/>
                  <a:pt x="60313" y="308028"/>
                  <a:pt x="64777" y="306131"/>
                </a:cubicBezTo>
                <a:lnTo>
                  <a:pt x="116868" y="284067"/>
                </a:lnTo>
                <a:cubicBezTo>
                  <a:pt x="121333" y="282170"/>
                  <a:pt x="126467" y="284253"/>
                  <a:pt x="128364" y="288718"/>
                </a:cubicBezTo>
                <a:lnTo>
                  <a:pt x="150428" y="340808"/>
                </a:lnTo>
                <a:cubicBezTo>
                  <a:pt x="152326" y="345273"/>
                  <a:pt x="150242" y="350408"/>
                  <a:pt x="145777" y="352305"/>
                </a:cubicBezTo>
                <a:cubicBezTo>
                  <a:pt x="141312" y="354202"/>
                  <a:pt x="136178" y="352119"/>
                  <a:pt x="134281" y="347654"/>
                </a:cubicBezTo>
                <a:close/>
                <a:moveTo>
                  <a:pt x="739411" y="544817"/>
                </a:moveTo>
                <a:cubicBezTo>
                  <a:pt x="753066" y="508131"/>
                  <a:pt x="759987" y="469548"/>
                  <a:pt x="759987" y="429889"/>
                </a:cubicBezTo>
                <a:cubicBezTo>
                  <a:pt x="759987" y="383194"/>
                  <a:pt x="750425" y="338025"/>
                  <a:pt x="731561" y="295719"/>
                </a:cubicBezTo>
                <a:cubicBezTo>
                  <a:pt x="729589" y="291292"/>
                  <a:pt x="731561" y="286120"/>
                  <a:pt x="735988" y="284148"/>
                </a:cubicBezTo>
                <a:cubicBezTo>
                  <a:pt x="740416" y="282177"/>
                  <a:pt x="745588" y="284148"/>
                  <a:pt x="747559" y="288576"/>
                </a:cubicBezTo>
                <a:cubicBezTo>
                  <a:pt x="767428" y="333150"/>
                  <a:pt x="777511" y="380701"/>
                  <a:pt x="777511" y="429889"/>
                </a:cubicBezTo>
                <a:cubicBezTo>
                  <a:pt x="777511" y="471747"/>
                  <a:pt x="770181" y="512489"/>
                  <a:pt x="755707" y="551257"/>
                </a:cubicBezTo>
                <a:lnTo>
                  <a:pt x="788189" y="537490"/>
                </a:lnTo>
                <a:cubicBezTo>
                  <a:pt x="792654" y="535592"/>
                  <a:pt x="797789" y="537676"/>
                  <a:pt x="799686" y="542141"/>
                </a:cubicBezTo>
                <a:cubicBezTo>
                  <a:pt x="801583" y="546606"/>
                  <a:pt x="799500" y="551740"/>
                  <a:pt x="795035" y="553638"/>
                </a:cubicBezTo>
                <a:lnTo>
                  <a:pt x="742945" y="575701"/>
                </a:lnTo>
                <a:cubicBezTo>
                  <a:pt x="741829" y="576185"/>
                  <a:pt x="740675" y="576408"/>
                  <a:pt x="739522" y="576408"/>
                </a:cubicBezTo>
                <a:cubicBezTo>
                  <a:pt x="736099" y="576408"/>
                  <a:pt x="732862" y="574399"/>
                  <a:pt x="731448" y="571050"/>
                </a:cubicBezTo>
                <a:lnTo>
                  <a:pt x="709384" y="518960"/>
                </a:lnTo>
                <a:cubicBezTo>
                  <a:pt x="707486" y="514495"/>
                  <a:pt x="709570" y="509361"/>
                  <a:pt x="714035" y="507463"/>
                </a:cubicBezTo>
                <a:cubicBezTo>
                  <a:pt x="718500" y="505566"/>
                  <a:pt x="723634" y="507649"/>
                  <a:pt x="725532" y="512114"/>
                </a:cubicBezTo>
                <a:close/>
                <a:moveTo>
                  <a:pt x="575667" y="735946"/>
                </a:moveTo>
                <a:cubicBezTo>
                  <a:pt x="577639" y="740374"/>
                  <a:pt x="575667" y="745545"/>
                  <a:pt x="571240" y="747517"/>
                </a:cubicBezTo>
                <a:cubicBezTo>
                  <a:pt x="526628" y="767385"/>
                  <a:pt x="479078" y="777468"/>
                  <a:pt x="429927" y="777468"/>
                </a:cubicBezTo>
                <a:cubicBezTo>
                  <a:pt x="388069" y="777468"/>
                  <a:pt x="347327" y="770139"/>
                  <a:pt x="308559" y="755665"/>
                </a:cubicBezTo>
                <a:lnTo>
                  <a:pt x="322326" y="788147"/>
                </a:lnTo>
                <a:cubicBezTo>
                  <a:pt x="324223" y="792612"/>
                  <a:pt x="322140" y="797746"/>
                  <a:pt x="317675" y="799643"/>
                </a:cubicBezTo>
                <a:cubicBezTo>
                  <a:pt x="316558" y="800127"/>
                  <a:pt x="315405" y="800350"/>
                  <a:pt x="314252" y="800350"/>
                </a:cubicBezTo>
                <a:cubicBezTo>
                  <a:pt x="310829" y="800350"/>
                  <a:pt x="307592" y="798341"/>
                  <a:pt x="306178" y="794993"/>
                </a:cubicBezTo>
                <a:lnTo>
                  <a:pt x="284114" y="742902"/>
                </a:lnTo>
                <a:cubicBezTo>
                  <a:pt x="282216" y="738437"/>
                  <a:pt x="284300" y="733303"/>
                  <a:pt x="288765" y="731406"/>
                </a:cubicBezTo>
                <a:lnTo>
                  <a:pt x="340855" y="709342"/>
                </a:lnTo>
                <a:cubicBezTo>
                  <a:pt x="345320" y="707444"/>
                  <a:pt x="350454" y="709528"/>
                  <a:pt x="352352" y="713993"/>
                </a:cubicBezTo>
                <a:cubicBezTo>
                  <a:pt x="354249" y="718457"/>
                  <a:pt x="352166" y="723592"/>
                  <a:pt x="347701" y="725489"/>
                </a:cubicBezTo>
                <a:lnTo>
                  <a:pt x="315033" y="739330"/>
                </a:lnTo>
                <a:cubicBezTo>
                  <a:pt x="351720" y="752985"/>
                  <a:pt x="390340" y="759906"/>
                  <a:pt x="429962" y="759906"/>
                </a:cubicBezTo>
                <a:cubicBezTo>
                  <a:pt x="476656" y="759906"/>
                  <a:pt x="521788" y="750344"/>
                  <a:pt x="564131" y="731480"/>
                </a:cubicBezTo>
                <a:cubicBezTo>
                  <a:pt x="568521" y="729545"/>
                  <a:pt x="573693" y="731554"/>
                  <a:pt x="575665" y="735945"/>
                </a:cubicBezTo>
                <a:close/>
                <a:moveTo>
                  <a:pt x="278982" y="266582"/>
                </a:moveTo>
                <a:lnTo>
                  <a:pt x="278424" y="244221"/>
                </a:lnTo>
                <a:cubicBezTo>
                  <a:pt x="278313" y="239384"/>
                  <a:pt x="282145" y="235365"/>
                  <a:pt x="286982" y="235217"/>
                </a:cubicBezTo>
                <a:cubicBezTo>
                  <a:pt x="291893" y="235031"/>
                  <a:pt x="295837" y="238937"/>
                  <a:pt x="295986" y="243774"/>
                </a:cubicBezTo>
                <a:lnTo>
                  <a:pt x="297102" y="288087"/>
                </a:lnTo>
                <a:cubicBezTo>
                  <a:pt x="297214" y="292924"/>
                  <a:pt x="293382" y="296943"/>
                  <a:pt x="288545" y="297091"/>
                </a:cubicBezTo>
                <a:lnTo>
                  <a:pt x="244231" y="298208"/>
                </a:lnTo>
                <a:lnTo>
                  <a:pt x="244008" y="298208"/>
                </a:lnTo>
                <a:cubicBezTo>
                  <a:pt x="239283" y="298208"/>
                  <a:pt x="235376" y="294413"/>
                  <a:pt x="235227" y="289650"/>
                </a:cubicBezTo>
                <a:cubicBezTo>
                  <a:pt x="235116" y="284813"/>
                  <a:pt x="238948" y="280795"/>
                  <a:pt x="243785" y="280646"/>
                </a:cubicBezTo>
                <a:lnTo>
                  <a:pt x="267635" y="280051"/>
                </a:lnTo>
                <a:lnTo>
                  <a:pt x="233181" y="245597"/>
                </a:lnTo>
                <a:cubicBezTo>
                  <a:pt x="229758" y="242174"/>
                  <a:pt x="229758" y="236630"/>
                  <a:pt x="233181" y="233207"/>
                </a:cubicBezTo>
                <a:cubicBezTo>
                  <a:pt x="236604" y="229783"/>
                  <a:pt x="242148" y="229784"/>
                  <a:pt x="245571" y="233207"/>
                </a:cubicBezTo>
                <a:close/>
                <a:moveTo>
                  <a:pt x="289438" y="624589"/>
                </a:moveTo>
                <a:cubicBezTo>
                  <a:pt x="284713" y="624589"/>
                  <a:pt x="280806" y="620794"/>
                  <a:pt x="280657" y="616031"/>
                </a:cubicBezTo>
                <a:lnTo>
                  <a:pt x="280062" y="592182"/>
                </a:lnTo>
                <a:lnTo>
                  <a:pt x="245608" y="626636"/>
                </a:lnTo>
                <a:cubicBezTo>
                  <a:pt x="243896" y="628347"/>
                  <a:pt x="241664" y="629203"/>
                  <a:pt x="239394" y="629203"/>
                </a:cubicBezTo>
                <a:cubicBezTo>
                  <a:pt x="237162" y="629203"/>
                  <a:pt x="234892" y="628347"/>
                  <a:pt x="233181" y="626636"/>
                </a:cubicBezTo>
                <a:cubicBezTo>
                  <a:pt x="229758" y="623213"/>
                  <a:pt x="229758" y="617669"/>
                  <a:pt x="233181" y="614246"/>
                </a:cubicBezTo>
                <a:lnTo>
                  <a:pt x="266556" y="580871"/>
                </a:lnTo>
                <a:lnTo>
                  <a:pt x="244194" y="581429"/>
                </a:lnTo>
                <a:lnTo>
                  <a:pt x="243970" y="581429"/>
                </a:lnTo>
                <a:cubicBezTo>
                  <a:pt x="239245" y="581429"/>
                  <a:pt x="235338" y="577634"/>
                  <a:pt x="235190" y="572871"/>
                </a:cubicBezTo>
                <a:cubicBezTo>
                  <a:pt x="235078" y="568034"/>
                  <a:pt x="238910" y="564016"/>
                  <a:pt x="243747" y="563867"/>
                </a:cubicBezTo>
                <a:lnTo>
                  <a:pt x="288060" y="562751"/>
                </a:lnTo>
                <a:cubicBezTo>
                  <a:pt x="292972" y="562602"/>
                  <a:pt x="296916" y="566472"/>
                  <a:pt x="297064" y="571309"/>
                </a:cubicBezTo>
                <a:lnTo>
                  <a:pt x="298181" y="615622"/>
                </a:lnTo>
                <a:cubicBezTo>
                  <a:pt x="298292" y="620459"/>
                  <a:pt x="294460" y="624477"/>
                  <a:pt x="289623" y="624626"/>
                </a:cubicBezTo>
                <a:cubicBezTo>
                  <a:pt x="289586" y="624589"/>
                  <a:pt x="289511" y="624589"/>
                  <a:pt x="289437" y="624589"/>
                </a:cubicBezTo>
                <a:close/>
                <a:moveTo>
                  <a:pt x="580846" y="593223"/>
                </a:moveTo>
                <a:lnTo>
                  <a:pt x="581404" y="615585"/>
                </a:lnTo>
                <a:cubicBezTo>
                  <a:pt x="581516" y="620422"/>
                  <a:pt x="577683" y="624440"/>
                  <a:pt x="572846" y="624589"/>
                </a:cubicBezTo>
                <a:lnTo>
                  <a:pt x="572623" y="624589"/>
                </a:lnTo>
                <a:cubicBezTo>
                  <a:pt x="567861" y="624589"/>
                  <a:pt x="563991" y="620794"/>
                  <a:pt x="563842" y="616032"/>
                </a:cubicBezTo>
                <a:lnTo>
                  <a:pt x="562726" y="571718"/>
                </a:lnTo>
                <a:cubicBezTo>
                  <a:pt x="562614" y="566882"/>
                  <a:pt x="566447" y="562863"/>
                  <a:pt x="571284" y="562714"/>
                </a:cubicBezTo>
                <a:lnTo>
                  <a:pt x="615597" y="561598"/>
                </a:lnTo>
                <a:lnTo>
                  <a:pt x="615820" y="561598"/>
                </a:lnTo>
                <a:cubicBezTo>
                  <a:pt x="620545" y="561598"/>
                  <a:pt x="624452" y="565393"/>
                  <a:pt x="624601" y="570156"/>
                </a:cubicBezTo>
                <a:cubicBezTo>
                  <a:pt x="624713" y="574993"/>
                  <a:pt x="620880" y="579011"/>
                  <a:pt x="616043" y="579160"/>
                </a:cubicBezTo>
                <a:lnTo>
                  <a:pt x="592194" y="579755"/>
                </a:lnTo>
                <a:lnTo>
                  <a:pt x="626647" y="614209"/>
                </a:lnTo>
                <a:cubicBezTo>
                  <a:pt x="630071" y="617632"/>
                  <a:pt x="630071" y="623176"/>
                  <a:pt x="626647" y="626599"/>
                </a:cubicBezTo>
                <a:cubicBezTo>
                  <a:pt x="624936" y="628311"/>
                  <a:pt x="622704" y="629166"/>
                  <a:pt x="620434" y="629166"/>
                </a:cubicBezTo>
                <a:cubicBezTo>
                  <a:pt x="618201" y="629166"/>
                  <a:pt x="615932" y="628311"/>
                  <a:pt x="614220" y="626599"/>
                </a:cubicBezTo>
                <a:close/>
                <a:moveTo>
                  <a:pt x="570390" y="235217"/>
                </a:moveTo>
                <a:cubicBezTo>
                  <a:pt x="575116" y="235217"/>
                  <a:pt x="579022" y="239012"/>
                  <a:pt x="579171" y="243774"/>
                </a:cubicBezTo>
                <a:lnTo>
                  <a:pt x="579766" y="267624"/>
                </a:lnTo>
                <a:lnTo>
                  <a:pt x="614220" y="233170"/>
                </a:lnTo>
                <a:cubicBezTo>
                  <a:pt x="617643" y="229747"/>
                  <a:pt x="623187" y="229747"/>
                  <a:pt x="626610" y="233170"/>
                </a:cubicBezTo>
                <a:cubicBezTo>
                  <a:pt x="630034" y="236593"/>
                  <a:pt x="630034" y="242137"/>
                  <a:pt x="626610" y="245560"/>
                </a:cubicBezTo>
                <a:lnTo>
                  <a:pt x="593236" y="278935"/>
                </a:lnTo>
                <a:lnTo>
                  <a:pt x="615598" y="278377"/>
                </a:lnTo>
                <a:lnTo>
                  <a:pt x="615821" y="278377"/>
                </a:lnTo>
                <a:cubicBezTo>
                  <a:pt x="620546" y="278377"/>
                  <a:pt x="624453" y="282172"/>
                  <a:pt x="624602" y="286934"/>
                </a:cubicBezTo>
                <a:cubicBezTo>
                  <a:pt x="624713" y="291771"/>
                  <a:pt x="620881" y="295790"/>
                  <a:pt x="616044" y="295939"/>
                </a:cubicBezTo>
                <a:lnTo>
                  <a:pt x="571731" y="297055"/>
                </a:lnTo>
                <a:lnTo>
                  <a:pt x="571508" y="297055"/>
                </a:lnTo>
                <a:cubicBezTo>
                  <a:pt x="566782" y="297055"/>
                  <a:pt x="562876" y="293260"/>
                  <a:pt x="562727" y="288497"/>
                </a:cubicBezTo>
                <a:lnTo>
                  <a:pt x="561611" y="244184"/>
                </a:lnTo>
                <a:cubicBezTo>
                  <a:pt x="561499" y="239347"/>
                  <a:pt x="565331" y="235329"/>
                  <a:pt x="570168" y="235180"/>
                </a:cubicBezTo>
                <a:cubicBezTo>
                  <a:pt x="570243" y="235217"/>
                  <a:pt x="570317" y="235217"/>
                  <a:pt x="570391" y="235217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6571AA-A873-AFD6-1C1F-E1B457FA8783}"/>
              </a:ext>
            </a:extLst>
          </p:cNvPr>
          <p:cNvSpPr txBox="1"/>
          <p:nvPr/>
        </p:nvSpPr>
        <p:spPr>
          <a:xfrm>
            <a:off x="9057515" y="0"/>
            <a:ext cx="1688496" cy="27699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 Medium"/>
              </a:rPr>
              <a:t>NON-EXHAUSTIV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F242808-9011-19F3-EA46-473E1FF5AF6A}"/>
              </a:ext>
            </a:extLst>
          </p:cNvPr>
          <p:cNvSpPr txBox="1"/>
          <p:nvPr/>
        </p:nvSpPr>
        <p:spPr>
          <a:xfrm>
            <a:off x="7260613" y="0"/>
            <a:ext cx="1688496" cy="276999"/>
          </a:xfrm>
          <a:prstGeom prst="rect">
            <a:avLst/>
          </a:prstGeom>
          <a:solidFill>
            <a:srgbClr val="8A96DD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 Medium"/>
              </a:rPr>
              <a:t>IMO PLANNING</a:t>
            </a:r>
          </a:p>
        </p:txBody>
      </p:sp>
    </p:spTree>
    <p:extLst>
      <p:ext uri="{BB962C8B-B14F-4D97-AF65-F5344CB8AC3E}">
        <p14:creationId xmlns:p14="http://schemas.microsoft.com/office/powerpoint/2010/main" val="279090184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31E199-A1FB-D087-77C4-70F1EE6F75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669153B3-3985-AE3F-091C-98D5014A06CE}"/>
              </a:ext>
            </a:extLst>
          </p:cNvPr>
          <p:cNvGrpSpPr/>
          <p:nvPr/>
        </p:nvGrpSpPr>
        <p:grpSpPr>
          <a:xfrm>
            <a:off x="3663208" y="1289762"/>
            <a:ext cx="5545380" cy="230832"/>
            <a:chOff x="3663208" y="1289762"/>
            <a:chExt cx="5545380" cy="230832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2CF2488B-8085-4ED3-00F1-A5ABFDC39E3B}"/>
                </a:ext>
              </a:extLst>
            </p:cNvPr>
            <p:cNvSpPr txBox="1"/>
            <p:nvPr/>
          </p:nvSpPr>
          <p:spPr>
            <a:xfrm>
              <a:off x="3677963" y="1289762"/>
              <a:ext cx="5530625" cy="2308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45720" rtlCol="0" anchor="b"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tx2"/>
                  </a:solidFill>
                </a:rPr>
                <a:t>End State Blueprint &amp; Integration Economics</a:t>
              </a: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81B2F7F-9874-2C7A-4638-D9742B712E92}"/>
                </a:ext>
              </a:extLst>
            </p:cNvPr>
            <p:cNvCxnSpPr>
              <a:cxnSpLocks/>
            </p:cNvCxnSpPr>
            <p:nvPr/>
          </p:nvCxnSpPr>
          <p:spPr>
            <a:xfrm>
              <a:off x="3663208" y="1504692"/>
              <a:ext cx="5530625" cy="0"/>
            </a:xfrm>
            <a:prstGeom prst="line">
              <a:avLst/>
            </a:prstGeom>
            <a:ln w="19050">
              <a:solidFill>
                <a:srgbClr val="1E286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48016895-97BE-9812-89D5-971115C018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3135" y="1561752"/>
            <a:ext cx="2743200" cy="15430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BB07BB5-0AF4-5399-9A62-1524F85A41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9412" y="1561753"/>
            <a:ext cx="2743200" cy="15430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4081C3E1-C608-BC2D-8D59-73966AC620A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53135" y="4719703"/>
            <a:ext cx="2743200" cy="15430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051388CB-A5E9-9799-22D3-AE9B697C6616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6453135" y="3145958"/>
            <a:ext cx="2743200" cy="1545336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4516BF7-1FC0-0FB4-29D7-4BFEC05226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3254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1" imgH="423" progId="TCLayout.ActiveDocument.1">
                  <p:embed/>
                </p:oleObj>
              </mc:Choice>
              <mc:Fallback>
                <p:oleObj name="think-cell Slide" r:id="rId7" imgW="421" imgH="4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516BF7-1FC0-0FB4-29D7-4BFEC0522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1347CFBF-9F67-D539-72D3-771D19D4E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IMO: </a:t>
            </a:r>
            <a:r>
              <a:rPr lang="en-US" dirty="0"/>
              <a:t>Deliverable examples</a:t>
            </a:r>
            <a:endParaRPr lang="en-AU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3C406E7-6643-0B48-5510-E99D465077EB}"/>
              </a:ext>
            </a:extLst>
          </p:cNvPr>
          <p:cNvGrpSpPr/>
          <p:nvPr/>
        </p:nvGrpSpPr>
        <p:grpSpPr>
          <a:xfrm>
            <a:off x="9234745" y="1289762"/>
            <a:ext cx="2743200" cy="230832"/>
            <a:chOff x="8107680" y="1311028"/>
            <a:chExt cx="3840480" cy="230832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C898AC-DB49-C428-7064-8E93119F0F67}"/>
                </a:ext>
              </a:extLst>
            </p:cNvPr>
            <p:cNvSpPr txBox="1"/>
            <p:nvPr/>
          </p:nvSpPr>
          <p:spPr>
            <a:xfrm>
              <a:off x="8223547" y="1311028"/>
              <a:ext cx="3608746" cy="2308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45720" rtlCol="0" anchor="b"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tx2"/>
                  </a:solidFill>
                </a:rPr>
                <a:t>Integration Planning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2C7B698-4571-C86A-BB5A-E939D6C0980E}"/>
                </a:ext>
              </a:extLst>
            </p:cNvPr>
            <p:cNvCxnSpPr>
              <a:cxnSpLocks/>
            </p:cNvCxnSpPr>
            <p:nvPr/>
          </p:nvCxnSpPr>
          <p:spPr>
            <a:xfrm>
              <a:off x="8107680" y="1525958"/>
              <a:ext cx="3840480" cy="0"/>
            </a:xfrm>
            <a:prstGeom prst="line">
              <a:avLst/>
            </a:prstGeom>
            <a:ln w="19050">
              <a:solidFill>
                <a:srgbClr val="1E286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E7132F3F-62D0-2167-0CF2-68E205B11733}"/>
              </a:ext>
            </a:extLst>
          </p:cNvPr>
          <p:cNvSpPr txBox="1"/>
          <p:nvPr/>
        </p:nvSpPr>
        <p:spPr>
          <a:xfrm>
            <a:off x="426720" y="860582"/>
            <a:ext cx="11567160" cy="338554"/>
          </a:xfrm>
          <a:prstGeom prst="rect">
            <a:avLst/>
          </a:prstGeom>
          <a:solidFill>
            <a:srgbClr val="8A96DD"/>
          </a:solidFill>
          <a:ln>
            <a:noFill/>
          </a:ln>
        </p:spPr>
        <p:txBody>
          <a:bodyPr wrap="square" anchor="ctr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Objective</a:t>
            </a:r>
            <a:r>
              <a:rPr lang="en-US" sz="1600" dirty="0">
                <a:solidFill>
                  <a:schemeClr val="bg1"/>
                </a:solidFill>
              </a:rPr>
              <a:t>: Develop a clear view of the point of arrival and a path to get there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76B24EBC-6C1B-B345-8E8E-A7D6C2BB955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64344" y="4719703"/>
            <a:ext cx="2743200" cy="15430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ECB1606B-4B3F-4AB7-FAB7-348955324ED1}"/>
              </a:ext>
            </a:extLst>
          </p:cNvPr>
          <p:cNvPicPr>
            <a:picLocks/>
          </p:cNvPicPr>
          <p:nvPr/>
        </p:nvPicPr>
        <p:blipFill>
          <a:blip r:embed="rId10"/>
          <a:srcRect l="1" r="26855"/>
          <a:stretch>
            <a:fillRect/>
          </a:stretch>
        </p:blipFill>
        <p:spPr>
          <a:xfrm>
            <a:off x="9234743" y="3145959"/>
            <a:ext cx="2743200" cy="15453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BC563BF-93D4-5E60-6511-36F4B309381C}"/>
              </a:ext>
            </a:extLst>
          </p:cNvPr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3669412" y="3145958"/>
            <a:ext cx="2743200" cy="1545336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286312C-D5B7-F14F-E8D5-4FA40833F929}"/>
              </a:ext>
            </a:extLst>
          </p:cNvPr>
          <p:cNvGraphicFramePr>
            <a:graphicFrameLocks noGrp="1"/>
          </p:cNvGraphicFramePr>
          <p:nvPr/>
        </p:nvGraphicFramePr>
        <p:xfrm>
          <a:off x="770919" y="1350511"/>
          <a:ext cx="2807310" cy="498716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807310">
                  <a:extLst>
                    <a:ext uri="{9D8B030D-6E8A-4147-A177-3AD203B41FA5}">
                      <a16:colId xmlns:a16="http://schemas.microsoft.com/office/drawing/2014/main" val="3857606565"/>
                    </a:ext>
                  </a:extLst>
                </a:gridCol>
              </a:tblGrid>
              <a:tr h="498716"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4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y Deliverables</a:t>
                      </a:r>
                    </a:p>
                  </a:txBody>
                  <a:tcPr marL="9525" marR="9525" marT="9525" marB="9525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742407"/>
                  </a:ext>
                </a:extLst>
              </a:tr>
            </a:tbl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251296B4-5B51-F71A-8478-D1F9FEC1037B}"/>
              </a:ext>
            </a:extLst>
          </p:cNvPr>
          <p:cNvGrpSpPr/>
          <p:nvPr/>
        </p:nvGrpSpPr>
        <p:grpSpPr>
          <a:xfrm>
            <a:off x="420686" y="1200804"/>
            <a:ext cx="798420" cy="801079"/>
            <a:chOff x="420686" y="1231284"/>
            <a:chExt cx="798420" cy="801079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95E672CD-D9B9-BB08-1F09-730885425AA4}"/>
                </a:ext>
              </a:extLst>
            </p:cNvPr>
            <p:cNvSpPr/>
            <p:nvPr/>
          </p:nvSpPr>
          <p:spPr bwMode="auto">
            <a:xfrm>
              <a:off x="420686" y="1231284"/>
              <a:ext cx="798420" cy="8010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txBody>
            <a:bodyPr wrap="square" lIns="46800" tIns="46800" rIns="46800" bIns="46800" rtlCol="0" anchor="ctr">
              <a:noAutofit/>
            </a:bodyPr>
            <a:lstStyle/>
            <a:p>
              <a:pPr>
                <a:spcBef>
                  <a:spcPts val="300"/>
                </a:spcBef>
              </a:pPr>
              <a:endParaRPr lang="en-US" sz="1600" dirty="0">
                <a:ea typeface="MS PGothic" panose="020B0600070205080204" pitchFamily="34" charset="-128"/>
              </a:endParaRPr>
            </a:p>
          </p:txBody>
        </p:sp>
        <p:pic>
          <p:nvPicPr>
            <p:cNvPr id="19" name="Graphic 18" descr="Receipt outline">
              <a:extLst>
                <a:ext uri="{FF2B5EF4-FFF2-40B4-BE49-F238E27FC236}">
                  <a16:creationId xmlns:a16="http://schemas.microsoft.com/office/drawing/2014/main" id="{DDB8B22A-E2A4-D6D7-7077-839E69DCFA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77637" y="1394863"/>
              <a:ext cx="484519" cy="473923"/>
            </a:xfrm>
            <a:prstGeom prst="rect">
              <a:avLst/>
            </a:prstGeom>
          </p:spPr>
        </p:pic>
      </p:grp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66F5D19-DBA6-AD53-E50C-18600C96F0E6}"/>
              </a:ext>
            </a:extLst>
          </p:cNvPr>
          <p:cNvCxnSpPr>
            <a:cxnSpLocks/>
          </p:cNvCxnSpPr>
          <p:nvPr/>
        </p:nvCxnSpPr>
        <p:spPr>
          <a:xfrm>
            <a:off x="3575840" y="1352412"/>
            <a:ext cx="0" cy="482518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CB747BE-C574-4F5B-8893-29894F17AACF}"/>
              </a:ext>
            </a:extLst>
          </p:cNvPr>
          <p:cNvGrpSpPr/>
          <p:nvPr/>
        </p:nvGrpSpPr>
        <p:grpSpPr>
          <a:xfrm>
            <a:off x="3435470" y="3615975"/>
            <a:ext cx="298054" cy="298054"/>
            <a:chOff x="7860150" y="3600767"/>
            <a:chExt cx="224402" cy="224402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5687CBCD-187B-C0EA-2A53-497A2F97FF6C}"/>
                </a:ext>
              </a:extLst>
            </p:cNvPr>
            <p:cNvSpPr/>
            <p:nvPr/>
          </p:nvSpPr>
          <p:spPr>
            <a:xfrm>
              <a:off x="7860150" y="3600767"/>
              <a:ext cx="224402" cy="224402"/>
            </a:xfrm>
            <a:prstGeom prst="ellipse">
              <a:avLst/>
            </a:prstGeom>
            <a:solidFill>
              <a:schemeClr val="tx2"/>
            </a:solidFill>
            <a:ln w="28575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77AD1ADE-132F-7704-9D80-1BEB67120E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 t="1582" b="18936"/>
            <a:stretch/>
          </p:blipFill>
          <p:spPr>
            <a:xfrm rot="16200000">
              <a:off x="7893736" y="3678904"/>
              <a:ext cx="157231" cy="68128"/>
            </a:xfrm>
            <a:custGeom>
              <a:avLst/>
              <a:gdLst>
                <a:gd name="connsiteX0" fmla="*/ 497774 w 497774"/>
                <a:gd name="connsiteY0" fmla="*/ 0 h 134789"/>
                <a:gd name="connsiteX1" fmla="*/ 497774 w 497774"/>
                <a:gd name="connsiteY1" fmla="*/ 134789 h 134789"/>
                <a:gd name="connsiteX2" fmla="*/ 0 w 497774"/>
                <a:gd name="connsiteY2" fmla="*/ 134789 h 134789"/>
                <a:gd name="connsiteX3" fmla="*/ 0 w 497774"/>
                <a:gd name="connsiteY3" fmla="*/ 2 h 134789"/>
                <a:gd name="connsiteX4" fmla="*/ 248884 w 497774"/>
                <a:gd name="connsiteY4" fmla="*/ 88066 h 13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774" h="134789">
                  <a:moveTo>
                    <a:pt x="497774" y="0"/>
                  </a:moveTo>
                  <a:lnTo>
                    <a:pt x="497774" y="134789"/>
                  </a:lnTo>
                  <a:lnTo>
                    <a:pt x="0" y="134789"/>
                  </a:lnTo>
                  <a:lnTo>
                    <a:pt x="0" y="2"/>
                  </a:lnTo>
                  <a:lnTo>
                    <a:pt x="248884" y="88066"/>
                  </a:lnTo>
                  <a:close/>
                </a:path>
              </a:pathLst>
            </a:custGeom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B5D19C05-5DF8-DDF1-33FA-492C70065BD1}"/>
              </a:ext>
            </a:extLst>
          </p:cNvPr>
          <p:cNvSpPr txBox="1"/>
          <p:nvPr/>
        </p:nvSpPr>
        <p:spPr>
          <a:xfrm>
            <a:off x="450704" y="2037294"/>
            <a:ext cx="3118005" cy="4039655"/>
          </a:xfrm>
          <a:prstGeom prst="rect">
            <a:avLst/>
          </a:prstGeom>
        </p:spPr>
        <p:txBody>
          <a:bodyPr wrap="square" lIns="0" rIns="0" rtlCol="0">
            <a:noAutofit/>
          </a:bodyPr>
          <a:lstStyle>
            <a:defPPr>
              <a:defRPr lang="en-US"/>
            </a:defPPr>
            <a:lvl1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200" b="1" i="0" u="none" strike="noStrike">
                <a:solidFill>
                  <a:srgbClr val="000000"/>
                </a:solidFill>
                <a:effectLst/>
              </a:defRPr>
            </a:lvl1pPr>
            <a:lvl2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  <a:defRPr sz="1200" i="0" u="none" strike="noStrike">
                <a:solidFill>
                  <a:srgbClr val="000000"/>
                </a:solidFill>
                <a:effectLst/>
              </a:defRPr>
            </a:lvl2pPr>
          </a:lstStyle>
          <a:p>
            <a:pPr marL="182880" indent="-182880"/>
            <a:r>
              <a:rPr lang="en-US" dirty="0">
                <a:solidFill>
                  <a:schemeClr val="tx2"/>
                </a:solidFill>
              </a:rPr>
              <a:t>End state blueprint</a:t>
            </a:r>
          </a:p>
          <a:p>
            <a:pPr marL="365760" lvl="1" indent="-182880">
              <a:buFont typeface="Courier New" panose="02070309020205020404" pitchFamily="49" charset="0"/>
              <a:buChar char="o"/>
            </a:pPr>
            <a:r>
              <a:rPr lang="en-US" dirty="0"/>
              <a:t>Developed detailed five-year business forecast, incorporating revenue projections, cost drivers, and market assumptions</a:t>
            </a:r>
          </a:p>
          <a:p>
            <a:pPr marL="182880" indent="-182880"/>
            <a:r>
              <a:rPr lang="en-US" dirty="0">
                <a:solidFill>
                  <a:schemeClr val="tx2"/>
                </a:solidFill>
              </a:rPr>
              <a:t>Integration economics</a:t>
            </a:r>
          </a:p>
          <a:p>
            <a:pPr marL="365760" lvl="1" indent="-182880">
              <a:buFont typeface="Courier New" panose="02070309020205020404" pitchFamily="49" charset="0"/>
              <a:buChar char="o"/>
            </a:pPr>
            <a:r>
              <a:rPr lang="en-US" dirty="0"/>
              <a:t>Evaluated targeted cost and revenue synergies across functions (e.g., SG&amp;A, operations, procurement)</a:t>
            </a:r>
          </a:p>
          <a:p>
            <a:pPr marL="365760" lvl="1" indent="-182880">
              <a:buFont typeface="Courier New" panose="02070309020205020404" pitchFamily="49" charset="0"/>
              <a:buChar char="o"/>
            </a:pPr>
            <a:r>
              <a:rPr lang="en-US" dirty="0"/>
              <a:t>Built achievement timeline for synergy realization, including interim milestones and dependency mapping</a:t>
            </a:r>
          </a:p>
          <a:p>
            <a:pPr marL="182880" indent="-182880"/>
            <a:r>
              <a:rPr lang="en-US" dirty="0">
                <a:solidFill>
                  <a:schemeClr val="tx2"/>
                </a:solidFill>
              </a:rPr>
              <a:t>Integration workstreams </a:t>
            </a:r>
          </a:p>
          <a:p>
            <a:pPr marL="365760" lvl="1" indent="-182880">
              <a:buFont typeface="Courier New" panose="02070309020205020404" pitchFamily="49" charset="0"/>
              <a:buChar char="o"/>
            </a:pPr>
            <a:r>
              <a:rPr lang="en-US" dirty="0"/>
              <a:t>Established dedicated workstreams for major functional areas (e.g., finance, HR, IT, operations) with clear owners</a:t>
            </a:r>
          </a:p>
          <a:p>
            <a:pPr marL="365760" lvl="1" indent="-182880">
              <a:buFont typeface="Courier New" panose="02070309020205020404" pitchFamily="49" charset="0"/>
              <a:buChar char="o"/>
            </a:pPr>
            <a:r>
              <a:rPr lang="en-US" dirty="0"/>
              <a:t>Clarified workstream charters, defining scope, deliverables, and success metrics for each group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A00D8E-3F21-9CD0-8C9A-4313D64BDA0D}"/>
              </a:ext>
            </a:extLst>
          </p:cNvPr>
          <p:cNvSpPr/>
          <p:nvPr/>
        </p:nvSpPr>
        <p:spPr bwMode="auto">
          <a:xfrm>
            <a:off x="3708399" y="2936875"/>
            <a:ext cx="292099" cy="1464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A0C1C3-94FC-B8D8-7C48-0EB3F1BD90AF}"/>
              </a:ext>
            </a:extLst>
          </p:cNvPr>
          <p:cNvSpPr/>
          <p:nvPr/>
        </p:nvSpPr>
        <p:spPr bwMode="auto">
          <a:xfrm>
            <a:off x="6510316" y="2936875"/>
            <a:ext cx="292099" cy="1464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570FC58-22BC-4F5F-B946-D03FE8C05D7E}"/>
              </a:ext>
            </a:extLst>
          </p:cNvPr>
          <p:cNvSpPr/>
          <p:nvPr/>
        </p:nvSpPr>
        <p:spPr bwMode="auto">
          <a:xfrm>
            <a:off x="7627119" y="2936875"/>
            <a:ext cx="292099" cy="1464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970DFB6-AF7A-112F-20F5-4980E5F3204A}"/>
              </a:ext>
            </a:extLst>
          </p:cNvPr>
          <p:cNvSpPr/>
          <p:nvPr/>
        </p:nvSpPr>
        <p:spPr bwMode="auto">
          <a:xfrm>
            <a:off x="8892186" y="1589033"/>
            <a:ext cx="292099" cy="58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3CF645A-8531-1A2E-6783-8ACA444F9AAD}"/>
              </a:ext>
            </a:extLst>
          </p:cNvPr>
          <p:cNvSpPr/>
          <p:nvPr/>
        </p:nvSpPr>
        <p:spPr bwMode="auto">
          <a:xfrm>
            <a:off x="6091710" y="1575152"/>
            <a:ext cx="292099" cy="726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D44A791-EA8C-0135-7815-556B0CBB74F4}"/>
              </a:ext>
            </a:extLst>
          </p:cNvPr>
          <p:cNvSpPr/>
          <p:nvPr/>
        </p:nvSpPr>
        <p:spPr bwMode="auto">
          <a:xfrm>
            <a:off x="11674362" y="1581823"/>
            <a:ext cx="292099" cy="58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F3A7E98-471F-81D1-47DF-7AE3C6B32BF8}"/>
              </a:ext>
            </a:extLst>
          </p:cNvPr>
          <p:cNvSpPr/>
          <p:nvPr/>
        </p:nvSpPr>
        <p:spPr bwMode="auto">
          <a:xfrm>
            <a:off x="11670439" y="4746069"/>
            <a:ext cx="292099" cy="58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24340A5-138B-AF98-8824-2B4410B9DEDF}"/>
              </a:ext>
            </a:extLst>
          </p:cNvPr>
          <p:cNvSpPr/>
          <p:nvPr/>
        </p:nvSpPr>
        <p:spPr bwMode="auto">
          <a:xfrm>
            <a:off x="9294019" y="6093619"/>
            <a:ext cx="271462" cy="142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174F826-A2FE-23C5-F420-278BA8F66D44}"/>
              </a:ext>
            </a:extLst>
          </p:cNvPr>
          <p:cNvSpPr/>
          <p:nvPr/>
        </p:nvSpPr>
        <p:spPr bwMode="auto">
          <a:xfrm>
            <a:off x="6496047" y="6093619"/>
            <a:ext cx="271462" cy="142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FE90F7E-FB7E-08D4-CFD6-C9F2F42543EC}"/>
              </a:ext>
            </a:extLst>
          </p:cNvPr>
          <p:cNvSpPr/>
          <p:nvPr/>
        </p:nvSpPr>
        <p:spPr bwMode="auto">
          <a:xfrm>
            <a:off x="3718717" y="6093619"/>
            <a:ext cx="271462" cy="142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B6B5C67-1DD1-B9B1-7785-53FEA8A3DC50}"/>
              </a:ext>
            </a:extLst>
          </p:cNvPr>
          <p:cNvSpPr/>
          <p:nvPr/>
        </p:nvSpPr>
        <p:spPr bwMode="auto">
          <a:xfrm>
            <a:off x="4878757" y="6093619"/>
            <a:ext cx="271462" cy="142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DE4F60C-5C04-764A-7084-4286ABEC6A47}"/>
              </a:ext>
            </a:extLst>
          </p:cNvPr>
          <p:cNvSpPr/>
          <p:nvPr/>
        </p:nvSpPr>
        <p:spPr bwMode="auto">
          <a:xfrm>
            <a:off x="6518464" y="4482124"/>
            <a:ext cx="271462" cy="142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ACDA29D-F41F-F4F8-C957-F151AD5B6C57}"/>
              </a:ext>
            </a:extLst>
          </p:cNvPr>
          <p:cNvSpPr/>
          <p:nvPr/>
        </p:nvSpPr>
        <p:spPr bwMode="auto">
          <a:xfrm>
            <a:off x="10108368" y="4828676"/>
            <a:ext cx="50045" cy="52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D1DDA24-DEEB-D1C8-0A66-B77398F27E77}"/>
              </a:ext>
            </a:extLst>
          </p:cNvPr>
          <p:cNvSpPr/>
          <p:nvPr/>
        </p:nvSpPr>
        <p:spPr bwMode="auto">
          <a:xfrm>
            <a:off x="9520237" y="5030088"/>
            <a:ext cx="116682" cy="8483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2B176AC-E33C-A0B6-2B36-23F7629E5348}"/>
              </a:ext>
            </a:extLst>
          </p:cNvPr>
          <p:cNvSpPr/>
          <p:nvPr/>
        </p:nvSpPr>
        <p:spPr bwMode="auto">
          <a:xfrm>
            <a:off x="10444498" y="3018644"/>
            <a:ext cx="292099" cy="58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96B2427-06A0-BE8B-9DBA-FC01F9E0295F}"/>
              </a:ext>
            </a:extLst>
          </p:cNvPr>
          <p:cNvSpPr/>
          <p:nvPr/>
        </p:nvSpPr>
        <p:spPr bwMode="auto">
          <a:xfrm>
            <a:off x="9253516" y="2965450"/>
            <a:ext cx="324496" cy="1119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13B6D1A-86BF-FA1A-2BEC-25EC33956C9C}"/>
              </a:ext>
            </a:extLst>
          </p:cNvPr>
          <p:cNvSpPr/>
          <p:nvPr/>
        </p:nvSpPr>
        <p:spPr bwMode="auto">
          <a:xfrm>
            <a:off x="10071839" y="2352547"/>
            <a:ext cx="86574" cy="751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3873A35-BE8C-FFFF-7215-71CC2377B727}"/>
              </a:ext>
            </a:extLst>
          </p:cNvPr>
          <p:cNvSpPr/>
          <p:nvPr/>
        </p:nvSpPr>
        <p:spPr bwMode="auto">
          <a:xfrm>
            <a:off x="10071839" y="2478178"/>
            <a:ext cx="86574" cy="751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6FBEAEF-7D16-28C0-F29B-2AFB6CE28EE3}"/>
              </a:ext>
            </a:extLst>
          </p:cNvPr>
          <p:cNvSpPr/>
          <p:nvPr/>
        </p:nvSpPr>
        <p:spPr bwMode="auto">
          <a:xfrm>
            <a:off x="11449789" y="2602003"/>
            <a:ext cx="86574" cy="751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C640BBB-4306-5A82-5702-169A16A1070F}"/>
              </a:ext>
            </a:extLst>
          </p:cNvPr>
          <p:cNvSpPr/>
          <p:nvPr/>
        </p:nvSpPr>
        <p:spPr bwMode="auto">
          <a:xfrm>
            <a:off x="11433914" y="2212636"/>
            <a:ext cx="86574" cy="751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5BE8BD6-D317-D883-A363-8E532B317C7E}"/>
              </a:ext>
            </a:extLst>
          </p:cNvPr>
          <p:cNvSpPr txBox="1"/>
          <p:nvPr/>
        </p:nvSpPr>
        <p:spPr>
          <a:xfrm>
            <a:off x="7260613" y="0"/>
            <a:ext cx="1688496" cy="276999"/>
          </a:xfrm>
          <a:prstGeom prst="rect">
            <a:avLst/>
          </a:prstGeom>
          <a:solidFill>
            <a:srgbClr val="8A96DD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 Medium"/>
              </a:rPr>
              <a:t>IMO PLANNING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469DE32-02C5-BEA2-9BAC-31343DBCAD71}"/>
              </a:ext>
            </a:extLst>
          </p:cNvPr>
          <p:cNvSpPr txBox="1"/>
          <p:nvPr/>
        </p:nvSpPr>
        <p:spPr>
          <a:xfrm>
            <a:off x="9057515" y="0"/>
            <a:ext cx="1688496" cy="27699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 Medium"/>
              </a:rPr>
              <a:t>NON-EXHAUSTIV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0595D7A-8EBF-60F8-6629-F6F9B5169FD1}"/>
              </a:ext>
            </a:extLst>
          </p:cNvPr>
          <p:cNvPicPr>
            <a:picLocks/>
          </p:cNvPicPr>
          <p:nvPr/>
        </p:nvPicPr>
        <p:blipFill>
          <a:blip r:embed="rId16"/>
          <a:stretch>
            <a:fillRect/>
          </a:stretch>
        </p:blipFill>
        <p:spPr>
          <a:xfrm>
            <a:off x="9234745" y="4715124"/>
            <a:ext cx="2743200" cy="15453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25CC2353-14AA-9AE7-DC91-1205EF5A3761}"/>
              </a:ext>
            </a:extLst>
          </p:cNvPr>
          <p:cNvPicPr>
            <a:picLocks/>
          </p:cNvPicPr>
          <p:nvPr/>
        </p:nvPicPr>
        <p:blipFill>
          <a:blip r:embed="rId17"/>
          <a:stretch>
            <a:fillRect/>
          </a:stretch>
        </p:blipFill>
        <p:spPr>
          <a:xfrm>
            <a:off x="9234743" y="1560149"/>
            <a:ext cx="2743200" cy="154465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04840752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90DEE9-4387-2BE4-9119-16B553225C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45ABE51-9184-16CE-8DFB-4974532FB5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5ABE51-9184-16CE-8DFB-4974532FB5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036FA6DC-2177-B22A-06E5-5FFEEA92B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86" y="454014"/>
            <a:ext cx="11363327" cy="332399"/>
          </a:xfrm>
        </p:spPr>
        <p:txBody>
          <a:bodyPr vert="horz" lIns="0" tIns="0" rIns="0" bIns="0" rtlCol="0" anchor="t"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en-US" b="1" dirty="0">
                <a:cs typeface="Arial"/>
              </a:rPr>
              <a:t>PMI: </a:t>
            </a:r>
            <a:r>
              <a:rPr lang="en-US" dirty="0">
                <a:cs typeface="Arial"/>
              </a:rPr>
              <a:t>Key questions to drive post-close execution and value</a:t>
            </a:r>
            <a:endParaRPr lang="en-US" sz="2400" dirty="0">
              <a:solidFill>
                <a:schemeClr val="tx2"/>
              </a:solidFill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3C2599B-DF00-2288-FB84-4E10B6E204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0013595"/>
              </p:ext>
            </p:extLst>
          </p:nvPr>
        </p:nvGraphicFramePr>
        <p:xfrm>
          <a:off x="420686" y="965281"/>
          <a:ext cx="11232834" cy="5028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4774">
                  <a:extLst>
                    <a:ext uri="{9D8B030D-6E8A-4147-A177-3AD203B41FA5}">
                      <a16:colId xmlns:a16="http://schemas.microsoft.com/office/drawing/2014/main" val="255961866"/>
                    </a:ext>
                  </a:extLst>
                </a:gridCol>
                <a:gridCol w="9878060">
                  <a:extLst>
                    <a:ext uri="{9D8B030D-6E8A-4147-A177-3AD203B41FA5}">
                      <a16:colId xmlns:a16="http://schemas.microsoft.com/office/drawing/2014/main" val="1996484872"/>
                    </a:ext>
                  </a:extLst>
                </a:gridCol>
              </a:tblGrid>
              <a:tr h="387535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Areas</a:t>
                      </a:r>
                    </a:p>
                  </a:txBody>
                  <a:tcPr marT="91440" marB="9144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ea typeface="MS PGothic" panose="020B0600070205080204" pitchFamily="34" charset="-128"/>
                        </a:rPr>
                        <a:t>Post-close questions to answer now</a:t>
                      </a:r>
                    </a:p>
                  </a:txBody>
                  <a:tcPr marT="91440" marB="91440" anchor="ctr"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683702"/>
                  </a:ext>
                </a:extLst>
              </a:tr>
              <a:tr h="1154714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Operations</a:t>
                      </a:r>
                    </a:p>
                  </a:txBody>
                  <a:tcPr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How is the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IMO operationalized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(kickoff, resourcing, charters for workstreams)?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How are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Day-1 activities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executed, validated, and signed off? How are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post-Day-1 priorities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 sequenced (quick wins vs. long-term initiatives)?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How is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sponsor engagement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structured for oversight and decision-making?</a:t>
                      </a:r>
                    </a:p>
                  </a:txBody>
                  <a:tcPr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9247700"/>
                  </a:ext>
                </a:extLst>
              </a:tr>
              <a:tr h="970961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Communication</a:t>
                      </a:r>
                    </a:p>
                  </a:txBody>
                  <a:tcPr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How are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integration updates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cascaded to employees (cadence, format)?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How is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customer reassurance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and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retention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messaging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 executed?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How are sensitive changes (org design, systems, roles) communicated effectively?</a:t>
                      </a:r>
                    </a:p>
                  </a:txBody>
                  <a:tcPr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4165508"/>
                  </a:ext>
                </a:extLst>
              </a:tr>
              <a:tr h="1234911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Tracking</a:t>
                      </a:r>
                    </a:p>
                  </a:txBody>
                  <a:tcPr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How is progress against plan and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milestones tracked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across workstreams?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How are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synergies validated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and reported vs. deal model assumptions?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What is the cadence and format for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reporting to leadership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and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sponsor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?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How are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risks/issues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logged, prioritized, and escalated consistently?</a:t>
                      </a:r>
                    </a:p>
                  </a:txBody>
                  <a:tcPr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375057"/>
                  </a:ext>
                </a:extLst>
              </a:tr>
              <a:tr h="1279911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Back Office</a:t>
                      </a:r>
                    </a:p>
                  </a:txBody>
                  <a:tcPr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How will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policies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,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systems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, and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processes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 be harmonized across functions (e.g., HR policies, IT platforms, finance reporting, compliance frameworks, legal templates)?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What is the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roadmap for longer-term integratio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and optimization (system migrations, org design, treasury centralization, entity rationalization)?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How will ongoing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monitoring and governance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be structured to track risks, compliance, and value realization across back-office functions?</a:t>
                      </a:r>
                    </a:p>
                  </a:txBody>
                  <a:tcPr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416246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0085DAF-15A8-85DB-54FC-131D863C2EEB}"/>
              </a:ext>
            </a:extLst>
          </p:cNvPr>
          <p:cNvSpPr txBox="1"/>
          <p:nvPr/>
        </p:nvSpPr>
        <p:spPr>
          <a:xfrm>
            <a:off x="9057515" y="0"/>
            <a:ext cx="1688496" cy="27699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 Medium"/>
              </a:rPr>
              <a:t>NON-EXHAUSTIV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FE8A0E5-B47C-C992-BBDE-ABC209AF7264}"/>
              </a:ext>
            </a:extLst>
          </p:cNvPr>
          <p:cNvSpPr txBox="1"/>
          <p:nvPr/>
        </p:nvSpPr>
        <p:spPr>
          <a:xfrm>
            <a:off x="7260613" y="0"/>
            <a:ext cx="1688496" cy="276999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Arial"/>
                <a:sym typeface="Helvetica Neue Medium"/>
              </a:rPr>
              <a:t>PMI EXECUTION</a:t>
            </a:r>
            <a:endParaRPr kumimoji="0" lang="en-US" sz="120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4202295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BB8F2F-A5B3-AD40-5AAE-664EF1AFC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7DF48DD-C1D8-31E4-FD9D-F0DE62C1FC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4092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DF48DD-C1D8-31E4-FD9D-F0DE62C1FC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20">
            <a:extLst>
              <a:ext uri="{FF2B5EF4-FFF2-40B4-BE49-F238E27FC236}">
                <a16:creationId xmlns:a16="http://schemas.microsoft.com/office/drawing/2014/main" id="{A5308178-E0EE-3706-DFC4-C7F1A1B3F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550" y="454008"/>
            <a:ext cx="11162270" cy="332399"/>
          </a:xfrm>
        </p:spPr>
        <p:txBody>
          <a:bodyPr vert="horz"/>
          <a:lstStyle/>
          <a:p>
            <a:r>
              <a:rPr lang="en-US" b="1" dirty="0"/>
              <a:t>PMI:</a:t>
            </a:r>
            <a:r>
              <a:rPr lang="en-US" dirty="0"/>
              <a:t> Post-close execution &amp; synergy capture playbook</a:t>
            </a:r>
            <a:endParaRPr lang="en-AU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BC368D4-0BF1-6F05-C8B6-C9D69E0ACE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1227542"/>
              </p:ext>
            </p:extLst>
          </p:nvPr>
        </p:nvGraphicFramePr>
        <p:xfrm>
          <a:off x="456114" y="1000801"/>
          <a:ext cx="11162270" cy="4948688"/>
        </p:xfrm>
        <a:graphic>
          <a:graphicData uri="http://schemas.openxmlformats.org/drawingml/2006/table">
            <a:tbl>
              <a:tblPr/>
              <a:tblGrid>
                <a:gridCol w="210522">
                  <a:extLst>
                    <a:ext uri="{9D8B030D-6E8A-4147-A177-3AD203B41FA5}">
                      <a16:colId xmlns:a16="http://schemas.microsoft.com/office/drawing/2014/main" val="2497684602"/>
                    </a:ext>
                  </a:extLst>
                </a:gridCol>
                <a:gridCol w="1889983">
                  <a:extLst>
                    <a:ext uri="{9D8B030D-6E8A-4147-A177-3AD203B41FA5}">
                      <a16:colId xmlns:a16="http://schemas.microsoft.com/office/drawing/2014/main" val="3180924820"/>
                    </a:ext>
                  </a:extLst>
                </a:gridCol>
                <a:gridCol w="9061765">
                  <a:extLst>
                    <a:ext uri="{9D8B030D-6E8A-4147-A177-3AD203B41FA5}">
                      <a16:colId xmlns:a16="http://schemas.microsoft.com/office/drawing/2014/main" val="1142196540"/>
                    </a:ext>
                  </a:extLst>
                </a:gridCol>
              </a:tblGrid>
              <a:tr h="301407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2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T="64008" marB="6400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+mn-lt"/>
                        </a:rPr>
                        <a:t>Areas</a:t>
                      </a:r>
                      <a:endParaRPr lang="en-US" sz="12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T="64008" marB="64008" anchor="ctr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+mn-lt"/>
                        </a:rPr>
                        <a:t>Details</a:t>
                      </a:r>
                      <a:endParaRPr lang="en-US" sz="12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T="64008" marB="6400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4343112"/>
                  </a:ext>
                </a:extLst>
              </a:tr>
              <a:tr h="51699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200" b="1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dirty="0">
                          <a:solidFill>
                            <a:schemeClr val="tx2"/>
                          </a:solidFill>
                          <a:latin typeface="+mn-lt"/>
                        </a:rPr>
                        <a:t>Day-1 Execution</a:t>
                      </a:r>
                    </a:p>
                  </a:txBody>
                  <a:tcPr marL="420624" marR="54864" marT="27432" marB="27432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3600" indent="-183600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b="0" i="1" dirty="0"/>
                        <a:t>Execute the Day-1 playbook</a:t>
                      </a:r>
                      <a:r>
                        <a:rPr lang="en-US" sz="1200" b="0" i="0" dirty="0"/>
                        <a:t>:</a:t>
                      </a:r>
                      <a:r>
                        <a:rPr lang="en-US" sz="1200" b="0" i="1" dirty="0"/>
                        <a:t> </a:t>
                      </a:r>
                      <a:r>
                        <a:rPr lang="en-US" sz="1200" dirty="0"/>
                        <a:t>access to systems/email, payroll, welcome materials/FAQs, customer reassurance.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7056417"/>
                  </a:ext>
                </a:extLst>
              </a:tr>
              <a:tr h="688156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200" b="1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dirty="0">
                          <a:solidFill>
                            <a:schemeClr val="tx2"/>
                          </a:solidFill>
                          <a:latin typeface="+mn-lt"/>
                        </a:rPr>
                        <a:t>Human Resources</a:t>
                      </a:r>
                    </a:p>
                  </a:txBody>
                  <a:tcPr marL="420624" marR="54864" marT="27432" marB="2743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3600" indent="-183600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b="0" i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ify HR policies and systems</a:t>
                      </a:r>
                      <a:r>
                        <a:rPr lang="en-US" sz="1200" b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200" b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ring payroll, benefits, and HR platforms into a consistent model</a:t>
                      </a:r>
                    </a:p>
                    <a:p>
                      <a:pPr marL="183600" indent="-183600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b="0" i="1" dirty="0"/>
                        <a:t>Retain and upskill talent</a:t>
                      </a:r>
                      <a:r>
                        <a:rPr lang="en-US" sz="1200" b="0" dirty="0"/>
                        <a:t>:</a:t>
                      </a:r>
                      <a:r>
                        <a:rPr lang="en-US" sz="1200" dirty="0"/>
                        <a:t> Execute retention actions and career paths; launch cross-training to strengthen combined capabilities</a:t>
                      </a:r>
                      <a:endParaRPr lang="en-US" sz="1200" b="0" kern="1200" dirty="0">
                        <a:solidFill>
                          <a:schemeClr val="tx1"/>
                        </a:solidFill>
                        <a:highlight>
                          <a:srgbClr val="00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878914"/>
                  </a:ext>
                </a:extLst>
              </a:tr>
              <a:tr h="65998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200" b="1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dirty="0">
                          <a:solidFill>
                            <a:schemeClr val="tx2"/>
                          </a:solidFill>
                          <a:latin typeface="+mn-lt"/>
                        </a:rPr>
                        <a:t>IT &amp; Security</a:t>
                      </a:r>
                    </a:p>
                  </a:txBody>
                  <a:tcPr marL="420624" marR="54864" marT="27432" marB="2743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3600" indent="-183600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b="0" i="1" dirty="0"/>
                        <a:t>Integrate core IT platforms</a:t>
                      </a:r>
                      <a:r>
                        <a:rPr lang="en-US" sz="1200" b="0" dirty="0"/>
                        <a:t>:</a:t>
                      </a:r>
                      <a:r>
                        <a:rPr lang="en-US" sz="1200" dirty="0"/>
                        <a:t> Consolidate CRM, collaboration, and service management systems.</a:t>
                      </a:r>
                    </a:p>
                    <a:p>
                      <a:pPr marL="183600" indent="-183600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b="0" i="1" dirty="0"/>
                        <a:t>Operationalize cybersecurity controls</a:t>
                      </a:r>
                      <a:r>
                        <a:rPr lang="en-US" sz="1200" b="0" dirty="0"/>
                        <a:t>:</a:t>
                      </a:r>
                      <a:r>
                        <a:rPr lang="en-US" sz="1200" dirty="0"/>
                        <a:t> Apply unified controls and establish ongoing audits to monitor vulnerabilities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384657"/>
                  </a:ext>
                </a:extLst>
              </a:tr>
              <a:tr h="82024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200" b="1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dirty="0">
                          <a:solidFill>
                            <a:schemeClr val="tx2"/>
                          </a:solidFill>
                          <a:latin typeface="+mn-lt"/>
                        </a:rPr>
                        <a:t>Finance &amp; Legal</a:t>
                      </a:r>
                    </a:p>
                  </a:txBody>
                  <a:tcPr marL="420624" marR="54864" marT="27432" marB="2743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3600" indent="-183600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b="0" i="1" dirty="0"/>
                        <a:t>Integrate financial systems</a:t>
                      </a:r>
                      <a:r>
                        <a:rPr lang="en-US" sz="1200" b="0" dirty="0"/>
                        <a:t>:</a:t>
                      </a:r>
                      <a:r>
                        <a:rPr lang="en-US" sz="1200" dirty="0"/>
                        <a:t> Align billing, accounting, and reporting processes</a:t>
                      </a:r>
                    </a:p>
                    <a:p>
                      <a:pPr marL="183600" indent="-183600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b="0" i="1" dirty="0"/>
                        <a:t>Implement tax and treasury strateg</a:t>
                      </a:r>
                      <a:r>
                        <a:rPr lang="en-US" sz="1200" b="0" i="0" dirty="0"/>
                        <a:t>y: </a:t>
                      </a:r>
                      <a:r>
                        <a:rPr lang="en-US" sz="1200" dirty="0"/>
                        <a:t>Optimize cash management, capital structure, and global tax; update contracts/compliance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9477"/>
                  </a:ext>
                </a:extLst>
              </a:tr>
              <a:tr h="58457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200" b="1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dirty="0">
                          <a:solidFill>
                            <a:schemeClr val="tx2"/>
                          </a:solidFill>
                          <a:latin typeface="+mn-lt"/>
                        </a:rPr>
                        <a:t>Operations &amp; Customer</a:t>
                      </a:r>
                    </a:p>
                  </a:txBody>
                  <a:tcPr marL="420624" marR="54864" marT="27432" marB="2743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3600" indent="-183600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ndardize core operations</a:t>
                      </a: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Align sales, procurement, and customer service processes across the enterprise</a:t>
                      </a:r>
                    </a:p>
                    <a:p>
                      <a:pPr marL="183600" indent="-183600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timize supply chain and facilities</a:t>
                      </a: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Consolidate vendors/contracts and execute facility changes where efficiency gains exist</a:t>
                      </a: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5479001"/>
                  </a:ext>
                </a:extLst>
              </a:tr>
              <a:tr h="69758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200" b="1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dirty="0">
                          <a:solidFill>
                            <a:schemeClr val="tx2"/>
                          </a:solidFill>
                          <a:latin typeface="+mn-lt"/>
                        </a:rPr>
                        <a:t>Commercial Integration &amp; Execution</a:t>
                      </a:r>
                    </a:p>
                  </a:txBody>
                  <a:tcPr marL="420624" marR="54864" marT="27432" marB="2743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3600" indent="-183600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ify commercial model</a:t>
                      </a: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Align segments, coverage, and territories; harmonize pricing and packaging</a:t>
                      </a:r>
                    </a:p>
                    <a:p>
                      <a:pPr marL="183600" indent="-183600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aunch growth plays</a:t>
                      </a: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Execute priority cross-sell initiatives; integrate CRM/pipeline governance with shared KPIs</a:t>
                      </a:r>
                      <a:endParaRPr lang="en-US" sz="1200" b="0" kern="1200" dirty="0">
                        <a:solidFill>
                          <a:schemeClr val="tx1"/>
                        </a:solidFill>
                        <a:highlight>
                          <a:srgbClr val="00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2128678"/>
                  </a:ext>
                </a:extLst>
              </a:tr>
              <a:tr h="67026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200" b="1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dirty="0">
                          <a:solidFill>
                            <a:schemeClr val="tx2"/>
                          </a:solidFill>
                          <a:latin typeface="+mn-lt"/>
                        </a:rPr>
                        <a:t>Measurement &amp; Adaptation</a:t>
                      </a:r>
                    </a:p>
                  </a:txBody>
                  <a:tcPr marL="420624" marR="54864" marT="27432" marB="2743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3600" indent="-183600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nd up dashboards and cadence</a:t>
                      </a: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ack attach, retention, and time-to-resolution with a clear reporting rhythm</a:t>
                      </a:r>
                    </a:p>
                    <a:p>
                      <a:pPr marL="183600" indent="-183600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inforce the synergy story</a:t>
                      </a: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Communicate progress and adapt plans based on risk signals and employee/customer feedback</a:t>
                      </a:r>
                      <a:endParaRPr lang="en-US" sz="1200" b="0" kern="1200" dirty="0">
                        <a:solidFill>
                          <a:schemeClr val="tx1"/>
                        </a:solidFill>
                        <a:highlight>
                          <a:srgbClr val="00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27432" marB="2743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4669999"/>
                  </a:ext>
                </a:extLst>
              </a:tr>
            </a:tbl>
          </a:graphicData>
        </a:graphic>
      </p:graphicFrame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095E1B5-0C5D-CF2D-473A-AD56220DEFA7}"/>
              </a:ext>
            </a:extLst>
          </p:cNvPr>
          <p:cNvSpPr/>
          <p:nvPr/>
        </p:nvSpPr>
        <p:spPr>
          <a:xfrm>
            <a:off x="665374" y="1444586"/>
            <a:ext cx="233632" cy="256256"/>
          </a:xfrm>
          <a:custGeom>
            <a:avLst/>
            <a:gdLst>
              <a:gd name="connsiteX0" fmla="*/ 127212 w 694763"/>
              <a:gd name="connsiteY0" fmla="*/ 119769 h 762039"/>
              <a:gd name="connsiteX1" fmla="*/ 55960 w 694763"/>
              <a:gd name="connsiteY1" fmla="*/ 191021 h 762039"/>
              <a:gd name="connsiteX2" fmla="*/ 127212 w 694763"/>
              <a:gd name="connsiteY2" fmla="*/ 262272 h 762039"/>
              <a:gd name="connsiteX3" fmla="*/ 198463 w 694763"/>
              <a:gd name="connsiteY3" fmla="*/ 191021 h 762039"/>
              <a:gd name="connsiteX4" fmla="*/ 127212 w 694763"/>
              <a:gd name="connsiteY4" fmla="*/ 119769 h 762039"/>
              <a:gd name="connsiteX5" fmla="*/ 127212 w 694763"/>
              <a:gd name="connsiteY5" fmla="*/ 244080 h 762039"/>
              <a:gd name="connsiteX6" fmla="*/ 74154 w 694763"/>
              <a:gd name="connsiteY6" fmla="*/ 191023 h 762039"/>
              <a:gd name="connsiteX7" fmla="*/ 127212 w 694763"/>
              <a:gd name="connsiteY7" fmla="*/ 137965 h 762039"/>
              <a:gd name="connsiteX8" fmla="*/ 180269 w 694763"/>
              <a:gd name="connsiteY8" fmla="*/ 191023 h 762039"/>
              <a:gd name="connsiteX9" fmla="*/ 127212 w 694763"/>
              <a:gd name="connsiteY9" fmla="*/ 244080 h 762039"/>
              <a:gd name="connsiteX10" fmla="*/ 158503 w 694763"/>
              <a:gd name="connsiteY10" fmla="*/ 167210 h 762039"/>
              <a:gd name="connsiteX11" fmla="*/ 158503 w 694763"/>
              <a:gd name="connsiteY11" fmla="*/ 180084 h 762039"/>
              <a:gd name="connsiteX12" fmla="*/ 123715 w 694763"/>
              <a:gd name="connsiteY12" fmla="*/ 214872 h 762039"/>
              <a:gd name="connsiteX13" fmla="*/ 117278 w 694763"/>
              <a:gd name="connsiteY13" fmla="*/ 217551 h 762039"/>
              <a:gd name="connsiteX14" fmla="*/ 110841 w 694763"/>
              <a:gd name="connsiteY14" fmla="*/ 214872 h 762039"/>
              <a:gd name="connsiteX15" fmla="*/ 95921 w 694763"/>
              <a:gd name="connsiteY15" fmla="*/ 199952 h 762039"/>
              <a:gd name="connsiteX16" fmla="*/ 95921 w 694763"/>
              <a:gd name="connsiteY16" fmla="*/ 187078 h 762039"/>
              <a:gd name="connsiteX17" fmla="*/ 108795 w 694763"/>
              <a:gd name="connsiteY17" fmla="*/ 187078 h 762039"/>
              <a:gd name="connsiteX18" fmla="*/ 117278 w 694763"/>
              <a:gd name="connsiteY18" fmla="*/ 195561 h 762039"/>
              <a:gd name="connsiteX19" fmla="*/ 145631 w 694763"/>
              <a:gd name="connsiteY19" fmla="*/ 167209 h 762039"/>
              <a:gd name="connsiteX20" fmla="*/ 158505 w 694763"/>
              <a:gd name="connsiteY20" fmla="*/ 167209 h 762039"/>
              <a:gd name="connsiteX21" fmla="*/ 127212 w 694763"/>
              <a:gd name="connsiteY21" fmla="*/ 315295 h 762039"/>
              <a:gd name="connsiteX22" fmla="*/ 55960 w 694763"/>
              <a:gd name="connsiteY22" fmla="*/ 386547 h 762039"/>
              <a:gd name="connsiteX23" fmla="*/ 127212 w 694763"/>
              <a:gd name="connsiteY23" fmla="*/ 457799 h 762039"/>
              <a:gd name="connsiteX24" fmla="*/ 198463 w 694763"/>
              <a:gd name="connsiteY24" fmla="*/ 386547 h 762039"/>
              <a:gd name="connsiteX25" fmla="*/ 127212 w 694763"/>
              <a:gd name="connsiteY25" fmla="*/ 315295 h 762039"/>
              <a:gd name="connsiteX26" fmla="*/ 127212 w 694763"/>
              <a:gd name="connsiteY26" fmla="*/ 439606 h 762039"/>
              <a:gd name="connsiteX27" fmla="*/ 74154 w 694763"/>
              <a:gd name="connsiteY27" fmla="*/ 386549 h 762039"/>
              <a:gd name="connsiteX28" fmla="*/ 127212 w 694763"/>
              <a:gd name="connsiteY28" fmla="*/ 333492 h 762039"/>
              <a:gd name="connsiteX29" fmla="*/ 180269 w 694763"/>
              <a:gd name="connsiteY29" fmla="*/ 386549 h 762039"/>
              <a:gd name="connsiteX30" fmla="*/ 127212 w 694763"/>
              <a:gd name="connsiteY30" fmla="*/ 439606 h 762039"/>
              <a:gd name="connsiteX31" fmla="*/ 127212 w 694763"/>
              <a:gd name="connsiteY31" fmla="*/ 510821 h 762039"/>
              <a:gd name="connsiteX32" fmla="*/ 55960 w 694763"/>
              <a:gd name="connsiteY32" fmla="*/ 582072 h 762039"/>
              <a:gd name="connsiteX33" fmla="*/ 127212 w 694763"/>
              <a:gd name="connsiteY33" fmla="*/ 653324 h 762039"/>
              <a:gd name="connsiteX34" fmla="*/ 198463 w 694763"/>
              <a:gd name="connsiteY34" fmla="*/ 582072 h 762039"/>
              <a:gd name="connsiteX35" fmla="*/ 127212 w 694763"/>
              <a:gd name="connsiteY35" fmla="*/ 510821 h 762039"/>
              <a:gd name="connsiteX36" fmla="*/ 127212 w 694763"/>
              <a:gd name="connsiteY36" fmla="*/ 635131 h 762039"/>
              <a:gd name="connsiteX37" fmla="*/ 74154 w 694763"/>
              <a:gd name="connsiteY37" fmla="*/ 582074 h 762039"/>
              <a:gd name="connsiteX38" fmla="*/ 127212 w 694763"/>
              <a:gd name="connsiteY38" fmla="*/ 529017 h 762039"/>
              <a:gd name="connsiteX39" fmla="*/ 180269 w 694763"/>
              <a:gd name="connsiteY39" fmla="*/ 582074 h 762039"/>
              <a:gd name="connsiteX40" fmla="*/ 127212 w 694763"/>
              <a:gd name="connsiteY40" fmla="*/ 635131 h 762039"/>
              <a:gd name="connsiteX41" fmla="*/ 158503 w 694763"/>
              <a:gd name="connsiteY41" fmla="*/ 362735 h 762039"/>
              <a:gd name="connsiteX42" fmla="*/ 158503 w 694763"/>
              <a:gd name="connsiteY42" fmla="*/ 375609 h 762039"/>
              <a:gd name="connsiteX43" fmla="*/ 123715 w 694763"/>
              <a:gd name="connsiteY43" fmla="*/ 410398 h 762039"/>
              <a:gd name="connsiteX44" fmla="*/ 117278 w 694763"/>
              <a:gd name="connsiteY44" fmla="*/ 413077 h 762039"/>
              <a:gd name="connsiteX45" fmla="*/ 110841 w 694763"/>
              <a:gd name="connsiteY45" fmla="*/ 410398 h 762039"/>
              <a:gd name="connsiteX46" fmla="*/ 95921 w 694763"/>
              <a:gd name="connsiteY46" fmla="*/ 395478 h 762039"/>
              <a:gd name="connsiteX47" fmla="*/ 95921 w 694763"/>
              <a:gd name="connsiteY47" fmla="*/ 382604 h 762039"/>
              <a:gd name="connsiteX48" fmla="*/ 108795 w 694763"/>
              <a:gd name="connsiteY48" fmla="*/ 382604 h 762039"/>
              <a:gd name="connsiteX49" fmla="*/ 117278 w 694763"/>
              <a:gd name="connsiteY49" fmla="*/ 391087 h 762039"/>
              <a:gd name="connsiteX50" fmla="*/ 145631 w 694763"/>
              <a:gd name="connsiteY50" fmla="*/ 362735 h 762039"/>
              <a:gd name="connsiteX51" fmla="*/ 158505 w 694763"/>
              <a:gd name="connsiteY51" fmla="*/ 362735 h 762039"/>
              <a:gd name="connsiteX52" fmla="*/ 152699 w 694763"/>
              <a:gd name="connsiteY52" fmla="*/ 569457 h 762039"/>
              <a:gd name="connsiteX53" fmla="*/ 140086 w 694763"/>
              <a:gd name="connsiteY53" fmla="*/ 582070 h 762039"/>
              <a:gd name="connsiteX54" fmla="*/ 152699 w 694763"/>
              <a:gd name="connsiteY54" fmla="*/ 594683 h 762039"/>
              <a:gd name="connsiteX55" fmla="*/ 152699 w 694763"/>
              <a:gd name="connsiteY55" fmla="*/ 607557 h 762039"/>
              <a:gd name="connsiteX56" fmla="*/ 146262 w 694763"/>
              <a:gd name="connsiteY56" fmla="*/ 610235 h 762039"/>
              <a:gd name="connsiteX57" fmla="*/ 139825 w 694763"/>
              <a:gd name="connsiteY57" fmla="*/ 607557 h 762039"/>
              <a:gd name="connsiteX58" fmla="*/ 127212 w 694763"/>
              <a:gd name="connsiteY58" fmla="*/ 594944 h 762039"/>
              <a:gd name="connsiteX59" fmla="*/ 114599 w 694763"/>
              <a:gd name="connsiteY59" fmla="*/ 607557 h 762039"/>
              <a:gd name="connsiteX60" fmla="*/ 108162 w 694763"/>
              <a:gd name="connsiteY60" fmla="*/ 610235 h 762039"/>
              <a:gd name="connsiteX61" fmla="*/ 101725 w 694763"/>
              <a:gd name="connsiteY61" fmla="*/ 607557 h 762039"/>
              <a:gd name="connsiteX62" fmla="*/ 101725 w 694763"/>
              <a:gd name="connsiteY62" fmla="*/ 594683 h 762039"/>
              <a:gd name="connsiteX63" fmla="*/ 114339 w 694763"/>
              <a:gd name="connsiteY63" fmla="*/ 582070 h 762039"/>
              <a:gd name="connsiteX64" fmla="*/ 101725 w 694763"/>
              <a:gd name="connsiteY64" fmla="*/ 569457 h 762039"/>
              <a:gd name="connsiteX65" fmla="*/ 101725 w 694763"/>
              <a:gd name="connsiteY65" fmla="*/ 556583 h 762039"/>
              <a:gd name="connsiteX66" fmla="*/ 114599 w 694763"/>
              <a:gd name="connsiteY66" fmla="*/ 556583 h 762039"/>
              <a:gd name="connsiteX67" fmla="*/ 127212 w 694763"/>
              <a:gd name="connsiteY67" fmla="*/ 569196 h 762039"/>
              <a:gd name="connsiteX68" fmla="*/ 139826 w 694763"/>
              <a:gd name="connsiteY68" fmla="*/ 556583 h 762039"/>
              <a:gd name="connsiteX69" fmla="*/ 152699 w 694763"/>
              <a:gd name="connsiteY69" fmla="*/ 556583 h 762039"/>
              <a:gd name="connsiteX70" fmla="*/ 152699 w 694763"/>
              <a:gd name="connsiteY70" fmla="*/ 569457 h 762039"/>
              <a:gd name="connsiteX71" fmla="*/ 246051 w 694763"/>
              <a:gd name="connsiteY71" fmla="*/ 163939 h 762039"/>
              <a:gd name="connsiteX72" fmla="*/ 255167 w 694763"/>
              <a:gd name="connsiteY72" fmla="*/ 154823 h 762039"/>
              <a:gd name="connsiteX73" fmla="*/ 427808 w 694763"/>
              <a:gd name="connsiteY73" fmla="*/ 154823 h 762039"/>
              <a:gd name="connsiteX74" fmla="*/ 436923 w 694763"/>
              <a:gd name="connsiteY74" fmla="*/ 163939 h 762039"/>
              <a:gd name="connsiteX75" fmla="*/ 427808 w 694763"/>
              <a:gd name="connsiteY75" fmla="*/ 173055 h 762039"/>
              <a:gd name="connsiteX76" fmla="*/ 255167 w 694763"/>
              <a:gd name="connsiteY76" fmla="*/ 173055 h 762039"/>
              <a:gd name="connsiteX77" fmla="*/ 246051 w 694763"/>
              <a:gd name="connsiteY77" fmla="*/ 163939 h 762039"/>
              <a:gd name="connsiteX78" fmla="*/ 246051 w 694763"/>
              <a:gd name="connsiteY78" fmla="*/ 218187 h 762039"/>
              <a:gd name="connsiteX79" fmla="*/ 255167 w 694763"/>
              <a:gd name="connsiteY79" fmla="*/ 209071 h 762039"/>
              <a:gd name="connsiteX80" fmla="*/ 389374 w 694763"/>
              <a:gd name="connsiteY80" fmla="*/ 209071 h 762039"/>
              <a:gd name="connsiteX81" fmla="*/ 398490 w 694763"/>
              <a:gd name="connsiteY81" fmla="*/ 218187 h 762039"/>
              <a:gd name="connsiteX82" fmla="*/ 389374 w 694763"/>
              <a:gd name="connsiteY82" fmla="*/ 227303 h 762039"/>
              <a:gd name="connsiteX83" fmla="*/ 255167 w 694763"/>
              <a:gd name="connsiteY83" fmla="*/ 227303 h 762039"/>
              <a:gd name="connsiteX84" fmla="*/ 246051 w 694763"/>
              <a:gd name="connsiteY84" fmla="*/ 218187 h 762039"/>
              <a:gd name="connsiteX85" fmla="*/ 246051 w 694763"/>
              <a:gd name="connsiteY85" fmla="*/ 359462 h 762039"/>
              <a:gd name="connsiteX86" fmla="*/ 255167 w 694763"/>
              <a:gd name="connsiteY86" fmla="*/ 350346 h 762039"/>
              <a:gd name="connsiteX87" fmla="*/ 427808 w 694763"/>
              <a:gd name="connsiteY87" fmla="*/ 350346 h 762039"/>
              <a:gd name="connsiteX88" fmla="*/ 436923 w 694763"/>
              <a:gd name="connsiteY88" fmla="*/ 359462 h 762039"/>
              <a:gd name="connsiteX89" fmla="*/ 427808 w 694763"/>
              <a:gd name="connsiteY89" fmla="*/ 368577 h 762039"/>
              <a:gd name="connsiteX90" fmla="*/ 255167 w 694763"/>
              <a:gd name="connsiteY90" fmla="*/ 368577 h 762039"/>
              <a:gd name="connsiteX91" fmla="*/ 246051 w 694763"/>
              <a:gd name="connsiteY91" fmla="*/ 359462 h 762039"/>
              <a:gd name="connsiteX92" fmla="*/ 246051 w 694763"/>
              <a:gd name="connsiteY92" fmla="*/ 413709 h 762039"/>
              <a:gd name="connsiteX93" fmla="*/ 255167 w 694763"/>
              <a:gd name="connsiteY93" fmla="*/ 404594 h 762039"/>
              <a:gd name="connsiteX94" fmla="*/ 389374 w 694763"/>
              <a:gd name="connsiteY94" fmla="*/ 404594 h 762039"/>
              <a:gd name="connsiteX95" fmla="*/ 398490 w 694763"/>
              <a:gd name="connsiteY95" fmla="*/ 413709 h 762039"/>
              <a:gd name="connsiteX96" fmla="*/ 389374 w 694763"/>
              <a:gd name="connsiteY96" fmla="*/ 422825 h 762039"/>
              <a:gd name="connsiteX97" fmla="*/ 255167 w 694763"/>
              <a:gd name="connsiteY97" fmla="*/ 422825 h 762039"/>
              <a:gd name="connsiteX98" fmla="*/ 246051 w 694763"/>
              <a:gd name="connsiteY98" fmla="*/ 413709 h 762039"/>
              <a:gd name="connsiteX99" fmla="*/ 246051 w 694763"/>
              <a:gd name="connsiteY99" fmla="*/ 554984 h 762039"/>
              <a:gd name="connsiteX100" fmla="*/ 255167 w 694763"/>
              <a:gd name="connsiteY100" fmla="*/ 545869 h 762039"/>
              <a:gd name="connsiteX101" fmla="*/ 427808 w 694763"/>
              <a:gd name="connsiteY101" fmla="*/ 545869 h 762039"/>
              <a:gd name="connsiteX102" fmla="*/ 436923 w 694763"/>
              <a:gd name="connsiteY102" fmla="*/ 554984 h 762039"/>
              <a:gd name="connsiteX103" fmla="*/ 427808 w 694763"/>
              <a:gd name="connsiteY103" fmla="*/ 564100 h 762039"/>
              <a:gd name="connsiteX104" fmla="*/ 255167 w 694763"/>
              <a:gd name="connsiteY104" fmla="*/ 564100 h 762039"/>
              <a:gd name="connsiteX105" fmla="*/ 246051 w 694763"/>
              <a:gd name="connsiteY105" fmla="*/ 554984 h 762039"/>
              <a:gd name="connsiteX106" fmla="*/ 398489 w 694763"/>
              <a:gd name="connsiteY106" fmla="*/ 609232 h 762039"/>
              <a:gd name="connsiteX107" fmla="*/ 389374 w 694763"/>
              <a:gd name="connsiteY107" fmla="*/ 618348 h 762039"/>
              <a:gd name="connsiteX108" fmla="*/ 255167 w 694763"/>
              <a:gd name="connsiteY108" fmla="*/ 618348 h 762039"/>
              <a:gd name="connsiteX109" fmla="*/ 246051 w 694763"/>
              <a:gd name="connsiteY109" fmla="*/ 609232 h 762039"/>
              <a:gd name="connsiteX110" fmla="*/ 255167 w 694763"/>
              <a:gd name="connsiteY110" fmla="*/ 600116 h 762039"/>
              <a:gd name="connsiteX111" fmla="*/ 389374 w 694763"/>
              <a:gd name="connsiteY111" fmla="*/ 600116 h 762039"/>
              <a:gd name="connsiteX112" fmla="*/ 398489 w 694763"/>
              <a:gd name="connsiteY112" fmla="*/ 609232 h 762039"/>
              <a:gd name="connsiteX113" fmla="*/ 685649 w 694763"/>
              <a:gd name="connsiteY113" fmla="*/ 691645 h 762039"/>
              <a:gd name="connsiteX114" fmla="*/ 681891 w 694763"/>
              <a:gd name="connsiteY114" fmla="*/ 691645 h 762039"/>
              <a:gd name="connsiteX115" fmla="*/ 681891 w 694763"/>
              <a:gd name="connsiteY115" fmla="*/ 648597 h 762039"/>
              <a:gd name="connsiteX116" fmla="*/ 672776 w 694763"/>
              <a:gd name="connsiteY116" fmla="*/ 639481 h 762039"/>
              <a:gd name="connsiteX117" fmla="*/ 657075 w 694763"/>
              <a:gd name="connsiteY117" fmla="*/ 639481 h 762039"/>
              <a:gd name="connsiteX118" fmla="*/ 644536 w 694763"/>
              <a:gd name="connsiteY118" fmla="*/ 560863 h 762039"/>
              <a:gd name="connsiteX119" fmla="*/ 667902 w 694763"/>
              <a:gd name="connsiteY119" fmla="*/ 403919 h 762039"/>
              <a:gd name="connsiteX120" fmla="*/ 666637 w 694763"/>
              <a:gd name="connsiteY120" fmla="*/ 397780 h 762039"/>
              <a:gd name="connsiteX121" fmla="*/ 614286 w 694763"/>
              <a:gd name="connsiteY121" fmla="*/ 313581 h 762039"/>
              <a:gd name="connsiteX122" fmla="*/ 610193 w 694763"/>
              <a:gd name="connsiteY122" fmla="*/ 251966 h 762039"/>
              <a:gd name="connsiteX123" fmla="*/ 610156 w 694763"/>
              <a:gd name="connsiteY123" fmla="*/ 251854 h 762039"/>
              <a:gd name="connsiteX124" fmla="*/ 610082 w 694763"/>
              <a:gd name="connsiteY124" fmla="*/ 251333 h 762039"/>
              <a:gd name="connsiteX125" fmla="*/ 610007 w 694763"/>
              <a:gd name="connsiteY125" fmla="*/ 250961 h 762039"/>
              <a:gd name="connsiteX126" fmla="*/ 609896 w 694763"/>
              <a:gd name="connsiteY126" fmla="*/ 250478 h 762039"/>
              <a:gd name="connsiteX127" fmla="*/ 609784 w 694763"/>
              <a:gd name="connsiteY127" fmla="*/ 250105 h 762039"/>
              <a:gd name="connsiteX128" fmla="*/ 609635 w 694763"/>
              <a:gd name="connsiteY128" fmla="*/ 249659 h 762039"/>
              <a:gd name="connsiteX129" fmla="*/ 609487 w 694763"/>
              <a:gd name="connsiteY129" fmla="*/ 249250 h 762039"/>
              <a:gd name="connsiteX130" fmla="*/ 609300 w 694763"/>
              <a:gd name="connsiteY130" fmla="*/ 248878 h 762039"/>
              <a:gd name="connsiteX131" fmla="*/ 609114 w 694763"/>
              <a:gd name="connsiteY131" fmla="*/ 248431 h 762039"/>
              <a:gd name="connsiteX132" fmla="*/ 608928 w 694763"/>
              <a:gd name="connsiteY132" fmla="*/ 248096 h 762039"/>
              <a:gd name="connsiteX133" fmla="*/ 608668 w 694763"/>
              <a:gd name="connsiteY133" fmla="*/ 247650 h 762039"/>
              <a:gd name="connsiteX134" fmla="*/ 608445 w 694763"/>
              <a:gd name="connsiteY134" fmla="*/ 247315 h 762039"/>
              <a:gd name="connsiteX135" fmla="*/ 608147 w 694763"/>
              <a:gd name="connsiteY135" fmla="*/ 246906 h 762039"/>
              <a:gd name="connsiteX136" fmla="*/ 608073 w 694763"/>
              <a:gd name="connsiteY136" fmla="*/ 246794 h 762039"/>
              <a:gd name="connsiteX137" fmla="*/ 607887 w 694763"/>
              <a:gd name="connsiteY137" fmla="*/ 246571 h 762039"/>
              <a:gd name="connsiteX138" fmla="*/ 607589 w 694763"/>
              <a:gd name="connsiteY138" fmla="*/ 246236 h 762039"/>
              <a:gd name="connsiteX139" fmla="*/ 607217 w 694763"/>
              <a:gd name="connsiteY139" fmla="*/ 245864 h 762039"/>
              <a:gd name="connsiteX140" fmla="*/ 606956 w 694763"/>
              <a:gd name="connsiteY140" fmla="*/ 245641 h 762039"/>
              <a:gd name="connsiteX141" fmla="*/ 606473 w 694763"/>
              <a:gd name="connsiteY141" fmla="*/ 245269 h 762039"/>
              <a:gd name="connsiteX142" fmla="*/ 606249 w 694763"/>
              <a:gd name="connsiteY142" fmla="*/ 245120 h 762039"/>
              <a:gd name="connsiteX143" fmla="*/ 605729 w 694763"/>
              <a:gd name="connsiteY143" fmla="*/ 244785 h 762039"/>
              <a:gd name="connsiteX144" fmla="*/ 605505 w 694763"/>
              <a:gd name="connsiteY144" fmla="*/ 244673 h 762039"/>
              <a:gd name="connsiteX145" fmla="*/ 604947 w 694763"/>
              <a:gd name="connsiteY145" fmla="*/ 244376 h 762039"/>
              <a:gd name="connsiteX146" fmla="*/ 604687 w 694763"/>
              <a:gd name="connsiteY146" fmla="*/ 244264 h 762039"/>
              <a:gd name="connsiteX147" fmla="*/ 604166 w 694763"/>
              <a:gd name="connsiteY147" fmla="*/ 244041 h 762039"/>
              <a:gd name="connsiteX148" fmla="*/ 603868 w 694763"/>
              <a:gd name="connsiteY148" fmla="*/ 243929 h 762039"/>
              <a:gd name="connsiteX149" fmla="*/ 603347 w 694763"/>
              <a:gd name="connsiteY149" fmla="*/ 243780 h 762039"/>
              <a:gd name="connsiteX150" fmla="*/ 602975 w 694763"/>
              <a:gd name="connsiteY150" fmla="*/ 243706 h 762039"/>
              <a:gd name="connsiteX151" fmla="*/ 602492 w 694763"/>
              <a:gd name="connsiteY151" fmla="*/ 243594 h 762039"/>
              <a:gd name="connsiteX152" fmla="*/ 602120 w 694763"/>
              <a:gd name="connsiteY152" fmla="*/ 243520 h 762039"/>
              <a:gd name="connsiteX153" fmla="*/ 601636 w 694763"/>
              <a:gd name="connsiteY153" fmla="*/ 243483 h 762039"/>
              <a:gd name="connsiteX154" fmla="*/ 601227 w 694763"/>
              <a:gd name="connsiteY154" fmla="*/ 243445 h 762039"/>
              <a:gd name="connsiteX155" fmla="*/ 600706 w 694763"/>
              <a:gd name="connsiteY155" fmla="*/ 243445 h 762039"/>
              <a:gd name="connsiteX156" fmla="*/ 600445 w 694763"/>
              <a:gd name="connsiteY156" fmla="*/ 243445 h 762039"/>
              <a:gd name="connsiteX157" fmla="*/ 600296 w 694763"/>
              <a:gd name="connsiteY157" fmla="*/ 243483 h 762039"/>
              <a:gd name="connsiteX158" fmla="*/ 599813 w 694763"/>
              <a:gd name="connsiteY158" fmla="*/ 243557 h 762039"/>
              <a:gd name="connsiteX159" fmla="*/ 599403 w 694763"/>
              <a:gd name="connsiteY159" fmla="*/ 243631 h 762039"/>
              <a:gd name="connsiteX160" fmla="*/ 598957 w 694763"/>
              <a:gd name="connsiteY160" fmla="*/ 243743 h 762039"/>
              <a:gd name="connsiteX161" fmla="*/ 598510 w 694763"/>
              <a:gd name="connsiteY161" fmla="*/ 243855 h 762039"/>
              <a:gd name="connsiteX162" fmla="*/ 598101 w 694763"/>
              <a:gd name="connsiteY162" fmla="*/ 244003 h 762039"/>
              <a:gd name="connsiteX163" fmla="*/ 597655 w 694763"/>
              <a:gd name="connsiteY163" fmla="*/ 244152 h 762039"/>
              <a:gd name="connsiteX164" fmla="*/ 597320 w 694763"/>
              <a:gd name="connsiteY164" fmla="*/ 244301 h 762039"/>
              <a:gd name="connsiteX165" fmla="*/ 596836 w 694763"/>
              <a:gd name="connsiteY165" fmla="*/ 244524 h 762039"/>
              <a:gd name="connsiteX166" fmla="*/ 596538 w 694763"/>
              <a:gd name="connsiteY166" fmla="*/ 244710 h 762039"/>
              <a:gd name="connsiteX167" fmla="*/ 596055 w 694763"/>
              <a:gd name="connsiteY167" fmla="*/ 245008 h 762039"/>
              <a:gd name="connsiteX168" fmla="*/ 595757 w 694763"/>
              <a:gd name="connsiteY168" fmla="*/ 245194 h 762039"/>
              <a:gd name="connsiteX169" fmla="*/ 595311 w 694763"/>
              <a:gd name="connsiteY169" fmla="*/ 245529 h 762039"/>
              <a:gd name="connsiteX170" fmla="*/ 595199 w 694763"/>
              <a:gd name="connsiteY170" fmla="*/ 245603 h 762039"/>
              <a:gd name="connsiteX171" fmla="*/ 560559 w 694763"/>
              <a:gd name="connsiteY171" fmla="*/ 274216 h 762039"/>
              <a:gd name="connsiteX172" fmla="*/ 560597 w 694763"/>
              <a:gd name="connsiteY172" fmla="*/ 9116 h 762039"/>
              <a:gd name="connsiteX173" fmla="*/ 551481 w 694763"/>
              <a:gd name="connsiteY173" fmla="*/ 0 h 762039"/>
              <a:gd name="connsiteX174" fmla="*/ 76907 w 694763"/>
              <a:gd name="connsiteY174" fmla="*/ 0 h 762039"/>
              <a:gd name="connsiteX175" fmla="*/ 67792 w 694763"/>
              <a:gd name="connsiteY175" fmla="*/ 9116 h 762039"/>
              <a:gd name="connsiteX176" fmla="*/ 67792 w 694763"/>
              <a:gd name="connsiteY176" fmla="*/ 63289 h 762039"/>
              <a:gd name="connsiteX177" fmla="*/ 9116 w 694763"/>
              <a:gd name="connsiteY177" fmla="*/ 63289 h 762039"/>
              <a:gd name="connsiteX178" fmla="*/ 0 w 694763"/>
              <a:gd name="connsiteY178" fmla="*/ 72405 h 762039"/>
              <a:gd name="connsiteX179" fmla="*/ 0 w 694763"/>
              <a:gd name="connsiteY179" fmla="*/ 700760 h 762039"/>
              <a:gd name="connsiteX180" fmla="*/ 9116 w 694763"/>
              <a:gd name="connsiteY180" fmla="*/ 709875 h 762039"/>
              <a:gd name="connsiteX181" fmla="*/ 417310 w 694763"/>
              <a:gd name="connsiteY181" fmla="*/ 709875 h 762039"/>
              <a:gd name="connsiteX182" fmla="*/ 417310 w 694763"/>
              <a:gd name="connsiteY182" fmla="*/ 752924 h 762039"/>
              <a:gd name="connsiteX183" fmla="*/ 426425 w 694763"/>
              <a:gd name="connsiteY183" fmla="*/ 762039 h 762039"/>
              <a:gd name="connsiteX184" fmla="*/ 685648 w 694763"/>
              <a:gd name="connsiteY184" fmla="*/ 762039 h 762039"/>
              <a:gd name="connsiteX185" fmla="*/ 694764 w 694763"/>
              <a:gd name="connsiteY185" fmla="*/ 752924 h 762039"/>
              <a:gd name="connsiteX186" fmla="*/ 694764 w 694763"/>
              <a:gd name="connsiteY186" fmla="*/ 700759 h 762039"/>
              <a:gd name="connsiteX187" fmla="*/ 685648 w 694763"/>
              <a:gd name="connsiteY187" fmla="*/ 691643 h 762039"/>
              <a:gd name="connsiteX188" fmla="*/ 663697 w 694763"/>
              <a:gd name="connsiteY188" fmla="*/ 691645 h 762039"/>
              <a:gd name="connsiteX189" fmla="*/ 448384 w 694763"/>
              <a:gd name="connsiteY189" fmla="*/ 691645 h 762039"/>
              <a:gd name="connsiteX190" fmla="*/ 448384 w 694763"/>
              <a:gd name="connsiteY190" fmla="*/ 657712 h 762039"/>
              <a:gd name="connsiteX191" fmla="*/ 462820 w 694763"/>
              <a:gd name="connsiteY191" fmla="*/ 657712 h 762039"/>
              <a:gd name="connsiteX192" fmla="*/ 462858 w 694763"/>
              <a:gd name="connsiteY192" fmla="*/ 657712 h 762039"/>
              <a:gd name="connsiteX193" fmla="*/ 663702 w 694763"/>
              <a:gd name="connsiteY193" fmla="*/ 657712 h 762039"/>
              <a:gd name="connsiteX194" fmla="*/ 649409 w 694763"/>
              <a:gd name="connsiteY194" fmla="*/ 404552 h 762039"/>
              <a:gd name="connsiteX195" fmla="*/ 626341 w 694763"/>
              <a:gd name="connsiteY195" fmla="*/ 559552 h 762039"/>
              <a:gd name="connsiteX196" fmla="*/ 626378 w 694763"/>
              <a:gd name="connsiteY196" fmla="*/ 562306 h 762039"/>
              <a:gd name="connsiteX197" fmla="*/ 638694 w 694763"/>
              <a:gd name="connsiteY197" fmla="*/ 639436 h 762039"/>
              <a:gd name="connsiteX198" fmla="*/ 471187 w 694763"/>
              <a:gd name="connsiteY198" fmla="*/ 639436 h 762039"/>
              <a:gd name="connsiteX199" fmla="*/ 466871 w 694763"/>
              <a:gd name="connsiteY199" fmla="*/ 593412 h 762039"/>
              <a:gd name="connsiteX200" fmla="*/ 517957 w 694763"/>
              <a:gd name="connsiteY200" fmla="*/ 492285 h 762039"/>
              <a:gd name="connsiteX201" fmla="*/ 538494 w 694763"/>
              <a:gd name="connsiteY201" fmla="*/ 498424 h 762039"/>
              <a:gd name="connsiteX202" fmla="*/ 541099 w 694763"/>
              <a:gd name="connsiteY202" fmla="*/ 498796 h 762039"/>
              <a:gd name="connsiteX203" fmla="*/ 548466 w 694763"/>
              <a:gd name="connsiteY203" fmla="*/ 495038 h 762039"/>
              <a:gd name="connsiteX204" fmla="*/ 582734 w 694763"/>
              <a:gd name="connsiteY204" fmla="*/ 447599 h 762039"/>
              <a:gd name="connsiteX205" fmla="*/ 580688 w 694763"/>
              <a:gd name="connsiteY205" fmla="*/ 434874 h 762039"/>
              <a:gd name="connsiteX206" fmla="*/ 567963 w 694763"/>
              <a:gd name="connsiteY206" fmla="*/ 436921 h 762039"/>
              <a:gd name="connsiteX207" fmla="*/ 537491 w 694763"/>
              <a:gd name="connsiteY207" fmla="*/ 479113 h 762039"/>
              <a:gd name="connsiteX208" fmla="*/ 488006 w 694763"/>
              <a:gd name="connsiteY208" fmla="*/ 464342 h 762039"/>
              <a:gd name="connsiteX209" fmla="*/ 481978 w 694763"/>
              <a:gd name="connsiteY209" fmla="*/ 464640 h 762039"/>
              <a:gd name="connsiteX210" fmla="*/ 444027 w 694763"/>
              <a:gd name="connsiteY210" fmla="*/ 480118 h 762039"/>
              <a:gd name="connsiteX211" fmla="*/ 417647 w 694763"/>
              <a:gd name="connsiteY211" fmla="*/ 473644 h 762039"/>
              <a:gd name="connsiteX212" fmla="*/ 440790 w 694763"/>
              <a:gd name="connsiteY212" fmla="*/ 396774 h 762039"/>
              <a:gd name="connsiteX213" fmla="*/ 489569 w 694763"/>
              <a:gd name="connsiteY213" fmla="*/ 356479 h 762039"/>
              <a:gd name="connsiteX214" fmla="*/ 489606 w 694763"/>
              <a:gd name="connsiteY214" fmla="*/ 356441 h 762039"/>
              <a:gd name="connsiteX215" fmla="*/ 557397 w 694763"/>
              <a:gd name="connsiteY215" fmla="*/ 300482 h 762039"/>
              <a:gd name="connsiteX216" fmla="*/ 593227 w 694763"/>
              <a:gd name="connsiteY216" fmla="*/ 270902 h 762039"/>
              <a:gd name="connsiteX217" fmla="*/ 596316 w 694763"/>
              <a:gd name="connsiteY217" fmla="*/ 317077 h 762039"/>
              <a:gd name="connsiteX218" fmla="*/ 597655 w 694763"/>
              <a:gd name="connsiteY218" fmla="*/ 321281 h 762039"/>
              <a:gd name="connsiteX219" fmla="*/ 649447 w 694763"/>
              <a:gd name="connsiteY219" fmla="*/ 404550 h 762039"/>
              <a:gd name="connsiteX220" fmla="*/ 86025 w 694763"/>
              <a:gd name="connsiteY220" fmla="*/ 18199 h 762039"/>
              <a:gd name="connsiteX221" fmla="*/ 542444 w 694763"/>
              <a:gd name="connsiteY221" fmla="*/ 18199 h 762039"/>
              <a:gd name="connsiteX222" fmla="*/ 542444 w 694763"/>
              <a:gd name="connsiteY222" fmla="*/ 289138 h 762039"/>
              <a:gd name="connsiteX223" fmla="*/ 492847 w 694763"/>
              <a:gd name="connsiteY223" fmla="*/ 330103 h 762039"/>
              <a:gd name="connsiteX224" fmla="*/ 492847 w 694763"/>
              <a:gd name="connsiteY224" fmla="*/ 72366 h 762039"/>
              <a:gd name="connsiteX225" fmla="*/ 483731 w 694763"/>
              <a:gd name="connsiteY225" fmla="*/ 63250 h 762039"/>
              <a:gd name="connsiteX226" fmla="*/ 86024 w 694763"/>
              <a:gd name="connsiteY226" fmla="*/ 63287 h 762039"/>
              <a:gd name="connsiteX227" fmla="*/ 18233 w 694763"/>
              <a:gd name="connsiteY227" fmla="*/ 81488 h 762039"/>
              <a:gd name="connsiteX228" fmla="*/ 474652 w 694763"/>
              <a:gd name="connsiteY228" fmla="*/ 81488 h 762039"/>
              <a:gd name="connsiteX229" fmla="*/ 474652 w 694763"/>
              <a:gd name="connsiteY229" fmla="*/ 345140 h 762039"/>
              <a:gd name="connsiteX230" fmla="*/ 427027 w 694763"/>
              <a:gd name="connsiteY230" fmla="*/ 384468 h 762039"/>
              <a:gd name="connsiteX231" fmla="*/ 424088 w 694763"/>
              <a:gd name="connsiteY231" fmla="*/ 388858 h 762039"/>
              <a:gd name="connsiteX232" fmla="*/ 397373 w 694763"/>
              <a:gd name="connsiteY232" fmla="*/ 477560 h 762039"/>
              <a:gd name="connsiteX233" fmla="*/ 397299 w 694763"/>
              <a:gd name="connsiteY233" fmla="*/ 477783 h 762039"/>
              <a:gd name="connsiteX234" fmla="*/ 397224 w 694763"/>
              <a:gd name="connsiteY234" fmla="*/ 478006 h 762039"/>
              <a:gd name="connsiteX235" fmla="*/ 397187 w 694763"/>
              <a:gd name="connsiteY235" fmla="*/ 478229 h 762039"/>
              <a:gd name="connsiteX236" fmla="*/ 397076 w 694763"/>
              <a:gd name="connsiteY236" fmla="*/ 478713 h 762039"/>
              <a:gd name="connsiteX237" fmla="*/ 397001 w 694763"/>
              <a:gd name="connsiteY237" fmla="*/ 479122 h 762039"/>
              <a:gd name="connsiteX238" fmla="*/ 396964 w 694763"/>
              <a:gd name="connsiteY238" fmla="*/ 479606 h 762039"/>
              <a:gd name="connsiteX239" fmla="*/ 396927 w 694763"/>
              <a:gd name="connsiteY239" fmla="*/ 480015 h 762039"/>
              <a:gd name="connsiteX240" fmla="*/ 396927 w 694763"/>
              <a:gd name="connsiteY240" fmla="*/ 480499 h 762039"/>
              <a:gd name="connsiteX241" fmla="*/ 396964 w 694763"/>
              <a:gd name="connsiteY241" fmla="*/ 480946 h 762039"/>
              <a:gd name="connsiteX242" fmla="*/ 397001 w 694763"/>
              <a:gd name="connsiteY242" fmla="*/ 481392 h 762039"/>
              <a:gd name="connsiteX243" fmla="*/ 397076 w 694763"/>
              <a:gd name="connsiteY243" fmla="*/ 481839 h 762039"/>
              <a:gd name="connsiteX244" fmla="*/ 397187 w 694763"/>
              <a:gd name="connsiteY244" fmla="*/ 482285 h 762039"/>
              <a:gd name="connsiteX245" fmla="*/ 397299 w 694763"/>
              <a:gd name="connsiteY245" fmla="*/ 482731 h 762039"/>
              <a:gd name="connsiteX246" fmla="*/ 397448 w 694763"/>
              <a:gd name="connsiteY246" fmla="*/ 483141 h 762039"/>
              <a:gd name="connsiteX247" fmla="*/ 397596 w 694763"/>
              <a:gd name="connsiteY247" fmla="*/ 483550 h 762039"/>
              <a:gd name="connsiteX248" fmla="*/ 397783 w 694763"/>
              <a:gd name="connsiteY248" fmla="*/ 483959 h 762039"/>
              <a:gd name="connsiteX249" fmla="*/ 397969 w 694763"/>
              <a:gd name="connsiteY249" fmla="*/ 484331 h 762039"/>
              <a:gd name="connsiteX250" fmla="*/ 398192 w 694763"/>
              <a:gd name="connsiteY250" fmla="*/ 484703 h 762039"/>
              <a:gd name="connsiteX251" fmla="*/ 398415 w 694763"/>
              <a:gd name="connsiteY251" fmla="*/ 485076 h 762039"/>
              <a:gd name="connsiteX252" fmla="*/ 398675 w 694763"/>
              <a:gd name="connsiteY252" fmla="*/ 485448 h 762039"/>
              <a:gd name="connsiteX253" fmla="*/ 398936 w 694763"/>
              <a:gd name="connsiteY253" fmla="*/ 485782 h 762039"/>
              <a:gd name="connsiteX254" fmla="*/ 399234 w 694763"/>
              <a:gd name="connsiteY254" fmla="*/ 486155 h 762039"/>
              <a:gd name="connsiteX255" fmla="*/ 399494 w 694763"/>
              <a:gd name="connsiteY255" fmla="*/ 486452 h 762039"/>
              <a:gd name="connsiteX256" fmla="*/ 399829 w 694763"/>
              <a:gd name="connsiteY256" fmla="*/ 486787 h 762039"/>
              <a:gd name="connsiteX257" fmla="*/ 400127 w 694763"/>
              <a:gd name="connsiteY257" fmla="*/ 487085 h 762039"/>
              <a:gd name="connsiteX258" fmla="*/ 400461 w 694763"/>
              <a:gd name="connsiteY258" fmla="*/ 487382 h 762039"/>
              <a:gd name="connsiteX259" fmla="*/ 400796 w 694763"/>
              <a:gd name="connsiteY259" fmla="*/ 487643 h 762039"/>
              <a:gd name="connsiteX260" fmla="*/ 401168 w 694763"/>
              <a:gd name="connsiteY260" fmla="*/ 487903 h 762039"/>
              <a:gd name="connsiteX261" fmla="*/ 401540 w 694763"/>
              <a:gd name="connsiteY261" fmla="*/ 488126 h 762039"/>
              <a:gd name="connsiteX262" fmla="*/ 401912 w 694763"/>
              <a:gd name="connsiteY262" fmla="*/ 488350 h 762039"/>
              <a:gd name="connsiteX263" fmla="*/ 402359 w 694763"/>
              <a:gd name="connsiteY263" fmla="*/ 488536 h 762039"/>
              <a:gd name="connsiteX264" fmla="*/ 402768 w 694763"/>
              <a:gd name="connsiteY264" fmla="*/ 488722 h 762039"/>
              <a:gd name="connsiteX265" fmla="*/ 403215 w 694763"/>
              <a:gd name="connsiteY265" fmla="*/ 488871 h 762039"/>
              <a:gd name="connsiteX266" fmla="*/ 403438 w 694763"/>
              <a:gd name="connsiteY266" fmla="*/ 488945 h 762039"/>
              <a:gd name="connsiteX267" fmla="*/ 403587 w 694763"/>
              <a:gd name="connsiteY267" fmla="*/ 488982 h 762039"/>
              <a:gd name="connsiteX268" fmla="*/ 403884 w 694763"/>
              <a:gd name="connsiteY268" fmla="*/ 489057 h 762039"/>
              <a:gd name="connsiteX269" fmla="*/ 442468 w 694763"/>
              <a:gd name="connsiteY269" fmla="*/ 498544 h 762039"/>
              <a:gd name="connsiteX270" fmla="*/ 448087 w 694763"/>
              <a:gd name="connsiteY270" fmla="*/ 498135 h 762039"/>
              <a:gd name="connsiteX271" fmla="*/ 485814 w 694763"/>
              <a:gd name="connsiteY271" fmla="*/ 482731 h 762039"/>
              <a:gd name="connsiteX272" fmla="*/ 500139 w 694763"/>
              <a:gd name="connsiteY272" fmla="*/ 487010 h 762039"/>
              <a:gd name="connsiteX273" fmla="*/ 449351 w 694763"/>
              <a:gd name="connsiteY273" fmla="*/ 587546 h 762039"/>
              <a:gd name="connsiteX274" fmla="*/ 448421 w 694763"/>
              <a:gd name="connsiteY274" fmla="*/ 592495 h 762039"/>
              <a:gd name="connsiteX275" fmla="*/ 452812 w 694763"/>
              <a:gd name="connsiteY275" fmla="*/ 639450 h 762039"/>
              <a:gd name="connsiteX276" fmla="*/ 439231 w 694763"/>
              <a:gd name="connsiteY276" fmla="*/ 639450 h 762039"/>
              <a:gd name="connsiteX277" fmla="*/ 430115 w 694763"/>
              <a:gd name="connsiteY277" fmla="*/ 648566 h 762039"/>
              <a:gd name="connsiteX278" fmla="*/ 430115 w 694763"/>
              <a:gd name="connsiteY278" fmla="*/ 691614 h 762039"/>
              <a:gd name="connsiteX279" fmla="*/ 426357 w 694763"/>
              <a:gd name="connsiteY279" fmla="*/ 691614 h 762039"/>
              <a:gd name="connsiteX280" fmla="*/ 426320 w 694763"/>
              <a:gd name="connsiteY280" fmla="*/ 691614 h 762039"/>
              <a:gd name="connsiteX281" fmla="*/ 18193 w 694763"/>
              <a:gd name="connsiteY281" fmla="*/ 691614 h 762039"/>
              <a:gd name="connsiteX282" fmla="*/ 18193 w 694763"/>
              <a:gd name="connsiteY282" fmla="*/ 81490 h 762039"/>
              <a:gd name="connsiteX283" fmla="*/ 676535 w 694763"/>
              <a:gd name="connsiteY283" fmla="*/ 743771 h 762039"/>
              <a:gd name="connsiteX284" fmla="*/ 435505 w 694763"/>
              <a:gd name="connsiteY284" fmla="*/ 743771 h 762039"/>
              <a:gd name="connsiteX285" fmla="*/ 435505 w 694763"/>
              <a:gd name="connsiteY285" fmla="*/ 709838 h 762039"/>
              <a:gd name="connsiteX286" fmla="*/ 483725 w 694763"/>
              <a:gd name="connsiteY286" fmla="*/ 709838 h 762039"/>
              <a:gd name="connsiteX287" fmla="*/ 483762 w 694763"/>
              <a:gd name="connsiteY287" fmla="*/ 709838 h 762039"/>
              <a:gd name="connsiteX288" fmla="*/ 676529 w 694763"/>
              <a:gd name="connsiteY288" fmla="*/ 709838 h 762039"/>
              <a:gd name="connsiteX289" fmla="*/ 676529 w 694763"/>
              <a:gd name="connsiteY289" fmla="*/ 743808 h 762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</a:cxnLst>
            <a:rect l="l" t="t" r="r" b="b"/>
            <a:pathLst>
              <a:path w="694763" h="762039">
                <a:moveTo>
                  <a:pt x="127212" y="119769"/>
                </a:moveTo>
                <a:cubicBezTo>
                  <a:pt x="87921" y="119769"/>
                  <a:pt x="55960" y="151730"/>
                  <a:pt x="55960" y="191021"/>
                </a:cubicBezTo>
                <a:cubicBezTo>
                  <a:pt x="55960" y="230311"/>
                  <a:pt x="87921" y="262272"/>
                  <a:pt x="127212" y="262272"/>
                </a:cubicBezTo>
                <a:cubicBezTo>
                  <a:pt x="166502" y="262272"/>
                  <a:pt x="198463" y="230311"/>
                  <a:pt x="198463" y="191021"/>
                </a:cubicBezTo>
                <a:cubicBezTo>
                  <a:pt x="198463" y="151730"/>
                  <a:pt x="166502" y="119769"/>
                  <a:pt x="127212" y="119769"/>
                </a:cubicBezTo>
                <a:close/>
                <a:moveTo>
                  <a:pt x="127212" y="244080"/>
                </a:moveTo>
                <a:cubicBezTo>
                  <a:pt x="97967" y="244080"/>
                  <a:pt x="74154" y="220304"/>
                  <a:pt x="74154" y="191023"/>
                </a:cubicBezTo>
                <a:cubicBezTo>
                  <a:pt x="74154" y="161778"/>
                  <a:pt x="97930" y="137965"/>
                  <a:pt x="127212" y="137965"/>
                </a:cubicBezTo>
                <a:cubicBezTo>
                  <a:pt x="156456" y="137965"/>
                  <a:pt x="180269" y="161741"/>
                  <a:pt x="180269" y="191023"/>
                </a:cubicBezTo>
                <a:cubicBezTo>
                  <a:pt x="180269" y="220267"/>
                  <a:pt x="156493" y="244080"/>
                  <a:pt x="127212" y="244080"/>
                </a:cubicBezTo>
                <a:close/>
                <a:moveTo>
                  <a:pt x="158503" y="167210"/>
                </a:moveTo>
                <a:cubicBezTo>
                  <a:pt x="162038" y="170745"/>
                  <a:pt x="162038" y="176549"/>
                  <a:pt x="158503" y="180084"/>
                </a:cubicBezTo>
                <a:lnTo>
                  <a:pt x="123715" y="214872"/>
                </a:lnTo>
                <a:cubicBezTo>
                  <a:pt x="121929" y="216658"/>
                  <a:pt x="119622" y="217551"/>
                  <a:pt x="117278" y="217551"/>
                </a:cubicBezTo>
                <a:cubicBezTo>
                  <a:pt x="114934" y="217551"/>
                  <a:pt x="112627" y="216658"/>
                  <a:pt x="110841" y="214872"/>
                </a:cubicBezTo>
                <a:lnTo>
                  <a:pt x="95921" y="199952"/>
                </a:lnTo>
                <a:cubicBezTo>
                  <a:pt x="92387" y="196418"/>
                  <a:pt x="92387" y="190613"/>
                  <a:pt x="95921" y="187078"/>
                </a:cubicBezTo>
                <a:cubicBezTo>
                  <a:pt x="99493" y="183544"/>
                  <a:pt x="105260" y="183544"/>
                  <a:pt x="108795" y="187078"/>
                </a:cubicBezTo>
                <a:lnTo>
                  <a:pt x="117278" y="195561"/>
                </a:lnTo>
                <a:lnTo>
                  <a:pt x="145631" y="167209"/>
                </a:lnTo>
                <a:cubicBezTo>
                  <a:pt x="149202" y="163675"/>
                  <a:pt x="154970" y="163675"/>
                  <a:pt x="158505" y="167209"/>
                </a:cubicBezTo>
                <a:close/>
                <a:moveTo>
                  <a:pt x="127212" y="315295"/>
                </a:moveTo>
                <a:cubicBezTo>
                  <a:pt x="87921" y="315295"/>
                  <a:pt x="55960" y="347256"/>
                  <a:pt x="55960" y="386547"/>
                </a:cubicBezTo>
                <a:cubicBezTo>
                  <a:pt x="55960" y="425838"/>
                  <a:pt x="87921" y="457799"/>
                  <a:pt x="127212" y="457799"/>
                </a:cubicBezTo>
                <a:cubicBezTo>
                  <a:pt x="166502" y="457799"/>
                  <a:pt x="198463" y="425838"/>
                  <a:pt x="198463" y="386547"/>
                </a:cubicBezTo>
                <a:cubicBezTo>
                  <a:pt x="198463" y="347256"/>
                  <a:pt x="166502" y="315295"/>
                  <a:pt x="127212" y="315295"/>
                </a:cubicBezTo>
                <a:close/>
                <a:moveTo>
                  <a:pt x="127212" y="439606"/>
                </a:moveTo>
                <a:cubicBezTo>
                  <a:pt x="97967" y="439606"/>
                  <a:pt x="74154" y="415831"/>
                  <a:pt x="74154" y="386549"/>
                </a:cubicBezTo>
                <a:cubicBezTo>
                  <a:pt x="74154" y="357304"/>
                  <a:pt x="97930" y="333492"/>
                  <a:pt x="127212" y="333492"/>
                </a:cubicBezTo>
                <a:cubicBezTo>
                  <a:pt x="156456" y="333492"/>
                  <a:pt x="180269" y="357267"/>
                  <a:pt x="180269" y="386549"/>
                </a:cubicBezTo>
                <a:cubicBezTo>
                  <a:pt x="180269" y="415793"/>
                  <a:pt x="156493" y="439606"/>
                  <a:pt x="127212" y="439606"/>
                </a:cubicBezTo>
                <a:close/>
                <a:moveTo>
                  <a:pt x="127212" y="510821"/>
                </a:moveTo>
                <a:cubicBezTo>
                  <a:pt x="87921" y="510821"/>
                  <a:pt x="55960" y="542782"/>
                  <a:pt x="55960" y="582072"/>
                </a:cubicBezTo>
                <a:cubicBezTo>
                  <a:pt x="55960" y="621363"/>
                  <a:pt x="87921" y="653324"/>
                  <a:pt x="127212" y="653324"/>
                </a:cubicBezTo>
                <a:cubicBezTo>
                  <a:pt x="166502" y="653324"/>
                  <a:pt x="198463" y="621363"/>
                  <a:pt x="198463" y="582072"/>
                </a:cubicBezTo>
                <a:cubicBezTo>
                  <a:pt x="198463" y="542782"/>
                  <a:pt x="166502" y="510821"/>
                  <a:pt x="127212" y="510821"/>
                </a:cubicBezTo>
                <a:close/>
                <a:moveTo>
                  <a:pt x="127212" y="635131"/>
                </a:moveTo>
                <a:cubicBezTo>
                  <a:pt x="97967" y="635131"/>
                  <a:pt x="74154" y="611356"/>
                  <a:pt x="74154" y="582074"/>
                </a:cubicBezTo>
                <a:cubicBezTo>
                  <a:pt x="74154" y="552830"/>
                  <a:pt x="97930" y="529017"/>
                  <a:pt x="127212" y="529017"/>
                </a:cubicBezTo>
                <a:cubicBezTo>
                  <a:pt x="156456" y="529017"/>
                  <a:pt x="180269" y="552793"/>
                  <a:pt x="180269" y="582074"/>
                </a:cubicBezTo>
                <a:cubicBezTo>
                  <a:pt x="180269" y="611319"/>
                  <a:pt x="156493" y="635131"/>
                  <a:pt x="127212" y="635131"/>
                </a:cubicBezTo>
                <a:close/>
                <a:moveTo>
                  <a:pt x="158503" y="362735"/>
                </a:moveTo>
                <a:cubicBezTo>
                  <a:pt x="162038" y="366270"/>
                  <a:pt x="162038" y="372074"/>
                  <a:pt x="158503" y="375609"/>
                </a:cubicBezTo>
                <a:lnTo>
                  <a:pt x="123715" y="410398"/>
                </a:lnTo>
                <a:cubicBezTo>
                  <a:pt x="121929" y="412184"/>
                  <a:pt x="119622" y="413077"/>
                  <a:pt x="117278" y="413077"/>
                </a:cubicBezTo>
                <a:cubicBezTo>
                  <a:pt x="114934" y="413077"/>
                  <a:pt x="112627" y="412184"/>
                  <a:pt x="110841" y="410398"/>
                </a:cubicBezTo>
                <a:lnTo>
                  <a:pt x="95921" y="395478"/>
                </a:lnTo>
                <a:cubicBezTo>
                  <a:pt x="92387" y="391943"/>
                  <a:pt x="92387" y="386139"/>
                  <a:pt x="95921" y="382604"/>
                </a:cubicBezTo>
                <a:cubicBezTo>
                  <a:pt x="99456" y="379069"/>
                  <a:pt x="105260" y="379069"/>
                  <a:pt x="108795" y="382604"/>
                </a:cubicBezTo>
                <a:lnTo>
                  <a:pt x="117278" y="391087"/>
                </a:lnTo>
                <a:lnTo>
                  <a:pt x="145631" y="362735"/>
                </a:lnTo>
                <a:cubicBezTo>
                  <a:pt x="149202" y="359200"/>
                  <a:pt x="154970" y="359200"/>
                  <a:pt x="158505" y="362735"/>
                </a:cubicBezTo>
                <a:close/>
                <a:moveTo>
                  <a:pt x="152699" y="569457"/>
                </a:moveTo>
                <a:lnTo>
                  <a:pt x="140086" y="582070"/>
                </a:lnTo>
                <a:lnTo>
                  <a:pt x="152699" y="594683"/>
                </a:lnTo>
                <a:cubicBezTo>
                  <a:pt x="156233" y="598217"/>
                  <a:pt x="156233" y="604022"/>
                  <a:pt x="152699" y="607557"/>
                </a:cubicBezTo>
                <a:cubicBezTo>
                  <a:pt x="150913" y="609342"/>
                  <a:pt x="148606" y="610235"/>
                  <a:pt x="146262" y="610235"/>
                </a:cubicBezTo>
                <a:cubicBezTo>
                  <a:pt x="143918" y="610235"/>
                  <a:pt x="141611" y="609342"/>
                  <a:pt x="139825" y="607557"/>
                </a:cubicBezTo>
                <a:lnTo>
                  <a:pt x="127212" y="594944"/>
                </a:lnTo>
                <a:lnTo>
                  <a:pt x="114599" y="607557"/>
                </a:lnTo>
                <a:cubicBezTo>
                  <a:pt x="112813" y="609342"/>
                  <a:pt x="110506" y="610235"/>
                  <a:pt x="108162" y="610235"/>
                </a:cubicBezTo>
                <a:cubicBezTo>
                  <a:pt x="105818" y="610235"/>
                  <a:pt x="103511" y="609342"/>
                  <a:pt x="101725" y="607557"/>
                </a:cubicBezTo>
                <a:cubicBezTo>
                  <a:pt x="98191" y="604022"/>
                  <a:pt x="98191" y="598218"/>
                  <a:pt x="101725" y="594683"/>
                </a:cubicBezTo>
                <a:lnTo>
                  <a:pt x="114339" y="582070"/>
                </a:lnTo>
                <a:lnTo>
                  <a:pt x="101725" y="569457"/>
                </a:lnTo>
                <a:cubicBezTo>
                  <a:pt x="98191" y="565922"/>
                  <a:pt x="98191" y="560118"/>
                  <a:pt x="101725" y="556583"/>
                </a:cubicBezTo>
                <a:cubicBezTo>
                  <a:pt x="105297" y="553048"/>
                  <a:pt x="111064" y="553048"/>
                  <a:pt x="114599" y="556583"/>
                </a:cubicBezTo>
                <a:lnTo>
                  <a:pt x="127212" y="569196"/>
                </a:lnTo>
                <a:lnTo>
                  <a:pt x="139826" y="556583"/>
                </a:lnTo>
                <a:cubicBezTo>
                  <a:pt x="143397" y="553048"/>
                  <a:pt x="149164" y="553048"/>
                  <a:pt x="152699" y="556583"/>
                </a:cubicBezTo>
                <a:cubicBezTo>
                  <a:pt x="156235" y="560117"/>
                  <a:pt x="156234" y="565922"/>
                  <a:pt x="152699" y="569457"/>
                </a:cubicBezTo>
                <a:close/>
                <a:moveTo>
                  <a:pt x="246051" y="163939"/>
                </a:moveTo>
                <a:cubicBezTo>
                  <a:pt x="246051" y="158916"/>
                  <a:pt x="250144" y="154823"/>
                  <a:pt x="255167" y="154823"/>
                </a:cubicBezTo>
                <a:lnTo>
                  <a:pt x="427808" y="154823"/>
                </a:lnTo>
                <a:cubicBezTo>
                  <a:pt x="432831" y="154823"/>
                  <a:pt x="436923" y="158916"/>
                  <a:pt x="436923" y="163939"/>
                </a:cubicBezTo>
                <a:cubicBezTo>
                  <a:pt x="436923" y="168962"/>
                  <a:pt x="432831" y="173055"/>
                  <a:pt x="427808" y="173055"/>
                </a:cubicBezTo>
                <a:lnTo>
                  <a:pt x="255167" y="173055"/>
                </a:lnTo>
                <a:cubicBezTo>
                  <a:pt x="250144" y="173055"/>
                  <a:pt x="246051" y="168962"/>
                  <a:pt x="246051" y="163939"/>
                </a:cubicBezTo>
                <a:close/>
                <a:moveTo>
                  <a:pt x="246051" y="218187"/>
                </a:moveTo>
                <a:cubicBezTo>
                  <a:pt x="246051" y="213164"/>
                  <a:pt x="250144" y="209071"/>
                  <a:pt x="255167" y="209071"/>
                </a:cubicBezTo>
                <a:lnTo>
                  <a:pt x="389374" y="209071"/>
                </a:lnTo>
                <a:cubicBezTo>
                  <a:pt x="394397" y="209071"/>
                  <a:pt x="398490" y="213164"/>
                  <a:pt x="398490" y="218187"/>
                </a:cubicBezTo>
                <a:cubicBezTo>
                  <a:pt x="398490" y="223210"/>
                  <a:pt x="394397" y="227303"/>
                  <a:pt x="389374" y="227303"/>
                </a:cubicBezTo>
                <a:lnTo>
                  <a:pt x="255167" y="227303"/>
                </a:lnTo>
                <a:cubicBezTo>
                  <a:pt x="250144" y="227303"/>
                  <a:pt x="246051" y="223210"/>
                  <a:pt x="246051" y="218187"/>
                </a:cubicBezTo>
                <a:close/>
                <a:moveTo>
                  <a:pt x="246051" y="359462"/>
                </a:moveTo>
                <a:cubicBezTo>
                  <a:pt x="246051" y="354439"/>
                  <a:pt x="250144" y="350346"/>
                  <a:pt x="255167" y="350346"/>
                </a:cubicBezTo>
                <a:lnTo>
                  <a:pt x="427808" y="350346"/>
                </a:lnTo>
                <a:cubicBezTo>
                  <a:pt x="432831" y="350346"/>
                  <a:pt x="436923" y="354439"/>
                  <a:pt x="436923" y="359462"/>
                </a:cubicBezTo>
                <a:cubicBezTo>
                  <a:pt x="436923" y="364485"/>
                  <a:pt x="432831" y="368577"/>
                  <a:pt x="427808" y="368577"/>
                </a:cubicBezTo>
                <a:lnTo>
                  <a:pt x="255167" y="368577"/>
                </a:lnTo>
                <a:cubicBezTo>
                  <a:pt x="250144" y="368577"/>
                  <a:pt x="246051" y="364485"/>
                  <a:pt x="246051" y="359462"/>
                </a:cubicBezTo>
                <a:close/>
                <a:moveTo>
                  <a:pt x="246051" y="413709"/>
                </a:moveTo>
                <a:cubicBezTo>
                  <a:pt x="246051" y="408687"/>
                  <a:pt x="250144" y="404594"/>
                  <a:pt x="255167" y="404594"/>
                </a:cubicBezTo>
                <a:lnTo>
                  <a:pt x="389374" y="404594"/>
                </a:lnTo>
                <a:cubicBezTo>
                  <a:pt x="394397" y="404594"/>
                  <a:pt x="398490" y="408687"/>
                  <a:pt x="398490" y="413709"/>
                </a:cubicBezTo>
                <a:cubicBezTo>
                  <a:pt x="398490" y="418732"/>
                  <a:pt x="394397" y="422825"/>
                  <a:pt x="389374" y="422825"/>
                </a:cubicBezTo>
                <a:lnTo>
                  <a:pt x="255167" y="422825"/>
                </a:lnTo>
                <a:cubicBezTo>
                  <a:pt x="250144" y="422825"/>
                  <a:pt x="246051" y="418732"/>
                  <a:pt x="246051" y="413709"/>
                </a:cubicBezTo>
                <a:close/>
                <a:moveTo>
                  <a:pt x="246051" y="554984"/>
                </a:moveTo>
                <a:cubicBezTo>
                  <a:pt x="246051" y="549961"/>
                  <a:pt x="250144" y="545869"/>
                  <a:pt x="255167" y="545869"/>
                </a:cubicBezTo>
                <a:lnTo>
                  <a:pt x="427808" y="545869"/>
                </a:lnTo>
                <a:cubicBezTo>
                  <a:pt x="432831" y="545869"/>
                  <a:pt x="436923" y="549961"/>
                  <a:pt x="436923" y="554984"/>
                </a:cubicBezTo>
                <a:cubicBezTo>
                  <a:pt x="436923" y="560007"/>
                  <a:pt x="432831" y="564100"/>
                  <a:pt x="427808" y="564100"/>
                </a:cubicBezTo>
                <a:lnTo>
                  <a:pt x="255167" y="564100"/>
                </a:lnTo>
                <a:cubicBezTo>
                  <a:pt x="250144" y="564100"/>
                  <a:pt x="246051" y="560007"/>
                  <a:pt x="246051" y="554984"/>
                </a:cubicBezTo>
                <a:close/>
                <a:moveTo>
                  <a:pt x="398489" y="609232"/>
                </a:moveTo>
                <a:cubicBezTo>
                  <a:pt x="398489" y="614255"/>
                  <a:pt x="394397" y="618348"/>
                  <a:pt x="389374" y="618348"/>
                </a:cubicBezTo>
                <a:lnTo>
                  <a:pt x="255167" y="618348"/>
                </a:lnTo>
                <a:cubicBezTo>
                  <a:pt x="250144" y="618348"/>
                  <a:pt x="246051" y="614255"/>
                  <a:pt x="246051" y="609232"/>
                </a:cubicBezTo>
                <a:cubicBezTo>
                  <a:pt x="246051" y="604209"/>
                  <a:pt x="250144" y="600116"/>
                  <a:pt x="255167" y="600116"/>
                </a:cubicBezTo>
                <a:lnTo>
                  <a:pt x="389374" y="600116"/>
                </a:lnTo>
                <a:cubicBezTo>
                  <a:pt x="394397" y="600116"/>
                  <a:pt x="398489" y="604209"/>
                  <a:pt x="398489" y="609232"/>
                </a:cubicBezTo>
                <a:close/>
                <a:moveTo>
                  <a:pt x="685649" y="691645"/>
                </a:moveTo>
                <a:lnTo>
                  <a:pt x="681891" y="691645"/>
                </a:lnTo>
                <a:lnTo>
                  <a:pt x="681891" y="648597"/>
                </a:lnTo>
                <a:cubicBezTo>
                  <a:pt x="681891" y="643574"/>
                  <a:pt x="677798" y="639481"/>
                  <a:pt x="672776" y="639481"/>
                </a:cubicBezTo>
                <a:lnTo>
                  <a:pt x="657075" y="639481"/>
                </a:lnTo>
                <a:lnTo>
                  <a:pt x="644536" y="560863"/>
                </a:lnTo>
                <a:lnTo>
                  <a:pt x="667902" y="403919"/>
                </a:lnTo>
                <a:cubicBezTo>
                  <a:pt x="668199" y="401799"/>
                  <a:pt x="667753" y="399603"/>
                  <a:pt x="666637" y="397780"/>
                </a:cubicBezTo>
                <a:lnTo>
                  <a:pt x="614286" y="313581"/>
                </a:lnTo>
                <a:lnTo>
                  <a:pt x="610193" y="251966"/>
                </a:lnTo>
                <a:cubicBezTo>
                  <a:pt x="610193" y="251966"/>
                  <a:pt x="610193" y="251891"/>
                  <a:pt x="610156" y="251854"/>
                </a:cubicBezTo>
                <a:cubicBezTo>
                  <a:pt x="610156" y="251668"/>
                  <a:pt x="610119" y="251519"/>
                  <a:pt x="610082" y="251333"/>
                </a:cubicBezTo>
                <a:cubicBezTo>
                  <a:pt x="610045" y="251222"/>
                  <a:pt x="610045" y="251073"/>
                  <a:pt x="610007" y="250961"/>
                </a:cubicBezTo>
                <a:cubicBezTo>
                  <a:pt x="609970" y="250812"/>
                  <a:pt x="609933" y="250626"/>
                  <a:pt x="609896" y="250478"/>
                </a:cubicBezTo>
                <a:cubicBezTo>
                  <a:pt x="609859" y="250329"/>
                  <a:pt x="609821" y="250217"/>
                  <a:pt x="609784" y="250105"/>
                </a:cubicBezTo>
                <a:cubicBezTo>
                  <a:pt x="609747" y="249957"/>
                  <a:pt x="609673" y="249808"/>
                  <a:pt x="609635" y="249659"/>
                </a:cubicBezTo>
                <a:cubicBezTo>
                  <a:pt x="609598" y="249510"/>
                  <a:pt x="609561" y="249399"/>
                  <a:pt x="609487" y="249250"/>
                </a:cubicBezTo>
                <a:cubicBezTo>
                  <a:pt x="609412" y="249101"/>
                  <a:pt x="609375" y="248989"/>
                  <a:pt x="609300" y="248878"/>
                </a:cubicBezTo>
                <a:cubicBezTo>
                  <a:pt x="609226" y="248729"/>
                  <a:pt x="609189" y="248580"/>
                  <a:pt x="609114" y="248431"/>
                </a:cubicBezTo>
                <a:cubicBezTo>
                  <a:pt x="609040" y="248319"/>
                  <a:pt x="608966" y="248208"/>
                  <a:pt x="608928" y="248096"/>
                </a:cubicBezTo>
                <a:cubicBezTo>
                  <a:pt x="608854" y="247947"/>
                  <a:pt x="608780" y="247799"/>
                  <a:pt x="608668" y="247650"/>
                </a:cubicBezTo>
                <a:cubicBezTo>
                  <a:pt x="608594" y="247538"/>
                  <a:pt x="608519" y="247427"/>
                  <a:pt x="608445" y="247315"/>
                </a:cubicBezTo>
                <a:cubicBezTo>
                  <a:pt x="608333" y="247166"/>
                  <a:pt x="608259" y="247054"/>
                  <a:pt x="608147" y="246906"/>
                </a:cubicBezTo>
                <a:cubicBezTo>
                  <a:pt x="608110" y="246868"/>
                  <a:pt x="608073" y="246831"/>
                  <a:pt x="608073" y="246794"/>
                </a:cubicBezTo>
                <a:cubicBezTo>
                  <a:pt x="607998" y="246720"/>
                  <a:pt x="607924" y="246645"/>
                  <a:pt x="607887" y="246571"/>
                </a:cubicBezTo>
                <a:cubicBezTo>
                  <a:pt x="607775" y="246459"/>
                  <a:pt x="607701" y="246347"/>
                  <a:pt x="607589" y="246236"/>
                </a:cubicBezTo>
                <a:lnTo>
                  <a:pt x="607217" y="245864"/>
                </a:lnTo>
                <a:cubicBezTo>
                  <a:pt x="607142" y="245789"/>
                  <a:pt x="607068" y="245715"/>
                  <a:pt x="606956" y="245641"/>
                </a:cubicBezTo>
                <a:cubicBezTo>
                  <a:pt x="606808" y="245492"/>
                  <a:pt x="606659" y="245380"/>
                  <a:pt x="606473" y="245269"/>
                </a:cubicBezTo>
                <a:cubicBezTo>
                  <a:pt x="606398" y="245194"/>
                  <a:pt x="606324" y="245157"/>
                  <a:pt x="606249" y="245120"/>
                </a:cubicBezTo>
                <a:cubicBezTo>
                  <a:pt x="606063" y="245008"/>
                  <a:pt x="605915" y="244896"/>
                  <a:pt x="605729" y="244785"/>
                </a:cubicBezTo>
                <a:cubicBezTo>
                  <a:pt x="605654" y="244748"/>
                  <a:pt x="605580" y="244710"/>
                  <a:pt x="605505" y="244673"/>
                </a:cubicBezTo>
                <a:cubicBezTo>
                  <a:pt x="605319" y="244562"/>
                  <a:pt x="605133" y="244487"/>
                  <a:pt x="604947" y="244376"/>
                </a:cubicBezTo>
                <a:cubicBezTo>
                  <a:pt x="604873" y="244338"/>
                  <a:pt x="604761" y="244301"/>
                  <a:pt x="604687" y="244264"/>
                </a:cubicBezTo>
                <a:cubicBezTo>
                  <a:pt x="604501" y="244190"/>
                  <a:pt x="604352" y="244115"/>
                  <a:pt x="604166" y="244041"/>
                </a:cubicBezTo>
                <a:cubicBezTo>
                  <a:pt x="604054" y="244003"/>
                  <a:pt x="603943" y="243966"/>
                  <a:pt x="603868" y="243929"/>
                </a:cubicBezTo>
                <a:cubicBezTo>
                  <a:pt x="603682" y="243855"/>
                  <a:pt x="603533" y="243817"/>
                  <a:pt x="603347" y="243780"/>
                </a:cubicBezTo>
                <a:cubicBezTo>
                  <a:pt x="603236" y="243743"/>
                  <a:pt x="603124" y="243706"/>
                  <a:pt x="602975" y="243706"/>
                </a:cubicBezTo>
                <a:cubicBezTo>
                  <a:pt x="602826" y="243669"/>
                  <a:pt x="602640" y="243631"/>
                  <a:pt x="602492" y="243594"/>
                </a:cubicBezTo>
                <a:cubicBezTo>
                  <a:pt x="602343" y="243557"/>
                  <a:pt x="602231" y="243557"/>
                  <a:pt x="602120" y="243520"/>
                </a:cubicBezTo>
                <a:cubicBezTo>
                  <a:pt x="601971" y="243483"/>
                  <a:pt x="601785" y="243483"/>
                  <a:pt x="601636" y="243483"/>
                </a:cubicBezTo>
                <a:cubicBezTo>
                  <a:pt x="601487" y="243483"/>
                  <a:pt x="601375" y="243445"/>
                  <a:pt x="601227" y="243445"/>
                </a:cubicBezTo>
                <a:lnTo>
                  <a:pt x="600706" y="243445"/>
                </a:lnTo>
                <a:lnTo>
                  <a:pt x="600445" y="243445"/>
                </a:lnTo>
                <a:cubicBezTo>
                  <a:pt x="600408" y="243445"/>
                  <a:pt x="600371" y="243445"/>
                  <a:pt x="600296" y="243483"/>
                </a:cubicBezTo>
                <a:cubicBezTo>
                  <a:pt x="600148" y="243483"/>
                  <a:pt x="599962" y="243520"/>
                  <a:pt x="599813" y="243557"/>
                </a:cubicBezTo>
                <a:cubicBezTo>
                  <a:pt x="599664" y="243594"/>
                  <a:pt x="599552" y="243594"/>
                  <a:pt x="599403" y="243631"/>
                </a:cubicBezTo>
                <a:cubicBezTo>
                  <a:pt x="599255" y="243669"/>
                  <a:pt x="599106" y="243706"/>
                  <a:pt x="598957" y="243743"/>
                </a:cubicBezTo>
                <a:cubicBezTo>
                  <a:pt x="598808" y="243780"/>
                  <a:pt x="598659" y="243817"/>
                  <a:pt x="598510" y="243855"/>
                </a:cubicBezTo>
                <a:cubicBezTo>
                  <a:pt x="598362" y="243892"/>
                  <a:pt x="598250" y="243929"/>
                  <a:pt x="598101" y="244003"/>
                </a:cubicBezTo>
                <a:cubicBezTo>
                  <a:pt x="597952" y="244041"/>
                  <a:pt x="597803" y="244115"/>
                  <a:pt x="597655" y="244152"/>
                </a:cubicBezTo>
                <a:cubicBezTo>
                  <a:pt x="597543" y="244190"/>
                  <a:pt x="597431" y="244264"/>
                  <a:pt x="597320" y="244301"/>
                </a:cubicBezTo>
                <a:cubicBezTo>
                  <a:pt x="597171" y="244376"/>
                  <a:pt x="597022" y="244450"/>
                  <a:pt x="596836" y="244524"/>
                </a:cubicBezTo>
                <a:cubicBezTo>
                  <a:pt x="596724" y="244599"/>
                  <a:pt x="596650" y="244636"/>
                  <a:pt x="596538" y="244710"/>
                </a:cubicBezTo>
                <a:cubicBezTo>
                  <a:pt x="596390" y="244822"/>
                  <a:pt x="596204" y="244896"/>
                  <a:pt x="596055" y="245008"/>
                </a:cubicBezTo>
                <a:cubicBezTo>
                  <a:pt x="595943" y="245082"/>
                  <a:pt x="595869" y="245157"/>
                  <a:pt x="595757" y="245194"/>
                </a:cubicBezTo>
                <a:cubicBezTo>
                  <a:pt x="595608" y="245306"/>
                  <a:pt x="595459" y="245417"/>
                  <a:pt x="595311" y="245529"/>
                </a:cubicBezTo>
                <a:cubicBezTo>
                  <a:pt x="595273" y="245566"/>
                  <a:pt x="595236" y="245566"/>
                  <a:pt x="595199" y="245603"/>
                </a:cubicBezTo>
                <a:lnTo>
                  <a:pt x="560559" y="274216"/>
                </a:lnTo>
                <a:lnTo>
                  <a:pt x="560597" y="9116"/>
                </a:lnTo>
                <a:cubicBezTo>
                  <a:pt x="560597" y="4093"/>
                  <a:pt x="556504" y="0"/>
                  <a:pt x="551481" y="0"/>
                </a:cubicBezTo>
                <a:lnTo>
                  <a:pt x="76907" y="0"/>
                </a:lnTo>
                <a:cubicBezTo>
                  <a:pt x="71884" y="0"/>
                  <a:pt x="67792" y="4093"/>
                  <a:pt x="67792" y="9116"/>
                </a:cubicBezTo>
                <a:lnTo>
                  <a:pt x="67792" y="63289"/>
                </a:lnTo>
                <a:lnTo>
                  <a:pt x="9116" y="63289"/>
                </a:lnTo>
                <a:cubicBezTo>
                  <a:pt x="4093" y="63289"/>
                  <a:pt x="0" y="67382"/>
                  <a:pt x="0" y="72405"/>
                </a:cubicBezTo>
                <a:lnTo>
                  <a:pt x="0" y="700760"/>
                </a:lnTo>
                <a:cubicBezTo>
                  <a:pt x="0" y="705783"/>
                  <a:pt x="4093" y="709875"/>
                  <a:pt x="9116" y="709875"/>
                </a:cubicBezTo>
                <a:lnTo>
                  <a:pt x="417310" y="709875"/>
                </a:lnTo>
                <a:lnTo>
                  <a:pt x="417310" y="752924"/>
                </a:lnTo>
                <a:cubicBezTo>
                  <a:pt x="417310" y="757946"/>
                  <a:pt x="421402" y="762039"/>
                  <a:pt x="426425" y="762039"/>
                </a:cubicBezTo>
                <a:lnTo>
                  <a:pt x="685648" y="762039"/>
                </a:lnTo>
                <a:cubicBezTo>
                  <a:pt x="690671" y="762039"/>
                  <a:pt x="694764" y="757946"/>
                  <a:pt x="694764" y="752924"/>
                </a:cubicBezTo>
                <a:lnTo>
                  <a:pt x="694764" y="700759"/>
                </a:lnTo>
                <a:cubicBezTo>
                  <a:pt x="694764" y="695736"/>
                  <a:pt x="690671" y="691643"/>
                  <a:pt x="685648" y="691643"/>
                </a:cubicBezTo>
                <a:close/>
                <a:moveTo>
                  <a:pt x="663697" y="691645"/>
                </a:moveTo>
                <a:lnTo>
                  <a:pt x="448384" y="691645"/>
                </a:lnTo>
                <a:lnTo>
                  <a:pt x="448384" y="657712"/>
                </a:lnTo>
                <a:lnTo>
                  <a:pt x="462820" y="657712"/>
                </a:lnTo>
                <a:lnTo>
                  <a:pt x="462858" y="657712"/>
                </a:lnTo>
                <a:lnTo>
                  <a:pt x="663702" y="657712"/>
                </a:lnTo>
                <a:close/>
                <a:moveTo>
                  <a:pt x="649409" y="404552"/>
                </a:moveTo>
                <a:lnTo>
                  <a:pt x="626341" y="559552"/>
                </a:lnTo>
                <a:cubicBezTo>
                  <a:pt x="626192" y="560483"/>
                  <a:pt x="626192" y="561413"/>
                  <a:pt x="626378" y="562306"/>
                </a:cubicBezTo>
                <a:lnTo>
                  <a:pt x="638694" y="639436"/>
                </a:lnTo>
                <a:lnTo>
                  <a:pt x="471187" y="639436"/>
                </a:lnTo>
                <a:lnTo>
                  <a:pt x="466871" y="593412"/>
                </a:lnTo>
                <a:lnTo>
                  <a:pt x="517957" y="492285"/>
                </a:lnTo>
                <a:lnTo>
                  <a:pt x="538494" y="498424"/>
                </a:lnTo>
                <a:cubicBezTo>
                  <a:pt x="539350" y="498684"/>
                  <a:pt x="540243" y="498796"/>
                  <a:pt x="541099" y="498796"/>
                </a:cubicBezTo>
                <a:cubicBezTo>
                  <a:pt x="543964" y="498796"/>
                  <a:pt x="546754" y="497419"/>
                  <a:pt x="548466" y="495038"/>
                </a:cubicBezTo>
                <a:lnTo>
                  <a:pt x="582734" y="447599"/>
                </a:lnTo>
                <a:cubicBezTo>
                  <a:pt x="585673" y="443506"/>
                  <a:pt x="584780" y="437814"/>
                  <a:pt x="580688" y="434874"/>
                </a:cubicBezTo>
                <a:cubicBezTo>
                  <a:pt x="576595" y="431935"/>
                  <a:pt x="570903" y="432828"/>
                  <a:pt x="567963" y="436921"/>
                </a:cubicBezTo>
                <a:lnTo>
                  <a:pt x="537491" y="479113"/>
                </a:lnTo>
                <a:lnTo>
                  <a:pt x="488006" y="464342"/>
                </a:lnTo>
                <a:cubicBezTo>
                  <a:pt x="485996" y="463747"/>
                  <a:pt x="483876" y="463858"/>
                  <a:pt x="481978" y="464640"/>
                </a:cubicBezTo>
                <a:lnTo>
                  <a:pt x="444027" y="480118"/>
                </a:lnTo>
                <a:lnTo>
                  <a:pt x="417647" y="473644"/>
                </a:lnTo>
                <a:lnTo>
                  <a:pt x="440790" y="396774"/>
                </a:lnTo>
                <a:lnTo>
                  <a:pt x="489569" y="356479"/>
                </a:lnTo>
                <a:lnTo>
                  <a:pt x="489606" y="356441"/>
                </a:lnTo>
                <a:lnTo>
                  <a:pt x="557397" y="300482"/>
                </a:lnTo>
                <a:lnTo>
                  <a:pt x="593227" y="270902"/>
                </a:lnTo>
                <a:lnTo>
                  <a:pt x="596316" y="317077"/>
                </a:lnTo>
                <a:cubicBezTo>
                  <a:pt x="596427" y="318565"/>
                  <a:pt x="596874" y="320016"/>
                  <a:pt x="597655" y="321281"/>
                </a:cubicBezTo>
                <a:lnTo>
                  <a:pt x="649447" y="404550"/>
                </a:lnTo>
                <a:close/>
                <a:moveTo>
                  <a:pt x="86025" y="18199"/>
                </a:moveTo>
                <a:lnTo>
                  <a:pt x="542444" y="18199"/>
                </a:lnTo>
                <a:lnTo>
                  <a:pt x="542444" y="289138"/>
                </a:lnTo>
                <a:lnTo>
                  <a:pt x="492847" y="330103"/>
                </a:lnTo>
                <a:lnTo>
                  <a:pt x="492847" y="72366"/>
                </a:lnTo>
                <a:cubicBezTo>
                  <a:pt x="492847" y="67343"/>
                  <a:pt x="488754" y="63250"/>
                  <a:pt x="483731" y="63250"/>
                </a:cubicBezTo>
                <a:lnTo>
                  <a:pt x="86024" y="63287"/>
                </a:lnTo>
                <a:close/>
                <a:moveTo>
                  <a:pt x="18233" y="81488"/>
                </a:moveTo>
                <a:lnTo>
                  <a:pt x="474652" y="81488"/>
                </a:lnTo>
                <a:lnTo>
                  <a:pt x="474652" y="345140"/>
                </a:lnTo>
                <a:lnTo>
                  <a:pt x="427027" y="384468"/>
                </a:lnTo>
                <a:cubicBezTo>
                  <a:pt x="425651" y="385621"/>
                  <a:pt x="424609" y="387147"/>
                  <a:pt x="424088" y="388858"/>
                </a:cubicBezTo>
                <a:lnTo>
                  <a:pt x="397373" y="477560"/>
                </a:lnTo>
                <a:cubicBezTo>
                  <a:pt x="397336" y="477634"/>
                  <a:pt x="397336" y="477709"/>
                  <a:pt x="397299" y="477783"/>
                </a:cubicBezTo>
                <a:cubicBezTo>
                  <a:pt x="397262" y="477857"/>
                  <a:pt x="397262" y="477932"/>
                  <a:pt x="397224" y="478006"/>
                </a:cubicBezTo>
                <a:cubicBezTo>
                  <a:pt x="397187" y="478081"/>
                  <a:pt x="397187" y="478155"/>
                  <a:pt x="397187" y="478229"/>
                </a:cubicBezTo>
                <a:cubicBezTo>
                  <a:pt x="397150" y="478378"/>
                  <a:pt x="397113" y="478564"/>
                  <a:pt x="397076" y="478713"/>
                </a:cubicBezTo>
                <a:cubicBezTo>
                  <a:pt x="397038" y="478862"/>
                  <a:pt x="397038" y="478974"/>
                  <a:pt x="397001" y="479122"/>
                </a:cubicBezTo>
                <a:cubicBezTo>
                  <a:pt x="396964" y="479271"/>
                  <a:pt x="396964" y="479457"/>
                  <a:pt x="396964" y="479606"/>
                </a:cubicBezTo>
                <a:cubicBezTo>
                  <a:pt x="396964" y="479755"/>
                  <a:pt x="396927" y="479904"/>
                  <a:pt x="396927" y="480015"/>
                </a:cubicBezTo>
                <a:lnTo>
                  <a:pt x="396927" y="480499"/>
                </a:lnTo>
                <a:cubicBezTo>
                  <a:pt x="396927" y="480648"/>
                  <a:pt x="396927" y="480797"/>
                  <a:pt x="396964" y="480946"/>
                </a:cubicBezTo>
                <a:cubicBezTo>
                  <a:pt x="396964" y="481094"/>
                  <a:pt x="397001" y="481243"/>
                  <a:pt x="397001" y="481392"/>
                </a:cubicBezTo>
                <a:cubicBezTo>
                  <a:pt x="397038" y="481541"/>
                  <a:pt x="397038" y="481690"/>
                  <a:pt x="397076" y="481839"/>
                </a:cubicBezTo>
                <a:cubicBezTo>
                  <a:pt x="397113" y="481987"/>
                  <a:pt x="397150" y="482136"/>
                  <a:pt x="397187" y="482285"/>
                </a:cubicBezTo>
                <a:cubicBezTo>
                  <a:pt x="397224" y="482434"/>
                  <a:pt x="397262" y="482583"/>
                  <a:pt x="397299" y="482731"/>
                </a:cubicBezTo>
                <a:cubicBezTo>
                  <a:pt x="397336" y="482880"/>
                  <a:pt x="397373" y="482992"/>
                  <a:pt x="397448" y="483141"/>
                </a:cubicBezTo>
                <a:cubicBezTo>
                  <a:pt x="397485" y="483290"/>
                  <a:pt x="397559" y="483401"/>
                  <a:pt x="397596" y="483550"/>
                </a:cubicBezTo>
                <a:cubicBezTo>
                  <a:pt x="397671" y="483699"/>
                  <a:pt x="397708" y="483810"/>
                  <a:pt x="397783" y="483959"/>
                </a:cubicBezTo>
                <a:cubicBezTo>
                  <a:pt x="397857" y="484108"/>
                  <a:pt x="397894" y="484220"/>
                  <a:pt x="397969" y="484331"/>
                </a:cubicBezTo>
                <a:cubicBezTo>
                  <a:pt x="398043" y="484480"/>
                  <a:pt x="398117" y="484592"/>
                  <a:pt x="398192" y="484703"/>
                </a:cubicBezTo>
                <a:cubicBezTo>
                  <a:pt x="398266" y="484815"/>
                  <a:pt x="398341" y="484964"/>
                  <a:pt x="398415" y="485076"/>
                </a:cubicBezTo>
                <a:cubicBezTo>
                  <a:pt x="398489" y="485187"/>
                  <a:pt x="398564" y="485336"/>
                  <a:pt x="398675" y="485448"/>
                </a:cubicBezTo>
                <a:cubicBezTo>
                  <a:pt x="398750" y="485559"/>
                  <a:pt x="398824" y="485671"/>
                  <a:pt x="398936" y="485782"/>
                </a:cubicBezTo>
                <a:cubicBezTo>
                  <a:pt x="399048" y="485894"/>
                  <a:pt x="399122" y="486006"/>
                  <a:pt x="399234" y="486155"/>
                </a:cubicBezTo>
                <a:cubicBezTo>
                  <a:pt x="399308" y="486266"/>
                  <a:pt x="399420" y="486378"/>
                  <a:pt x="399494" y="486452"/>
                </a:cubicBezTo>
                <a:cubicBezTo>
                  <a:pt x="399606" y="486564"/>
                  <a:pt x="399717" y="486675"/>
                  <a:pt x="399829" y="486787"/>
                </a:cubicBezTo>
                <a:cubicBezTo>
                  <a:pt x="399941" y="486899"/>
                  <a:pt x="400015" y="486973"/>
                  <a:pt x="400127" y="487085"/>
                </a:cubicBezTo>
                <a:cubicBezTo>
                  <a:pt x="400238" y="487196"/>
                  <a:pt x="400350" y="487271"/>
                  <a:pt x="400461" y="487382"/>
                </a:cubicBezTo>
                <a:cubicBezTo>
                  <a:pt x="400573" y="487457"/>
                  <a:pt x="400685" y="487568"/>
                  <a:pt x="400796" y="487643"/>
                </a:cubicBezTo>
                <a:cubicBezTo>
                  <a:pt x="400908" y="487717"/>
                  <a:pt x="401057" y="487829"/>
                  <a:pt x="401168" y="487903"/>
                </a:cubicBezTo>
                <a:cubicBezTo>
                  <a:pt x="401280" y="487978"/>
                  <a:pt x="401429" y="488052"/>
                  <a:pt x="401540" y="488126"/>
                </a:cubicBezTo>
                <a:cubicBezTo>
                  <a:pt x="401652" y="488201"/>
                  <a:pt x="401801" y="488275"/>
                  <a:pt x="401912" y="488350"/>
                </a:cubicBezTo>
                <a:cubicBezTo>
                  <a:pt x="402061" y="488424"/>
                  <a:pt x="402210" y="488499"/>
                  <a:pt x="402359" y="488536"/>
                </a:cubicBezTo>
                <a:cubicBezTo>
                  <a:pt x="402508" y="488610"/>
                  <a:pt x="402619" y="488647"/>
                  <a:pt x="402768" y="488722"/>
                </a:cubicBezTo>
                <a:cubicBezTo>
                  <a:pt x="402917" y="488796"/>
                  <a:pt x="403066" y="488833"/>
                  <a:pt x="403215" y="488871"/>
                </a:cubicBezTo>
                <a:cubicBezTo>
                  <a:pt x="403289" y="488908"/>
                  <a:pt x="403364" y="488945"/>
                  <a:pt x="403438" y="488945"/>
                </a:cubicBezTo>
                <a:cubicBezTo>
                  <a:pt x="403512" y="488982"/>
                  <a:pt x="403550" y="488982"/>
                  <a:pt x="403587" y="488982"/>
                </a:cubicBezTo>
                <a:cubicBezTo>
                  <a:pt x="403698" y="489019"/>
                  <a:pt x="403773" y="489057"/>
                  <a:pt x="403884" y="489057"/>
                </a:cubicBezTo>
                <a:lnTo>
                  <a:pt x="442468" y="498544"/>
                </a:lnTo>
                <a:cubicBezTo>
                  <a:pt x="444329" y="498991"/>
                  <a:pt x="446301" y="498842"/>
                  <a:pt x="448087" y="498135"/>
                </a:cubicBezTo>
                <a:lnTo>
                  <a:pt x="485814" y="482731"/>
                </a:lnTo>
                <a:lnTo>
                  <a:pt x="500139" y="487010"/>
                </a:lnTo>
                <a:lnTo>
                  <a:pt x="449351" y="587546"/>
                </a:lnTo>
                <a:cubicBezTo>
                  <a:pt x="448570" y="589072"/>
                  <a:pt x="448272" y="590784"/>
                  <a:pt x="448421" y="592495"/>
                </a:cubicBezTo>
                <a:lnTo>
                  <a:pt x="452812" y="639450"/>
                </a:lnTo>
                <a:lnTo>
                  <a:pt x="439231" y="639450"/>
                </a:lnTo>
                <a:cubicBezTo>
                  <a:pt x="434208" y="639450"/>
                  <a:pt x="430115" y="643543"/>
                  <a:pt x="430115" y="648566"/>
                </a:cubicBezTo>
                <a:lnTo>
                  <a:pt x="430115" y="691614"/>
                </a:lnTo>
                <a:lnTo>
                  <a:pt x="426357" y="691614"/>
                </a:lnTo>
                <a:lnTo>
                  <a:pt x="426320" y="691614"/>
                </a:lnTo>
                <a:lnTo>
                  <a:pt x="18193" y="691614"/>
                </a:lnTo>
                <a:lnTo>
                  <a:pt x="18193" y="81490"/>
                </a:lnTo>
                <a:close/>
                <a:moveTo>
                  <a:pt x="676535" y="743771"/>
                </a:moveTo>
                <a:lnTo>
                  <a:pt x="435505" y="743771"/>
                </a:lnTo>
                <a:lnTo>
                  <a:pt x="435505" y="709838"/>
                </a:lnTo>
                <a:lnTo>
                  <a:pt x="483725" y="709838"/>
                </a:lnTo>
                <a:lnTo>
                  <a:pt x="483762" y="709838"/>
                </a:lnTo>
                <a:lnTo>
                  <a:pt x="676529" y="709838"/>
                </a:lnTo>
                <a:lnTo>
                  <a:pt x="676529" y="743808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FCE3E08-F1DD-CED8-3D5D-18767B3BA216}"/>
              </a:ext>
            </a:extLst>
          </p:cNvPr>
          <p:cNvSpPr/>
          <p:nvPr/>
        </p:nvSpPr>
        <p:spPr>
          <a:xfrm>
            <a:off x="663053" y="2049338"/>
            <a:ext cx="230950" cy="272480"/>
          </a:xfrm>
          <a:custGeom>
            <a:avLst/>
            <a:gdLst>
              <a:gd name="connsiteX0" fmla="*/ 553358 w 679304"/>
              <a:gd name="connsiteY0" fmla="*/ 19617 h 801460"/>
              <a:gd name="connsiteX1" fmla="*/ 552908 w 679304"/>
              <a:gd name="connsiteY1" fmla="*/ 3559 h 801460"/>
              <a:gd name="connsiteX2" fmla="*/ 568961 w 679304"/>
              <a:gd name="connsiteY2" fmla="*/ 3107 h 801460"/>
              <a:gd name="connsiteX3" fmla="*/ 596521 w 679304"/>
              <a:gd name="connsiteY3" fmla="*/ 426756 h 801460"/>
              <a:gd name="connsiteX4" fmla="*/ 617501 w 679304"/>
              <a:gd name="connsiteY4" fmla="*/ 421065 h 801460"/>
              <a:gd name="connsiteX5" fmla="*/ 631440 w 679304"/>
              <a:gd name="connsiteY5" fmla="*/ 429027 h 801460"/>
              <a:gd name="connsiteX6" fmla="*/ 623458 w 679304"/>
              <a:gd name="connsiteY6" fmla="*/ 442979 h 801460"/>
              <a:gd name="connsiteX7" fmla="*/ 564141 w 679304"/>
              <a:gd name="connsiteY7" fmla="*/ 459089 h 801460"/>
              <a:gd name="connsiteX8" fmla="*/ 550135 w 679304"/>
              <a:gd name="connsiteY8" fmla="*/ 445414 h 801460"/>
              <a:gd name="connsiteX9" fmla="*/ 564851 w 679304"/>
              <a:gd name="connsiteY9" fmla="*/ 385722 h 801460"/>
              <a:gd name="connsiteX10" fmla="*/ 578593 w 679304"/>
              <a:gd name="connsiteY10" fmla="*/ 377421 h 801460"/>
              <a:gd name="connsiteX11" fmla="*/ 586900 w 679304"/>
              <a:gd name="connsiteY11" fmla="*/ 391177 h 801460"/>
              <a:gd name="connsiteX12" fmla="*/ 582892 w 679304"/>
              <a:gd name="connsiteY12" fmla="*/ 407451 h 801460"/>
              <a:gd name="connsiteX13" fmla="*/ 643910 w 679304"/>
              <a:gd name="connsiteY13" fmla="*/ 229752 h 801460"/>
              <a:gd name="connsiteX14" fmla="*/ 553358 w 679304"/>
              <a:gd name="connsiteY14" fmla="*/ 19617 h 801460"/>
              <a:gd name="connsiteX15" fmla="*/ 553358 w 679304"/>
              <a:gd name="connsiteY15" fmla="*/ 19617 h 801460"/>
              <a:gd name="connsiteX16" fmla="*/ 12687 w 679304"/>
              <a:gd name="connsiteY16" fmla="*/ 229752 h 801460"/>
              <a:gd name="connsiteX17" fmla="*/ 82775 w 679304"/>
              <a:gd name="connsiteY17" fmla="*/ 32747 h 801460"/>
              <a:gd name="connsiteX18" fmla="*/ 61805 w 679304"/>
              <a:gd name="connsiteY18" fmla="*/ 38439 h 801460"/>
              <a:gd name="connsiteX19" fmla="*/ 47867 w 679304"/>
              <a:gd name="connsiteY19" fmla="*/ 30456 h 801460"/>
              <a:gd name="connsiteX20" fmla="*/ 55850 w 679304"/>
              <a:gd name="connsiteY20" fmla="*/ 16515 h 801460"/>
              <a:gd name="connsiteX21" fmla="*/ 115166 w 679304"/>
              <a:gd name="connsiteY21" fmla="*/ 405 h 801460"/>
              <a:gd name="connsiteX22" fmla="*/ 129173 w 679304"/>
              <a:gd name="connsiteY22" fmla="*/ 14090 h 801460"/>
              <a:gd name="connsiteX23" fmla="*/ 114456 w 679304"/>
              <a:gd name="connsiteY23" fmla="*/ 73751 h 801460"/>
              <a:gd name="connsiteX24" fmla="*/ 100711 w 679304"/>
              <a:gd name="connsiteY24" fmla="*/ 82063 h 801460"/>
              <a:gd name="connsiteX25" fmla="*/ 92403 w 679304"/>
              <a:gd name="connsiteY25" fmla="*/ 68326 h 801460"/>
              <a:gd name="connsiteX26" fmla="*/ 96412 w 679304"/>
              <a:gd name="connsiteY26" fmla="*/ 52073 h 801460"/>
              <a:gd name="connsiteX27" fmla="*/ 35398 w 679304"/>
              <a:gd name="connsiteY27" fmla="*/ 229752 h 801460"/>
              <a:gd name="connsiteX28" fmla="*/ 125950 w 679304"/>
              <a:gd name="connsiteY28" fmla="*/ 439876 h 801460"/>
              <a:gd name="connsiteX29" fmla="*/ 118144 w 679304"/>
              <a:gd name="connsiteY29" fmla="*/ 459499 h 801460"/>
              <a:gd name="connsiteX30" fmla="*/ 110343 w 679304"/>
              <a:gd name="connsiteY30" fmla="*/ 456397 h 801460"/>
              <a:gd name="connsiteX31" fmla="*/ 12687 w 679304"/>
              <a:gd name="connsiteY31" fmla="*/ 229752 h 801460"/>
              <a:gd name="connsiteX32" fmla="*/ 12687 w 679304"/>
              <a:gd name="connsiteY32" fmla="*/ 229752 h 801460"/>
              <a:gd name="connsiteX33" fmla="*/ 328296 w 679304"/>
              <a:gd name="connsiteY33" fmla="*/ 24035 h 801460"/>
              <a:gd name="connsiteX34" fmla="*/ 328296 w 679304"/>
              <a:gd name="connsiteY34" fmla="*/ 75292 h 801460"/>
              <a:gd name="connsiteX35" fmla="*/ 320586 w 679304"/>
              <a:gd name="connsiteY35" fmla="*/ 71943 h 801460"/>
              <a:gd name="connsiteX36" fmla="*/ 247893 w 679304"/>
              <a:gd name="connsiteY36" fmla="*/ 106320 h 801460"/>
              <a:gd name="connsiteX37" fmla="*/ 320586 w 679304"/>
              <a:gd name="connsiteY37" fmla="*/ 140686 h 801460"/>
              <a:gd name="connsiteX38" fmla="*/ 328296 w 679304"/>
              <a:gd name="connsiteY38" fmla="*/ 137337 h 801460"/>
              <a:gd name="connsiteX39" fmla="*/ 328296 w 679304"/>
              <a:gd name="connsiteY39" fmla="*/ 218399 h 801460"/>
              <a:gd name="connsiteX40" fmla="*/ 244222 w 679304"/>
              <a:gd name="connsiteY40" fmla="*/ 218399 h 801460"/>
              <a:gd name="connsiteX41" fmla="*/ 224433 w 679304"/>
              <a:gd name="connsiteY41" fmla="*/ 238187 h 801460"/>
              <a:gd name="connsiteX42" fmla="*/ 237981 w 679304"/>
              <a:gd name="connsiteY42" fmla="*/ 277043 h 801460"/>
              <a:gd name="connsiteX43" fmla="*/ 216221 w 679304"/>
              <a:gd name="connsiteY43" fmla="*/ 298793 h 801460"/>
              <a:gd name="connsiteX44" fmla="*/ 199397 w 679304"/>
              <a:gd name="connsiteY44" fmla="*/ 263235 h 801460"/>
              <a:gd name="connsiteX45" fmla="*/ 208006 w 679304"/>
              <a:gd name="connsiteY45" fmla="*/ 238187 h 801460"/>
              <a:gd name="connsiteX46" fmla="*/ 188220 w 679304"/>
              <a:gd name="connsiteY46" fmla="*/ 218399 h 801460"/>
              <a:gd name="connsiteX47" fmla="*/ 133925 w 679304"/>
              <a:gd name="connsiteY47" fmla="*/ 218399 h 801460"/>
              <a:gd name="connsiteX48" fmla="*/ 328296 w 679304"/>
              <a:gd name="connsiteY48" fmla="*/ 24035 h 801460"/>
              <a:gd name="connsiteX49" fmla="*/ 328296 w 679304"/>
              <a:gd name="connsiteY49" fmla="*/ 24035 h 801460"/>
              <a:gd name="connsiteX50" fmla="*/ 351012 w 679304"/>
              <a:gd name="connsiteY50" fmla="*/ 78313 h 801460"/>
              <a:gd name="connsiteX51" fmla="*/ 331222 w 679304"/>
              <a:gd name="connsiteY51" fmla="*/ 98111 h 801460"/>
              <a:gd name="connsiteX52" fmla="*/ 306167 w 679304"/>
              <a:gd name="connsiteY52" fmla="*/ 89501 h 801460"/>
              <a:gd name="connsiteX53" fmla="*/ 270609 w 679304"/>
              <a:gd name="connsiteY53" fmla="*/ 106320 h 801460"/>
              <a:gd name="connsiteX54" fmla="*/ 292366 w 679304"/>
              <a:gd name="connsiteY54" fmla="*/ 128080 h 801460"/>
              <a:gd name="connsiteX55" fmla="*/ 331222 w 679304"/>
              <a:gd name="connsiteY55" fmla="*/ 114529 h 801460"/>
              <a:gd name="connsiteX56" fmla="*/ 351012 w 679304"/>
              <a:gd name="connsiteY56" fmla="*/ 134316 h 801460"/>
              <a:gd name="connsiteX57" fmla="*/ 351012 w 679304"/>
              <a:gd name="connsiteY57" fmla="*/ 218399 h 801460"/>
              <a:gd name="connsiteX58" fmla="*/ 432060 w 679304"/>
              <a:gd name="connsiteY58" fmla="*/ 218399 h 801460"/>
              <a:gd name="connsiteX59" fmla="*/ 428716 w 679304"/>
              <a:gd name="connsiteY59" fmla="*/ 210683 h 801460"/>
              <a:gd name="connsiteX60" fmla="*/ 463087 w 679304"/>
              <a:gd name="connsiteY60" fmla="*/ 137984 h 801460"/>
              <a:gd name="connsiteX61" fmla="*/ 497457 w 679304"/>
              <a:gd name="connsiteY61" fmla="*/ 210683 h 801460"/>
              <a:gd name="connsiteX62" fmla="*/ 494110 w 679304"/>
              <a:gd name="connsiteY62" fmla="*/ 218399 h 801460"/>
              <a:gd name="connsiteX63" fmla="*/ 545371 w 679304"/>
              <a:gd name="connsiteY63" fmla="*/ 218399 h 801460"/>
              <a:gd name="connsiteX64" fmla="*/ 351012 w 679304"/>
              <a:gd name="connsiteY64" fmla="*/ 24014 h 801460"/>
              <a:gd name="connsiteX65" fmla="*/ 351012 w 679304"/>
              <a:gd name="connsiteY65" fmla="*/ 78313 h 801460"/>
              <a:gd name="connsiteX66" fmla="*/ 351012 w 679304"/>
              <a:gd name="connsiteY66" fmla="*/ 78313 h 801460"/>
              <a:gd name="connsiteX67" fmla="*/ 351012 w 679304"/>
              <a:gd name="connsiteY67" fmla="*/ 435469 h 801460"/>
              <a:gd name="connsiteX68" fmla="*/ 351012 w 679304"/>
              <a:gd name="connsiteY68" fmla="*/ 384201 h 801460"/>
              <a:gd name="connsiteX69" fmla="*/ 358717 w 679304"/>
              <a:gd name="connsiteY69" fmla="*/ 387540 h 801460"/>
              <a:gd name="connsiteX70" fmla="*/ 431413 w 679304"/>
              <a:gd name="connsiteY70" fmla="*/ 353184 h 801460"/>
              <a:gd name="connsiteX71" fmla="*/ 358717 w 679304"/>
              <a:gd name="connsiteY71" fmla="*/ 318817 h 801460"/>
              <a:gd name="connsiteX72" fmla="*/ 351012 w 679304"/>
              <a:gd name="connsiteY72" fmla="*/ 322167 h 801460"/>
              <a:gd name="connsiteX73" fmla="*/ 351012 w 679304"/>
              <a:gd name="connsiteY73" fmla="*/ 241105 h 801460"/>
              <a:gd name="connsiteX74" fmla="*/ 435086 w 679304"/>
              <a:gd name="connsiteY74" fmla="*/ 241105 h 801460"/>
              <a:gd name="connsiteX75" fmla="*/ 454875 w 679304"/>
              <a:gd name="connsiteY75" fmla="*/ 221317 h 801460"/>
              <a:gd name="connsiteX76" fmla="*/ 441327 w 679304"/>
              <a:gd name="connsiteY76" fmla="*/ 182460 h 801460"/>
              <a:gd name="connsiteX77" fmla="*/ 463087 w 679304"/>
              <a:gd name="connsiteY77" fmla="*/ 160700 h 801460"/>
              <a:gd name="connsiteX78" fmla="*/ 479911 w 679304"/>
              <a:gd name="connsiteY78" fmla="*/ 196269 h 801460"/>
              <a:gd name="connsiteX79" fmla="*/ 471298 w 679304"/>
              <a:gd name="connsiteY79" fmla="*/ 221317 h 801460"/>
              <a:gd name="connsiteX80" fmla="*/ 491088 w 679304"/>
              <a:gd name="connsiteY80" fmla="*/ 241105 h 801460"/>
              <a:gd name="connsiteX81" fmla="*/ 545383 w 679304"/>
              <a:gd name="connsiteY81" fmla="*/ 241105 h 801460"/>
              <a:gd name="connsiteX82" fmla="*/ 351012 w 679304"/>
              <a:gd name="connsiteY82" fmla="*/ 435469 h 801460"/>
              <a:gd name="connsiteX83" fmla="*/ 351012 w 679304"/>
              <a:gd name="connsiteY83" fmla="*/ 435469 h 801460"/>
              <a:gd name="connsiteX84" fmla="*/ 328296 w 679304"/>
              <a:gd name="connsiteY84" fmla="*/ 381181 h 801460"/>
              <a:gd name="connsiteX85" fmla="*/ 348086 w 679304"/>
              <a:gd name="connsiteY85" fmla="*/ 361393 h 801460"/>
              <a:gd name="connsiteX86" fmla="*/ 373141 w 679304"/>
              <a:gd name="connsiteY86" fmla="*/ 370003 h 801460"/>
              <a:gd name="connsiteX87" fmla="*/ 408699 w 679304"/>
              <a:gd name="connsiteY87" fmla="*/ 353184 h 801460"/>
              <a:gd name="connsiteX88" fmla="*/ 386942 w 679304"/>
              <a:gd name="connsiteY88" fmla="*/ 331424 h 801460"/>
              <a:gd name="connsiteX89" fmla="*/ 348086 w 679304"/>
              <a:gd name="connsiteY89" fmla="*/ 344975 h 801460"/>
              <a:gd name="connsiteX90" fmla="*/ 328296 w 679304"/>
              <a:gd name="connsiteY90" fmla="*/ 325177 h 801460"/>
              <a:gd name="connsiteX91" fmla="*/ 328296 w 679304"/>
              <a:gd name="connsiteY91" fmla="*/ 241105 h 801460"/>
              <a:gd name="connsiteX92" fmla="*/ 247244 w 679304"/>
              <a:gd name="connsiteY92" fmla="*/ 241105 h 801460"/>
              <a:gd name="connsiteX93" fmla="*/ 250591 w 679304"/>
              <a:gd name="connsiteY93" fmla="*/ 248810 h 801460"/>
              <a:gd name="connsiteX94" fmla="*/ 216221 w 679304"/>
              <a:gd name="connsiteY94" fmla="*/ 321509 h 801460"/>
              <a:gd name="connsiteX95" fmla="*/ 181851 w 679304"/>
              <a:gd name="connsiteY95" fmla="*/ 248810 h 801460"/>
              <a:gd name="connsiteX96" fmla="*/ 185194 w 679304"/>
              <a:gd name="connsiteY96" fmla="*/ 241105 h 801460"/>
              <a:gd name="connsiteX97" fmla="*/ 133933 w 679304"/>
              <a:gd name="connsiteY97" fmla="*/ 241105 h 801460"/>
              <a:gd name="connsiteX98" fmla="*/ 328296 w 679304"/>
              <a:gd name="connsiteY98" fmla="*/ 435489 h 801460"/>
              <a:gd name="connsiteX99" fmla="*/ 328296 w 679304"/>
              <a:gd name="connsiteY99" fmla="*/ 381181 h 801460"/>
              <a:gd name="connsiteX100" fmla="*/ 328296 w 679304"/>
              <a:gd name="connsiteY100" fmla="*/ 381181 h 801460"/>
              <a:gd name="connsiteX101" fmla="*/ 339654 w 679304"/>
              <a:gd name="connsiteY101" fmla="*/ 458503 h 801460"/>
              <a:gd name="connsiteX102" fmla="*/ 568403 w 679304"/>
              <a:gd name="connsiteY102" fmla="*/ 229752 h 801460"/>
              <a:gd name="connsiteX103" fmla="*/ 339654 w 679304"/>
              <a:gd name="connsiteY103" fmla="*/ 991 h 801460"/>
              <a:gd name="connsiteX104" fmla="*/ 110901 w 679304"/>
              <a:gd name="connsiteY104" fmla="*/ 229752 h 801460"/>
              <a:gd name="connsiteX105" fmla="*/ 339654 w 679304"/>
              <a:gd name="connsiteY105" fmla="*/ 458503 h 801460"/>
              <a:gd name="connsiteX106" fmla="*/ 339654 w 679304"/>
              <a:gd name="connsiteY106" fmla="*/ 458503 h 801460"/>
              <a:gd name="connsiteX107" fmla="*/ 652482 w 679304"/>
              <a:gd name="connsiteY107" fmla="*/ 761977 h 801460"/>
              <a:gd name="connsiteX108" fmla="*/ 643308 w 679304"/>
              <a:gd name="connsiteY108" fmla="*/ 764885 h 801460"/>
              <a:gd name="connsiteX109" fmla="*/ 636678 w 679304"/>
              <a:gd name="connsiteY109" fmla="*/ 760580 h 801460"/>
              <a:gd name="connsiteX110" fmla="*/ 563211 w 679304"/>
              <a:gd name="connsiteY110" fmla="*/ 696151 h 801460"/>
              <a:gd name="connsiteX111" fmla="*/ 546600 w 679304"/>
              <a:gd name="connsiteY111" fmla="*/ 706169 h 801460"/>
              <a:gd name="connsiteX112" fmla="*/ 546218 w 679304"/>
              <a:gd name="connsiteY112" fmla="*/ 776772 h 801460"/>
              <a:gd name="connsiteX113" fmla="*/ 544240 w 679304"/>
              <a:gd name="connsiteY113" fmla="*/ 778755 h 801460"/>
              <a:gd name="connsiteX114" fmla="*/ 458740 w 679304"/>
              <a:gd name="connsiteY114" fmla="*/ 778755 h 801460"/>
              <a:gd name="connsiteX115" fmla="*/ 456761 w 679304"/>
              <a:gd name="connsiteY115" fmla="*/ 776772 h 801460"/>
              <a:gd name="connsiteX116" fmla="*/ 456761 w 679304"/>
              <a:gd name="connsiteY116" fmla="*/ 664240 h 801460"/>
              <a:gd name="connsiteX117" fmla="*/ 449221 w 679304"/>
              <a:gd name="connsiteY117" fmla="*/ 653556 h 801460"/>
              <a:gd name="connsiteX118" fmla="*/ 352473 w 679304"/>
              <a:gd name="connsiteY118" fmla="*/ 574795 h 801460"/>
              <a:gd name="connsiteX119" fmla="*/ 355467 w 679304"/>
              <a:gd name="connsiteY119" fmla="*/ 561223 h 801460"/>
              <a:gd name="connsiteX120" fmla="*/ 364749 w 679304"/>
              <a:gd name="connsiteY120" fmla="*/ 558726 h 801460"/>
              <a:gd name="connsiteX121" fmla="*/ 371190 w 679304"/>
              <a:gd name="connsiteY121" fmla="*/ 563309 h 801460"/>
              <a:gd name="connsiteX122" fmla="*/ 554935 w 679304"/>
              <a:gd name="connsiteY122" fmla="*/ 673816 h 801460"/>
              <a:gd name="connsiteX123" fmla="*/ 654882 w 679304"/>
              <a:gd name="connsiteY123" fmla="*/ 748303 h 801460"/>
              <a:gd name="connsiteX124" fmla="*/ 652482 w 679304"/>
              <a:gd name="connsiteY124" fmla="*/ 761977 h 801460"/>
              <a:gd name="connsiteX125" fmla="*/ 652482 w 679304"/>
              <a:gd name="connsiteY125" fmla="*/ 761977 h 801460"/>
              <a:gd name="connsiteX126" fmla="*/ 326832 w 679304"/>
              <a:gd name="connsiteY126" fmla="*/ 574795 h 801460"/>
              <a:gd name="connsiteX127" fmla="*/ 230084 w 679304"/>
              <a:gd name="connsiteY127" fmla="*/ 653556 h 801460"/>
              <a:gd name="connsiteX128" fmla="*/ 222547 w 679304"/>
              <a:gd name="connsiteY128" fmla="*/ 664240 h 801460"/>
              <a:gd name="connsiteX129" fmla="*/ 222547 w 679304"/>
              <a:gd name="connsiteY129" fmla="*/ 776772 h 801460"/>
              <a:gd name="connsiteX130" fmla="*/ 220564 w 679304"/>
              <a:gd name="connsiteY130" fmla="*/ 778755 h 801460"/>
              <a:gd name="connsiteX131" fmla="*/ 135068 w 679304"/>
              <a:gd name="connsiteY131" fmla="*/ 778755 h 801460"/>
              <a:gd name="connsiteX132" fmla="*/ 133086 w 679304"/>
              <a:gd name="connsiteY132" fmla="*/ 776710 h 801460"/>
              <a:gd name="connsiteX133" fmla="*/ 132708 w 679304"/>
              <a:gd name="connsiteY133" fmla="*/ 706169 h 801460"/>
              <a:gd name="connsiteX134" fmla="*/ 116097 w 679304"/>
              <a:gd name="connsiteY134" fmla="*/ 696151 h 801460"/>
              <a:gd name="connsiteX135" fmla="*/ 42630 w 679304"/>
              <a:gd name="connsiteY135" fmla="*/ 760580 h 801460"/>
              <a:gd name="connsiteX136" fmla="*/ 28299 w 679304"/>
              <a:gd name="connsiteY136" fmla="*/ 763066 h 801460"/>
              <a:gd name="connsiteX137" fmla="*/ 26826 w 679304"/>
              <a:gd name="connsiteY137" fmla="*/ 761977 h 801460"/>
              <a:gd name="connsiteX138" fmla="*/ 24422 w 679304"/>
              <a:gd name="connsiteY138" fmla="*/ 748303 h 801460"/>
              <a:gd name="connsiteX139" fmla="*/ 124369 w 679304"/>
              <a:gd name="connsiteY139" fmla="*/ 673816 h 801460"/>
              <a:gd name="connsiteX140" fmla="*/ 308114 w 679304"/>
              <a:gd name="connsiteY140" fmla="*/ 563309 h 801460"/>
              <a:gd name="connsiteX141" fmla="*/ 322321 w 679304"/>
              <a:gd name="connsiteY141" fmla="*/ 560195 h 801460"/>
              <a:gd name="connsiteX142" fmla="*/ 323841 w 679304"/>
              <a:gd name="connsiteY142" fmla="*/ 561223 h 801460"/>
              <a:gd name="connsiteX143" fmla="*/ 326832 w 679304"/>
              <a:gd name="connsiteY143" fmla="*/ 574795 h 801460"/>
              <a:gd name="connsiteX144" fmla="*/ 326832 w 679304"/>
              <a:gd name="connsiteY144" fmla="*/ 574795 h 801460"/>
              <a:gd name="connsiteX145" fmla="*/ 673776 w 679304"/>
              <a:gd name="connsiteY145" fmla="*/ 735696 h 801460"/>
              <a:gd name="connsiteX146" fmla="*/ 561541 w 679304"/>
              <a:gd name="connsiteY146" fmla="*/ 652076 h 801460"/>
              <a:gd name="connsiteX147" fmla="*/ 561328 w 679304"/>
              <a:gd name="connsiteY147" fmla="*/ 652015 h 801460"/>
              <a:gd name="connsiteX148" fmla="*/ 390582 w 679304"/>
              <a:gd name="connsiteY148" fmla="*/ 551483 h 801460"/>
              <a:gd name="connsiteX149" fmla="*/ 344301 w 679304"/>
              <a:gd name="connsiteY149" fmla="*/ 541363 h 801460"/>
              <a:gd name="connsiteX150" fmla="*/ 339654 w 679304"/>
              <a:gd name="connsiteY150" fmla="*/ 544805 h 801460"/>
              <a:gd name="connsiteX151" fmla="*/ 309699 w 679304"/>
              <a:gd name="connsiteY151" fmla="*/ 536524 h 801460"/>
              <a:gd name="connsiteX152" fmla="*/ 288726 w 679304"/>
              <a:gd name="connsiteY152" fmla="*/ 551483 h 801460"/>
              <a:gd name="connsiteX153" fmla="*/ 117975 w 679304"/>
              <a:gd name="connsiteY153" fmla="*/ 652015 h 801460"/>
              <a:gd name="connsiteX154" fmla="*/ 117767 w 679304"/>
              <a:gd name="connsiteY154" fmla="*/ 652076 h 801460"/>
              <a:gd name="connsiteX155" fmla="*/ 5527 w 679304"/>
              <a:gd name="connsiteY155" fmla="*/ 735696 h 801460"/>
              <a:gd name="connsiteX156" fmla="*/ 13349 w 679304"/>
              <a:gd name="connsiteY156" fmla="*/ 780255 h 801460"/>
              <a:gd name="connsiteX157" fmla="*/ 39893 w 679304"/>
              <a:gd name="connsiteY157" fmla="*/ 787251 h 801460"/>
              <a:gd name="connsiteX158" fmla="*/ 61493 w 679304"/>
              <a:gd name="connsiteY158" fmla="*/ 773217 h 801460"/>
              <a:gd name="connsiteX159" fmla="*/ 110098 w 679304"/>
              <a:gd name="connsiteY159" fmla="*/ 725874 h 801460"/>
              <a:gd name="connsiteX160" fmla="*/ 110375 w 679304"/>
              <a:gd name="connsiteY160" fmla="*/ 776772 h 801460"/>
              <a:gd name="connsiteX161" fmla="*/ 135068 w 679304"/>
              <a:gd name="connsiteY161" fmla="*/ 801460 h 801460"/>
              <a:gd name="connsiteX162" fmla="*/ 220564 w 679304"/>
              <a:gd name="connsiteY162" fmla="*/ 801460 h 801460"/>
              <a:gd name="connsiteX163" fmla="*/ 245257 w 679304"/>
              <a:gd name="connsiteY163" fmla="*/ 776772 h 801460"/>
              <a:gd name="connsiteX164" fmla="*/ 245257 w 679304"/>
              <a:gd name="connsiteY164" fmla="*/ 672090 h 801460"/>
              <a:gd name="connsiteX165" fmla="*/ 339654 w 679304"/>
              <a:gd name="connsiteY165" fmla="*/ 596750 h 801460"/>
              <a:gd name="connsiteX166" fmla="*/ 434047 w 679304"/>
              <a:gd name="connsiteY166" fmla="*/ 672090 h 801460"/>
              <a:gd name="connsiteX167" fmla="*/ 434047 w 679304"/>
              <a:gd name="connsiteY167" fmla="*/ 776772 h 801460"/>
              <a:gd name="connsiteX168" fmla="*/ 458740 w 679304"/>
              <a:gd name="connsiteY168" fmla="*/ 801460 h 801460"/>
              <a:gd name="connsiteX169" fmla="*/ 544240 w 679304"/>
              <a:gd name="connsiteY169" fmla="*/ 801460 h 801460"/>
              <a:gd name="connsiteX170" fmla="*/ 568933 w 679304"/>
              <a:gd name="connsiteY170" fmla="*/ 776823 h 801460"/>
              <a:gd name="connsiteX171" fmla="*/ 569207 w 679304"/>
              <a:gd name="connsiteY171" fmla="*/ 725874 h 801460"/>
              <a:gd name="connsiteX172" fmla="*/ 617815 w 679304"/>
              <a:gd name="connsiteY172" fmla="*/ 773217 h 801460"/>
              <a:gd name="connsiteX173" fmla="*/ 664486 w 679304"/>
              <a:gd name="connsiteY173" fmla="*/ 781344 h 801460"/>
              <a:gd name="connsiteX174" fmla="*/ 665959 w 679304"/>
              <a:gd name="connsiteY174" fmla="*/ 780255 h 801460"/>
              <a:gd name="connsiteX175" fmla="*/ 673776 w 679304"/>
              <a:gd name="connsiteY175" fmla="*/ 735696 h 801460"/>
              <a:gd name="connsiteX176" fmla="*/ 673776 w 679304"/>
              <a:gd name="connsiteY176" fmla="*/ 735696 h 801460"/>
              <a:gd name="connsiteX177" fmla="*/ 567436 w 679304"/>
              <a:gd name="connsiteY177" fmla="*/ 560154 h 801460"/>
              <a:gd name="connsiteX178" fmla="*/ 530987 w 679304"/>
              <a:gd name="connsiteY178" fmla="*/ 523692 h 801460"/>
              <a:gd name="connsiteX179" fmla="*/ 494535 w 679304"/>
              <a:gd name="connsiteY179" fmla="*/ 560154 h 801460"/>
              <a:gd name="connsiteX180" fmla="*/ 530987 w 679304"/>
              <a:gd name="connsiteY180" fmla="*/ 596606 h 801460"/>
              <a:gd name="connsiteX181" fmla="*/ 567436 w 679304"/>
              <a:gd name="connsiteY181" fmla="*/ 560154 h 801460"/>
              <a:gd name="connsiteX182" fmla="*/ 567436 w 679304"/>
              <a:gd name="connsiteY182" fmla="*/ 560154 h 801460"/>
              <a:gd name="connsiteX183" fmla="*/ 471820 w 679304"/>
              <a:gd name="connsiteY183" fmla="*/ 560154 h 801460"/>
              <a:gd name="connsiteX184" fmla="*/ 530987 w 679304"/>
              <a:gd name="connsiteY184" fmla="*/ 619322 h 801460"/>
              <a:gd name="connsiteX185" fmla="*/ 590151 w 679304"/>
              <a:gd name="connsiteY185" fmla="*/ 560154 h 801460"/>
              <a:gd name="connsiteX186" fmla="*/ 530987 w 679304"/>
              <a:gd name="connsiteY186" fmla="*/ 500986 h 801460"/>
              <a:gd name="connsiteX187" fmla="*/ 471820 w 679304"/>
              <a:gd name="connsiteY187" fmla="*/ 560154 h 801460"/>
              <a:gd name="connsiteX188" fmla="*/ 471820 w 679304"/>
              <a:gd name="connsiteY188" fmla="*/ 560154 h 801460"/>
              <a:gd name="connsiteX189" fmla="*/ 184773 w 679304"/>
              <a:gd name="connsiteY189" fmla="*/ 560154 h 801460"/>
              <a:gd name="connsiteX190" fmla="*/ 148321 w 679304"/>
              <a:gd name="connsiteY190" fmla="*/ 523692 h 801460"/>
              <a:gd name="connsiteX191" fmla="*/ 111868 w 679304"/>
              <a:gd name="connsiteY191" fmla="*/ 560154 h 801460"/>
              <a:gd name="connsiteX192" fmla="*/ 148321 w 679304"/>
              <a:gd name="connsiteY192" fmla="*/ 596606 h 801460"/>
              <a:gd name="connsiteX193" fmla="*/ 184773 w 679304"/>
              <a:gd name="connsiteY193" fmla="*/ 560154 h 801460"/>
              <a:gd name="connsiteX194" fmla="*/ 184773 w 679304"/>
              <a:gd name="connsiteY194" fmla="*/ 560154 h 801460"/>
              <a:gd name="connsiteX195" fmla="*/ 89157 w 679304"/>
              <a:gd name="connsiteY195" fmla="*/ 560154 h 801460"/>
              <a:gd name="connsiteX196" fmla="*/ 148321 w 679304"/>
              <a:gd name="connsiteY196" fmla="*/ 619322 h 801460"/>
              <a:gd name="connsiteX197" fmla="*/ 207484 w 679304"/>
              <a:gd name="connsiteY197" fmla="*/ 560154 h 801460"/>
              <a:gd name="connsiteX198" fmla="*/ 148321 w 679304"/>
              <a:gd name="connsiteY198" fmla="*/ 500986 h 801460"/>
              <a:gd name="connsiteX199" fmla="*/ 89157 w 679304"/>
              <a:gd name="connsiteY199" fmla="*/ 560154 h 80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</a:cxnLst>
            <a:rect l="l" t="t" r="r" b="b"/>
            <a:pathLst>
              <a:path w="679304" h="801460">
                <a:moveTo>
                  <a:pt x="553358" y="19617"/>
                </a:moveTo>
                <a:cubicBezTo>
                  <a:pt x="548802" y="15302"/>
                  <a:pt x="548602" y="8110"/>
                  <a:pt x="552908" y="3559"/>
                </a:cubicBezTo>
                <a:cubicBezTo>
                  <a:pt x="557219" y="-1003"/>
                  <a:pt x="564402" y="-1198"/>
                  <a:pt x="568961" y="3107"/>
                </a:cubicBezTo>
                <a:cubicBezTo>
                  <a:pt x="687470" y="115102"/>
                  <a:pt x="700070" y="300282"/>
                  <a:pt x="596521" y="426756"/>
                </a:cubicBezTo>
                <a:lnTo>
                  <a:pt x="617501" y="421065"/>
                </a:lnTo>
                <a:cubicBezTo>
                  <a:pt x="623554" y="419410"/>
                  <a:pt x="629794" y="422975"/>
                  <a:pt x="631440" y="429027"/>
                </a:cubicBezTo>
                <a:cubicBezTo>
                  <a:pt x="633082" y="435099"/>
                  <a:pt x="629510" y="441325"/>
                  <a:pt x="623458" y="442979"/>
                </a:cubicBezTo>
                <a:lnTo>
                  <a:pt x="564141" y="459089"/>
                </a:lnTo>
                <a:cubicBezTo>
                  <a:pt x="555910" y="461362"/>
                  <a:pt x="548050" y="453880"/>
                  <a:pt x="550135" y="445414"/>
                </a:cubicBezTo>
                <a:lnTo>
                  <a:pt x="564851" y="385722"/>
                </a:lnTo>
                <a:cubicBezTo>
                  <a:pt x="566352" y="379640"/>
                  <a:pt x="572505" y="375931"/>
                  <a:pt x="578593" y="377421"/>
                </a:cubicBezTo>
                <a:cubicBezTo>
                  <a:pt x="584685" y="378931"/>
                  <a:pt x="588406" y="385074"/>
                  <a:pt x="586900" y="391177"/>
                </a:cubicBezTo>
                <a:lnTo>
                  <a:pt x="582892" y="407451"/>
                </a:lnTo>
                <a:cubicBezTo>
                  <a:pt x="622459" y="356893"/>
                  <a:pt x="643910" y="295053"/>
                  <a:pt x="643910" y="229752"/>
                </a:cubicBezTo>
                <a:cubicBezTo>
                  <a:pt x="643910" y="149440"/>
                  <a:pt x="611751" y="74809"/>
                  <a:pt x="553358" y="19617"/>
                </a:cubicBezTo>
                <a:lnTo>
                  <a:pt x="553358" y="19617"/>
                </a:lnTo>
                <a:close/>
                <a:moveTo>
                  <a:pt x="12687" y="229752"/>
                </a:moveTo>
                <a:cubicBezTo>
                  <a:pt x="12687" y="157145"/>
                  <a:pt x="37385" y="88248"/>
                  <a:pt x="82775" y="32747"/>
                </a:cubicBezTo>
                <a:lnTo>
                  <a:pt x="61805" y="38439"/>
                </a:lnTo>
                <a:cubicBezTo>
                  <a:pt x="55754" y="40093"/>
                  <a:pt x="49513" y="36508"/>
                  <a:pt x="47867" y="30456"/>
                </a:cubicBezTo>
                <a:cubicBezTo>
                  <a:pt x="46222" y="24405"/>
                  <a:pt x="49794" y="18179"/>
                  <a:pt x="55850" y="16515"/>
                </a:cubicBezTo>
                <a:lnTo>
                  <a:pt x="115166" y="405"/>
                </a:lnTo>
                <a:cubicBezTo>
                  <a:pt x="123479" y="-1857"/>
                  <a:pt x="131234" y="5725"/>
                  <a:pt x="129173" y="14090"/>
                </a:cubicBezTo>
                <a:lnTo>
                  <a:pt x="114456" y="73751"/>
                </a:lnTo>
                <a:cubicBezTo>
                  <a:pt x="112938" y="79907"/>
                  <a:pt x="106759" y="83551"/>
                  <a:pt x="100711" y="82063"/>
                </a:cubicBezTo>
                <a:cubicBezTo>
                  <a:pt x="94623" y="80573"/>
                  <a:pt x="90902" y="74419"/>
                  <a:pt x="92403" y="68326"/>
                </a:cubicBezTo>
                <a:lnTo>
                  <a:pt x="96412" y="52073"/>
                </a:lnTo>
                <a:cubicBezTo>
                  <a:pt x="56862" y="102652"/>
                  <a:pt x="35398" y="164594"/>
                  <a:pt x="35398" y="229752"/>
                </a:cubicBezTo>
                <a:cubicBezTo>
                  <a:pt x="35398" y="310054"/>
                  <a:pt x="67557" y="384694"/>
                  <a:pt x="125950" y="439876"/>
                </a:cubicBezTo>
                <a:cubicBezTo>
                  <a:pt x="133424" y="446956"/>
                  <a:pt x="128329" y="459499"/>
                  <a:pt x="118144" y="459499"/>
                </a:cubicBezTo>
                <a:cubicBezTo>
                  <a:pt x="115343" y="459499"/>
                  <a:pt x="112537" y="458462"/>
                  <a:pt x="110343" y="456397"/>
                </a:cubicBezTo>
                <a:cubicBezTo>
                  <a:pt x="47836" y="397431"/>
                  <a:pt x="12687" y="315784"/>
                  <a:pt x="12687" y="229752"/>
                </a:cubicBezTo>
                <a:lnTo>
                  <a:pt x="12687" y="229752"/>
                </a:lnTo>
                <a:close/>
                <a:moveTo>
                  <a:pt x="328296" y="24035"/>
                </a:moveTo>
                <a:lnTo>
                  <a:pt x="328296" y="75292"/>
                </a:lnTo>
                <a:cubicBezTo>
                  <a:pt x="325415" y="74974"/>
                  <a:pt x="322979" y="73915"/>
                  <a:pt x="320586" y="71943"/>
                </a:cubicBezTo>
                <a:cubicBezTo>
                  <a:pt x="291910" y="48358"/>
                  <a:pt x="247893" y="68617"/>
                  <a:pt x="247893" y="106320"/>
                </a:cubicBezTo>
                <a:cubicBezTo>
                  <a:pt x="247893" y="143916"/>
                  <a:pt x="291802" y="164318"/>
                  <a:pt x="320586" y="140686"/>
                </a:cubicBezTo>
                <a:cubicBezTo>
                  <a:pt x="322979" y="138724"/>
                  <a:pt x="325415" y="137645"/>
                  <a:pt x="328296" y="137337"/>
                </a:cubicBezTo>
                <a:lnTo>
                  <a:pt x="328296" y="218399"/>
                </a:lnTo>
                <a:lnTo>
                  <a:pt x="244222" y="218399"/>
                </a:lnTo>
                <a:cubicBezTo>
                  <a:pt x="233309" y="218399"/>
                  <a:pt x="224433" y="227266"/>
                  <a:pt x="224433" y="238187"/>
                </a:cubicBezTo>
                <a:cubicBezTo>
                  <a:pt x="224433" y="261885"/>
                  <a:pt x="237981" y="261408"/>
                  <a:pt x="237981" y="277043"/>
                </a:cubicBezTo>
                <a:cubicBezTo>
                  <a:pt x="237981" y="289033"/>
                  <a:pt x="228217" y="298793"/>
                  <a:pt x="216221" y="298793"/>
                </a:cubicBezTo>
                <a:cubicBezTo>
                  <a:pt x="197828" y="298793"/>
                  <a:pt x="187827" y="277303"/>
                  <a:pt x="199397" y="263235"/>
                </a:cubicBezTo>
                <a:cubicBezTo>
                  <a:pt x="205588" y="255708"/>
                  <a:pt x="208006" y="247822"/>
                  <a:pt x="208006" y="238187"/>
                </a:cubicBezTo>
                <a:cubicBezTo>
                  <a:pt x="208006" y="227266"/>
                  <a:pt x="199133" y="218399"/>
                  <a:pt x="188220" y="218399"/>
                </a:cubicBezTo>
                <a:lnTo>
                  <a:pt x="133925" y="218399"/>
                </a:lnTo>
                <a:cubicBezTo>
                  <a:pt x="139628" y="113799"/>
                  <a:pt x="223706" y="29737"/>
                  <a:pt x="328296" y="24035"/>
                </a:cubicBezTo>
                <a:lnTo>
                  <a:pt x="328296" y="24035"/>
                </a:lnTo>
                <a:close/>
                <a:moveTo>
                  <a:pt x="351012" y="78313"/>
                </a:moveTo>
                <a:cubicBezTo>
                  <a:pt x="351012" y="89234"/>
                  <a:pt x="342130" y="98111"/>
                  <a:pt x="331222" y="98111"/>
                </a:cubicBezTo>
                <a:cubicBezTo>
                  <a:pt x="321600" y="98111"/>
                  <a:pt x="313688" y="95683"/>
                  <a:pt x="306167" y="89501"/>
                </a:cubicBezTo>
                <a:cubicBezTo>
                  <a:pt x="292064" y="77908"/>
                  <a:pt x="270609" y="87947"/>
                  <a:pt x="270609" y="106320"/>
                </a:cubicBezTo>
                <a:cubicBezTo>
                  <a:pt x="270609" y="118309"/>
                  <a:pt x="280366" y="128080"/>
                  <a:pt x="292366" y="128080"/>
                </a:cubicBezTo>
                <a:cubicBezTo>
                  <a:pt x="308030" y="128080"/>
                  <a:pt x="307482" y="114529"/>
                  <a:pt x="331222" y="114529"/>
                </a:cubicBezTo>
                <a:cubicBezTo>
                  <a:pt x="342130" y="114529"/>
                  <a:pt x="351012" y="123405"/>
                  <a:pt x="351012" y="134316"/>
                </a:cubicBezTo>
                <a:lnTo>
                  <a:pt x="351012" y="218399"/>
                </a:lnTo>
                <a:lnTo>
                  <a:pt x="432060" y="218399"/>
                </a:lnTo>
                <a:cubicBezTo>
                  <a:pt x="431747" y="215502"/>
                  <a:pt x="430680" y="213077"/>
                  <a:pt x="428716" y="210683"/>
                </a:cubicBezTo>
                <a:cubicBezTo>
                  <a:pt x="405067" y="181868"/>
                  <a:pt x="425510" y="137984"/>
                  <a:pt x="463087" y="137984"/>
                </a:cubicBezTo>
                <a:cubicBezTo>
                  <a:pt x="500699" y="137984"/>
                  <a:pt x="521085" y="181918"/>
                  <a:pt x="497457" y="210683"/>
                </a:cubicBezTo>
                <a:cubicBezTo>
                  <a:pt x="495490" y="213077"/>
                  <a:pt x="494423" y="215502"/>
                  <a:pt x="494110" y="218399"/>
                </a:cubicBezTo>
                <a:lnTo>
                  <a:pt x="545371" y="218399"/>
                </a:lnTo>
                <a:cubicBezTo>
                  <a:pt x="539660" y="113799"/>
                  <a:pt x="455601" y="29727"/>
                  <a:pt x="351012" y="24014"/>
                </a:cubicBezTo>
                <a:lnTo>
                  <a:pt x="351012" y="78313"/>
                </a:lnTo>
                <a:lnTo>
                  <a:pt x="351012" y="78313"/>
                </a:lnTo>
                <a:close/>
                <a:moveTo>
                  <a:pt x="351012" y="435469"/>
                </a:moveTo>
                <a:lnTo>
                  <a:pt x="351012" y="384201"/>
                </a:lnTo>
                <a:cubicBezTo>
                  <a:pt x="353893" y="384530"/>
                  <a:pt x="356329" y="385578"/>
                  <a:pt x="358717" y="387540"/>
                </a:cubicBezTo>
                <a:cubicBezTo>
                  <a:pt x="387465" y="411179"/>
                  <a:pt x="431413" y="390804"/>
                  <a:pt x="431413" y="353184"/>
                </a:cubicBezTo>
                <a:cubicBezTo>
                  <a:pt x="431413" y="315571"/>
                  <a:pt x="387482" y="295170"/>
                  <a:pt x="358717" y="318817"/>
                </a:cubicBezTo>
                <a:cubicBezTo>
                  <a:pt x="356329" y="320780"/>
                  <a:pt x="353893" y="321838"/>
                  <a:pt x="351012" y="322167"/>
                </a:cubicBezTo>
                <a:lnTo>
                  <a:pt x="351012" y="241105"/>
                </a:lnTo>
                <a:lnTo>
                  <a:pt x="435086" y="241105"/>
                </a:lnTo>
                <a:cubicBezTo>
                  <a:pt x="445998" y="241105"/>
                  <a:pt x="454875" y="232228"/>
                  <a:pt x="454875" y="221317"/>
                </a:cubicBezTo>
                <a:cubicBezTo>
                  <a:pt x="454875" y="197597"/>
                  <a:pt x="441327" y="198106"/>
                  <a:pt x="441327" y="182460"/>
                </a:cubicBezTo>
                <a:cubicBezTo>
                  <a:pt x="441327" y="170471"/>
                  <a:pt x="451087" y="160700"/>
                  <a:pt x="463087" y="160700"/>
                </a:cubicBezTo>
                <a:cubicBezTo>
                  <a:pt x="481462" y="160700"/>
                  <a:pt x="491488" y="182183"/>
                  <a:pt x="479911" y="196269"/>
                </a:cubicBezTo>
                <a:cubicBezTo>
                  <a:pt x="473708" y="203815"/>
                  <a:pt x="471298" y="211662"/>
                  <a:pt x="471298" y="221317"/>
                </a:cubicBezTo>
                <a:cubicBezTo>
                  <a:pt x="471298" y="232228"/>
                  <a:pt x="480175" y="241105"/>
                  <a:pt x="491088" y="241105"/>
                </a:cubicBezTo>
                <a:lnTo>
                  <a:pt x="545383" y="241105"/>
                </a:lnTo>
                <a:cubicBezTo>
                  <a:pt x="539680" y="345704"/>
                  <a:pt x="455601" y="429757"/>
                  <a:pt x="351012" y="435469"/>
                </a:cubicBezTo>
                <a:lnTo>
                  <a:pt x="351012" y="435469"/>
                </a:lnTo>
                <a:close/>
                <a:moveTo>
                  <a:pt x="328296" y="381181"/>
                </a:moveTo>
                <a:cubicBezTo>
                  <a:pt x="328296" y="370270"/>
                  <a:pt x="337174" y="361393"/>
                  <a:pt x="348086" y="361393"/>
                </a:cubicBezTo>
                <a:cubicBezTo>
                  <a:pt x="357713" y="361393"/>
                  <a:pt x="365614" y="363810"/>
                  <a:pt x="373141" y="370003"/>
                </a:cubicBezTo>
                <a:cubicBezTo>
                  <a:pt x="387201" y="381569"/>
                  <a:pt x="408699" y="371564"/>
                  <a:pt x="408699" y="353184"/>
                </a:cubicBezTo>
                <a:cubicBezTo>
                  <a:pt x="408699" y="341173"/>
                  <a:pt x="398938" y="331424"/>
                  <a:pt x="386942" y="331424"/>
                </a:cubicBezTo>
                <a:cubicBezTo>
                  <a:pt x="371303" y="331424"/>
                  <a:pt x="371775" y="344975"/>
                  <a:pt x="348086" y="344975"/>
                </a:cubicBezTo>
                <a:cubicBezTo>
                  <a:pt x="337174" y="344975"/>
                  <a:pt x="328296" y="336098"/>
                  <a:pt x="328296" y="325177"/>
                </a:cubicBezTo>
                <a:lnTo>
                  <a:pt x="328296" y="241105"/>
                </a:lnTo>
                <a:lnTo>
                  <a:pt x="247244" y="241105"/>
                </a:lnTo>
                <a:cubicBezTo>
                  <a:pt x="247557" y="243992"/>
                  <a:pt x="248624" y="246427"/>
                  <a:pt x="250591" y="248810"/>
                </a:cubicBezTo>
                <a:cubicBezTo>
                  <a:pt x="274180" y="277470"/>
                  <a:pt x="253925" y="321509"/>
                  <a:pt x="216221" y="321509"/>
                </a:cubicBezTo>
                <a:cubicBezTo>
                  <a:pt x="178513" y="321509"/>
                  <a:pt x="158256" y="277468"/>
                  <a:pt x="181851" y="248810"/>
                </a:cubicBezTo>
                <a:cubicBezTo>
                  <a:pt x="183817" y="246427"/>
                  <a:pt x="184881" y="243992"/>
                  <a:pt x="185194" y="241105"/>
                </a:cubicBezTo>
                <a:lnTo>
                  <a:pt x="133933" y="241105"/>
                </a:lnTo>
                <a:cubicBezTo>
                  <a:pt x="139643" y="345704"/>
                  <a:pt x="223702" y="429777"/>
                  <a:pt x="328296" y="435489"/>
                </a:cubicBezTo>
                <a:lnTo>
                  <a:pt x="328296" y="381181"/>
                </a:lnTo>
                <a:lnTo>
                  <a:pt x="328296" y="381181"/>
                </a:lnTo>
                <a:close/>
                <a:moveTo>
                  <a:pt x="339654" y="458503"/>
                </a:moveTo>
                <a:cubicBezTo>
                  <a:pt x="465788" y="458503"/>
                  <a:pt x="568403" y="355876"/>
                  <a:pt x="568403" y="229752"/>
                </a:cubicBezTo>
                <a:cubicBezTo>
                  <a:pt x="568403" y="103607"/>
                  <a:pt x="465788" y="991"/>
                  <a:pt x="339654" y="991"/>
                </a:cubicBezTo>
                <a:cubicBezTo>
                  <a:pt x="213520" y="991"/>
                  <a:pt x="110901" y="103607"/>
                  <a:pt x="110901" y="229752"/>
                </a:cubicBezTo>
                <a:cubicBezTo>
                  <a:pt x="110901" y="355876"/>
                  <a:pt x="213520" y="458503"/>
                  <a:pt x="339654" y="458503"/>
                </a:cubicBezTo>
                <a:lnTo>
                  <a:pt x="339654" y="458503"/>
                </a:lnTo>
                <a:close/>
                <a:moveTo>
                  <a:pt x="652482" y="761977"/>
                </a:moveTo>
                <a:cubicBezTo>
                  <a:pt x="649505" y="764179"/>
                  <a:pt x="647512" y="765622"/>
                  <a:pt x="643308" y="764885"/>
                </a:cubicBezTo>
                <a:cubicBezTo>
                  <a:pt x="640382" y="764371"/>
                  <a:pt x="638335" y="763046"/>
                  <a:pt x="636678" y="760580"/>
                </a:cubicBezTo>
                <a:cubicBezTo>
                  <a:pt x="618573" y="733580"/>
                  <a:pt x="594542" y="712508"/>
                  <a:pt x="563211" y="696151"/>
                </a:cubicBezTo>
                <a:cubicBezTo>
                  <a:pt x="555705" y="692238"/>
                  <a:pt x="546644" y="697647"/>
                  <a:pt x="546600" y="706169"/>
                </a:cubicBezTo>
                <a:lnTo>
                  <a:pt x="546218" y="776772"/>
                </a:lnTo>
                <a:cubicBezTo>
                  <a:pt x="546218" y="777820"/>
                  <a:pt x="545290" y="778755"/>
                  <a:pt x="544240" y="778755"/>
                </a:cubicBezTo>
                <a:lnTo>
                  <a:pt x="458740" y="778755"/>
                </a:lnTo>
                <a:cubicBezTo>
                  <a:pt x="457685" y="778755"/>
                  <a:pt x="456761" y="777820"/>
                  <a:pt x="456761" y="776772"/>
                </a:cubicBezTo>
                <a:lnTo>
                  <a:pt x="456761" y="664240"/>
                </a:lnTo>
                <a:cubicBezTo>
                  <a:pt x="456761" y="659443"/>
                  <a:pt x="453740" y="655158"/>
                  <a:pt x="449221" y="653556"/>
                </a:cubicBezTo>
                <a:cubicBezTo>
                  <a:pt x="407149" y="638524"/>
                  <a:pt x="375501" y="612767"/>
                  <a:pt x="352473" y="574795"/>
                </a:cubicBezTo>
                <a:cubicBezTo>
                  <a:pt x="349679" y="570192"/>
                  <a:pt x="350995" y="564223"/>
                  <a:pt x="355467" y="561223"/>
                </a:cubicBezTo>
                <a:cubicBezTo>
                  <a:pt x="358635" y="559086"/>
                  <a:pt x="360636" y="557825"/>
                  <a:pt x="364749" y="558726"/>
                </a:cubicBezTo>
                <a:cubicBezTo>
                  <a:pt x="367655" y="559353"/>
                  <a:pt x="369640" y="560760"/>
                  <a:pt x="371190" y="563309"/>
                </a:cubicBezTo>
                <a:cubicBezTo>
                  <a:pt x="413783" y="633120"/>
                  <a:pt x="488760" y="654747"/>
                  <a:pt x="554935" y="673816"/>
                </a:cubicBezTo>
                <a:cubicBezTo>
                  <a:pt x="597568" y="687018"/>
                  <a:pt x="630260" y="711367"/>
                  <a:pt x="654882" y="748303"/>
                </a:cubicBezTo>
                <a:cubicBezTo>
                  <a:pt x="657872" y="752772"/>
                  <a:pt x="656816" y="758782"/>
                  <a:pt x="652482" y="761977"/>
                </a:cubicBezTo>
                <a:lnTo>
                  <a:pt x="652482" y="761977"/>
                </a:lnTo>
                <a:close/>
                <a:moveTo>
                  <a:pt x="326832" y="574795"/>
                </a:moveTo>
                <a:cubicBezTo>
                  <a:pt x="303803" y="612767"/>
                  <a:pt x="272159" y="638524"/>
                  <a:pt x="230084" y="653556"/>
                </a:cubicBezTo>
                <a:cubicBezTo>
                  <a:pt x="225564" y="655158"/>
                  <a:pt x="222547" y="659443"/>
                  <a:pt x="222547" y="664240"/>
                </a:cubicBezTo>
                <a:lnTo>
                  <a:pt x="222547" y="776772"/>
                </a:lnTo>
                <a:cubicBezTo>
                  <a:pt x="222547" y="777820"/>
                  <a:pt x="221619" y="778755"/>
                  <a:pt x="220564" y="778755"/>
                </a:cubicBezTo>
                <a:lnTo>
                  <a:pt x="135068" y="778755"/>
                </a:lnTo>
                <a:cubicBezTo>
                  <a:pt x="134013" y="778755"/>
                  <a:pt x="133086" y="777820"/>
                  <a:pt x="133086" y="776710"/>
                </a:cubicBezTo>
                <a:lnTo>
                  <a:pt x="132708" y="706169"/>
                </a:lnTo>
                <a:cubicBezTo>
                  <a:pt x="132660" y="697683"/>
                  <a:pt x="123652" y="692223"/>
                  <a:pt x="116097" y="696151"/>
                </a:cubicBezTo>
                <a:cubicBezTo>
                  <a:pt x="84766" y="712508"/>
                  <a:pt x="60735" y="733580"/>
                  <a:pt x="42630" y="760580"/>
                </a:cubicBezTo>
                <a:cubicBezTo>
                  <a:pt x="39391" y="765404"/>
                  <a:pt x="32974" y="766521"/>
                  <a:pt x="28299" y="763066"/>
                </a:cubicBezTo>
                <a:lnTo>
                  <a:pt x="26826" y="761977"/>
                </a:lnTo>
                <a:cubicBezTo>
                  <a:pt x="22492" y="758782"/>
                  <a:pt x="21436" y="752772"/>
                  <a:pt x="24422" y="748303"/>
                </a:cubicBezTo>
                <a:cubicBezTo>
                  <a:pt x="49044" y="711367"/>
                  <a:pt x="81736" y="687018"/>
                  <a:pt x="124369" y="673816"/>
                </a:cubicBezTo>
                <a:cubicBezTo>
                  <a:pt x="190548" y="654747"/>
                  <a:pt x="265525" y="633120"/>
                  <a:pt x="308114" y="563309"/>
                </a:cubicBezTo>
                <a:cubicBezTo>
                  <a:pt x="311133" y="558356"/>
                  <a:pt x="317513" y="556958"/>
                  <a:pt x="322321" y="560195"/>
                </a:cubicBezTo>
                <a:lnTo>
                  <a:pt x="323841" y="561223"/>
                </a:lnTo>
                <a:cubicBezTo>
                  <a:pt x="328313" y="564223"/>
                  <a:pt x="329625" y="570192"/>
                  <a:pt x="326832" y="574795"/>
                </a:cubicBezTo>
                <a:lnTo>
                  <a:pt x="326832" y="574795"/>
                </a:lnTo>
                <a:close/>
                <a:moveTo>
                  <a:pt x="673776" y="735696"/>
                </a:moveTo>
                <a:cubicBezTo>
                  <a:pt x="646510" y="694806"/>
                  <a:pt x="608749" y="666675"/>
                  <a:pt x="561541" y="652076"/>
                </a:cubicBezTo>
                <a:cubicBezTo>
                  <a:pt x="561472" y="652055"/>
                  <a:pt x="561400" y="652045"/>
                  <a:pt x="561328" y="652015"/>
                </a:cubicBezTo>
                <a:cubicBezTo>
                  <a:pt x="496072" y="633223"/>
                  <a:pt x="428588" y="613785"/>
                  <a:pt x="390582" y="551483"/>
                </a:cubicBezTo>
                <a:cubicBezTo>
                  <a:pt x="380812" y="535476"/>
                  <a:pt x="359866" y="530897"/>
                  <a:pt x="344301" y="541363"/>
                </a:cubicBezTo>
                <a:lnTo>
                  <a:pt x="339654" y="544805"/>
                </a:lnTo>
                <a:cubicBezTo>
                  <a:pt x="331309" y="537540"/>
                  <a:pt x="320832" y="534096"/>
                  <a:pt x="309699" y="536524"/>
                </a:cubicBezTo>
                <a:cubicBezTo>
                  <a:pt x="300754" y="538486"/>
                  <a:pt x="293497" y="543664"/>
                  <a:pt x="288726" y="551483"/>
                </a:cubicBezTo>
                <a:cubicBezTo>
                  <a:pt x="250716" y="613785"/>
                  <a:pt x="183236" y="633223"/>
                  <a:pt x="117975" y="652015"/>
                </a:cubicBezTo>
                <a:cubicBezTo>
                  <a:pt x="117904" y="652045"/>
                  <a:pt x="117836" y="652055"/>
                  <a:pt x="117767" y="652076"/>
                </a:cubicBezTo>
                <a:cubicBezTo>
                  <a:pt x="70559" y="666675"/>
                  <a:pt x="32798" y="694806"/>
                  <a:pt x="5527" y="735696"/>
                </a:cubicBezTo>
                <a:cubicBezTo>
                  <a:pt x="-4205" y="750275"/>
                  <a:pt x="-770" y="769858"/>
                  <a:pt x="13349" y="780255"/>
                </a:cubicBezTo>
                <a:cubicBezTo>
                  <a:pt x="21560" y="786314"/>
                  <a:pt x="29474" y="789060"/>
                  <a:pt x="39893" y="787251"/>
                </a:cubicBezTo>
                <a:cubicBezTo>
                  <a:pt x="48920" y="785690"/>
                  <a:pt x="56388" y="780840"/>
                  <a:pt x="61493" y="773217"/>
                </a:cubicBezTo>
                <a:cubicBezTo>
                  <a:pt x="74123" y="754395"/>
                  <a:pt x="90124" y="738789"/>
                  <a:pt x="110098" y="725874"/>
                </a:cubicBezTo>
                <a:lnTo>
                  <a:pt x="110375" y="776772"/>
                </a:lnTo>
                <a:cubicBezTo>
                  <a:pt x="110375" y="790385"/>
                  <a:pt x="121451" y="801460"/>
                  <a:pt x="135068" y="801460"/>
                </a:cubicBezTo>
                <a:lnTo>
                  <a:pt x="220564" y="801460"/>
                </a:lnTo>
                <a:cubicBezTo>
                  <a:pt x="234181" y="801460"/>
                  <a:pt x="245257" y="790385"/>
                  <a:pt x="245257" y="776772"/>
                </a:cubicBezTo>
                <a:lnTo>
                  <a:pt x="245257" y="672090"/>
                </a:lnTo>
                <a:cubicBezTo>
                  <a:pt x="284443" y="656535"/>
                  <a:pt x="316104" y="631230"/>
                  <a:pt x="339654" y="596750"/>
                </a:cubicBezTo>
                <a:cubicBezTo>
                  <a:pt x="363204" y="631230"/>
                  <a:pt x="394865" y="656535"/>
                  <a:pt x="434047" y="672090"/>
                </a:cubicBezTo>
                <a:lnTo>
                  <a:pt x="434047" y="776772"/>
                </a:lnTo>
                <a:cubicBezTo>
                  <a:pt x="434047" y="790385"/>
                  <a:pt x="445123" y="801460"/>
                  <a:pt x="458740" y="801460"/>
                </a:cubicBezTo>
                <a:lnTo>
                  <a:pt x="544240" y="801460"/>
                </a:lnTo>
                <a:cubicBezTo>
                  <a:pt x="557853" y="801460"/>
                  <a:pt x="568933" y="790385"/>
                  <a:pt x="568933" y="776823"/>
                </a:cubicBezTo>
                <a:lnTo>
                  <a:pt x="569207" y="725874"/>
                </a:lnTo>
                <a:cubicBezTo>
                  <a:pt x="589180" y="738789"/>
                  <a:pt x="605185" y="754395"/>
                  <a:pt x="617815" y="773217"/>
                </a:cubicBezTo>
                <a:cubicBezTo>
                  <a:pt x="628250" y="788782"/>
                  <a:pt x="649407" y="792471"/>
                  <a:pt x="664486" y="781344"/>
                </a:cubicBezTo>
                <a:lnTo>
                  <a:pt x="665959" y="780255"/>
                </a:lnTo>
                <a:cubicBezTo>
                  <a:pt x="680074" y="769858"/>
                  <a:pt x="683509" y="750275"/>
                  <a:pt x="673776" y="735696"/>
                </a:cubicBezTo>
                <a:lnTo>
                  <a:pt x="673776" y="735696"/>
                </a:lnTo>
                <a:close/>
                <a:moveTo>
                  <a:pt x="567436" y="560154"/>
                </a:moveTo>
                <a:cubicBezTo>
                  <a:pt x="567436" y="540048"/>
                  <a:pt x="551086" y="523692"/>
                  <a:pt x="530987" y="523692"/>
                </a:cubicBezTo>
                <a:cubicBezTo>
                  <a:pt x="510885" y="523692"/>
                  <a:pt x="494535" y="540048"/>
                  <a:pt x="494535" y="560154"/>
                </a:cubicBezTo>
                <a:cubicBezTo>
                  <a:pt x="494535" y="580250"/>
                  <a:pt x="510885" y="596606"/>
                  <a:pt x="530987" y="596606"/>
                </a:cubicBezTo>
                <a:cubicBezTo>
                  <a:pt x="551086" y="596606"/>
                  <a:pt x="567436" y="580250"/>
                  <a:pt x="567436" y="560154"/>
                </a:cubicBezTo>
                <a:lnTo>
                  <a:pt x="567436" y="560154"/>
                </a:lnTo>
                <a:close/>
                <a:moveTo>
                  <a:pt x="471820" y="560154"/>
                </a:moveTo>
                <a:cubicBezTo>
                  <a:pt x="471820" y="592774"/>
                  <a:pt x="498364" y="619322"/>
                  <a:pt x="530987" y="619322"/>
                </a:cubicBezTo>
                <a:cubicBezTo>
                  <a:pt x="563611" y="619322"/>
                  <a:pt x="590151" y="592774"/>
                  <a:pt x="590151" y="560154"/>
                </a:cubicBezTo>
                <a:cubicBezTo>
                  <a:pt x="590151" y="527524"/>
                  <a:pt x="563611" y="500986"/>
                  <a:pt x="530987" y="500986"/>
                </a:cubicBezTo>
                <a:cubicBezTo>
                  <a:pt x="498364" y="500986"/>
                  <a:pt x="471820" y="527524"/>
                  <a:pt x="471820" y="560154"/>
                </a:cubicBezTo>
                <a:lnTo>
                  <a:pt x="471820" y="560154"/>
                </a:lnTo>
                <a:close/>
                <a:moveTo>
                  <a:pt x="184773" y="560154"/>
                </a:moveTo>
                <a:cubicBezTo>
                  <a:pt x="184773" y="540048"/>
                  <a:pt x="168419" y="523692"/>
                  <a:pt x="148321" y="523692"/>
                </a:cubicBezTo>
                <a:cubicBezTo>
                  <a:pt x="128222" y="523692"/>
                  <a:pt x="111868" y="540048"/>
                  <a:pt x="111868" y="560154"/>
                </a:cubicBezTo>
                <a:cubicBezTo>
                  <a:pt x="111868" y="580250"/>
                  <a:pt x="128222" y="596606"/>
                  <a:pt x="148321" y="596606"/>
                </a:cubicBezTo>
                <a:cubicBezTo>
                  <a:pt x="168419" y="596606"/>
                  <a:pt x="184773" y="580250"/>
                  <a:pt x="184773" y="560154"/>
                </a:cubicBezTo>
                <a:lnTo>
                  <a:pt x="184773" y="560154"/>
                </a:lnTo>
                <a:close/>
                <a:moveTo>
                  <a:pt x="89157" y="560154"/>
                </a:moveTo>
                <a:cubicBezTo>
                  <a:pt x="89157" y="592774"/>
                  <a:pt x="115697" y="619322"/>
                  <a:pt x="148321" y="619322"/>
                </a:cubicBezTo>
                <a:cubicBezTo>
                  <a:pt x="180944" y="619322"/>
                  <a:pt x="207484" y="592774"/>
                  <a:pt x="207484" y="560154"/>
                </a:cubicBezTo>
                <a:cubicBezTo>
                  <a:pt x="207484" y="527524"/>
                  <a:pt x="180944" y="500986"/>
                  <a:pt x="148321" y="500986"/>
                </a:cubicBezTo>
                <a:cubicBezTo>
                  <a:pt x="115697" y="500986"/>
                  <a:pt x="89157" y="527524"/>
                  <a:pt x="89157" y="560154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FA169F41-64CA-C2E4-12E1-EC595987A8CD}"/>
              </a:ext>
            </a:extLst>
          </p:cNvPr>
          <p:cNvSpPr/>
          <p:nvPr/>
        </p:nvSpPr>
        <p:spPr>
          <a:xfrm>
            <a:off x="656295" y="2737230"/>
            <a:ext cx="244466" cy="226918"/>
          </a:xfrm>
          <a:custGeom>
            <a:avLst/>
            <a:gdLst>
              <a:gd name="connsiteX0" fmla="*/ 855430 w 905617"/>
              <a:gd name="connsiteY0" fmla="*/ 365966 h 840617"/>
              <a:gd name="connsiteX1" fmla="*/ 805908 w 905617"/>
              <a:gd name="connsiteY1" fmla="*/ 409201 h 840617"/>
              <a:gd name="connsiteX2" fmla="*/ 640258 w 905617"/>
              <a:gd name="connsiteY2" fmla="*/ 409201 h 840617"/>
              <a:gd name="connsiteX3" fmla="*/ 605693 w 905617"/>
              <a:gd name="connsiteY3" fmla="*/ 301482 h 840617"/>
              <a:gd name="connsiteX4" fmla="*/ 642825 w 905617"/>
              <a:gd name="connsiteY4" fmla="*/ 301482 h 840617"/>
              <a:gd name="connsiteX5" fmla="*/ 651122 w 905617"/>
              <a:gd name="connsiteY5" fmla="*/ 297687 h 840617"/>
              <a:gd name="connsiteX6" fmla="*/ 711323 w 905617"/>
              <a:gd name="connsiteY6" fmla="*/ 229003 h 840617"/>
              <a:gd name="connsiteX7" fmla="*/ 741237 w 905617"/>
              <a:gd name="connsiteY7" fmla="*/ 229003 h 840617"/>
              <a:gd name="connsiteX8" fmla="*/ 790202 w 905617"/>
              <a:gd name="connsiteY8" fmla="*/ 268146 h 840617"/>
              <a:gd name="connsiteX9" fmla="*/ 840394 w 905617"/>
              <a:gd name="connsiteY9" fmla="*/ 217954 h 840617"/>
              <a:gd name="connsiteX10" fmla="*/ 790202 w 905617"/>
              <a:gd name="connsiteY10" fmla="*/ 167762 h 840617"/>
              <a:gd name="connsiteX11" fmla="*/ 741237 w 905617"/>
              <a:gd name="connsiteY11" fmla="*/ 206904 h 840617"/>
              <a:gd name="connsiteX12" fmla="*/ 706263 w 905617"/>
              <a:gd name="connsiteY12" fmla="*/ 206904 h 840617"/>
              <a:gd name="connsiteX13" fmla="*/ 697965 w 905617"/>
              <a:gd name="connsiteY13" fmla="*/ 210699 h 840617"/>
              <a:gd name="connsiteX14" fmla="*/ 637765 w 905617"/>
              <a:gd name="connsiteY14" fmla="*/ 279383 h 840617"/>
              <a:gd name="connsiteX15" fmla="*/ 589470 w 905617"/>
              <a:gd name="connsiteY15" fmla="*/ 279383 h 840617"/>
              <a:gd name="connsiteX16" fmla="*/ 431155 w 905617"/>
              <a:gd name="connsiteY16" fmla="*/ 200132 h 840617"/>
              <a:gd name="connsiteX17" fmla="*/ 431155 w 905617"/>
              <a:gd name="connsiteY17" fmla="*/ 166310 h 840617"/>
              <a:gd name="connsiteX18" fmla="*/ 483245 w 905617"/>
              <a:gd name="connsiteY18" fmla="*/ 166310 h 840617"/>
              <a:gd name="connsiteX19" fmla="*/ 491542 w 905617"/>
              <a:gd name="connsiteY19" fmla="*/ 162515 h 840617"/>
              <a:gd name="connsiteX20" fmla="*/ 551743 w 905617"/>
              <a:gd name="connsiteY20" fmla="*/ 93831 h 840617"/>
              <a:gd name="connsiteX21" fmla="*/ 605210 w 905617"/>
              <a:gd name="connsiteY21" fmla="*/ 93831 h 840617"/>
              <a:gd name="connsiteX22" fmla="*/ 654174 w 905617"/>
              <a:gd name="connsiteY22" fmla="*/ 132973 h 840617"/>
              <a:gd name="connsiteX23" fmla="*/ 704366 w 905617"/>
              <a:gd name="connsiteY23" fmla="*/ 82781 h 840617"/>
              <a:gd name="connsiteX24" fmla="*/ 654174 w 905617"/>
              <a:gd name="connsiteY24" fmla="*/ 32589 h 840617"/>
              <a:gd name="connsiteX25" fmla="*/ 605210 w 905617"/>
              <a:gd name="connsiteY25" fmla="*/ 71731 h 840617"/>
              <a:gd name="connsiteX26" fmla="*/ 546832 w 905617"/>
              <a:gd name="connsiteY26" fmla="*/ 71731 h 840617"/>
              <a:gd name="connsiteX27" fmla="*/ 538535 w 905617"/>
              <a:gd name="connsiteY27" fmla="*/ 75527 h 840617"/>
              <a:gd name="connsiteX28" fmla="*/ 478334 w 905617"/>
              <a:gd name="connsiteY28" fmla="*/ 144210 h 840617"/>
              <a:gd name="connsiteX29" fmla="*/ 431267 w 905617"/>
              <a:gd name="connsiteY29" fmla="*/ 144210 h 840617"/>
              <a:gd name="connsiteX30" fmla="*/ 431267 w 905617"/>
              <a:gd name="connsiteY30" fmla="*/ 11051 h 840617"/>
              <a:gd name="connsiteX31" fmla="*/ 420217 w 905617"/>
              <a:gd name="connsiteY31" fmla="*/ 0 h 840617"/>
              <a:gd name="connsiteX32" fmla="*/ 377651 w 905617"/>
              <a:gd name="connsiteY32" fmla="*/ 0 h 840617"/>
              <a:gd name="connsiteX33" fmla="*/ 344017 w 905617"/>
              <a:gd name="connsiteY33" fmla="*/ 28091 h 840617"/>
              <a:gd name="connsiteX34" fmla="*/ 335161 w 905617"/>
              <a:gd name="connsiteY34" fmla="*/ 76758 h 840617"/>
              <a:gd name="connsiteX35" fmla="*/ 326492 w 905617"/>
              <a:gd name="connsiteY35" fmla="*/ 86283 h 840617"/>
              <a:gd name="connsiteX36" fmla="*/ 250292 w 905617"/>
              <a:gd name="connsiteY36" fmla="*/ 117909 h 840617"/>
              <a:gd name="connsiteX37" fmla="*/ 237418 w 905617"/>
              <a:gd name="connsiteY37" fmla="*/ 117351 h 840617"/>
              <a:gd name="connsiteX38" fmla="*/ 196751 w 905617"/>
              <a:gd name="connsiteY38" fmla="*/ 89148 h 840617"/>
              <a:gd name="connsiteX39" fmla="*/ 153145 w 905617"/>
              <a:gd name="connsiteY39" fmla="*/ 93055 h 840617"/>
              <a:gd name="connsiteX40" fmla="*/ 92944 w 905617"/>
              <a:gd name="connsiteY40" fmla="*/ 153256 h 840617"/>
              <a:gd name="connsiteX41" fmla="*/ 89037 w 905617"/>
              <a:gd name="connsiteY41" fmla="*/ 196862 h 840617"/>
              <a:gd name="connsiteX42" fmla="*/ 117239 w 905617"/>
              <a:gd name="connsiteY42" fmla="*/ 237529 h 840617"/>
              <a:gd name="connsiteX43" fmla="*/ 117798 w 905617"/>
              <a:gd name="connsiteY43" fmla="*/ 250403 h 840617"/>
              <a:gd name="connsiteX44" fmla="*/ 86172 w 905617"/>
              <a:gd name="connsiteY44" fmla="*/ 326603 h 840617"/>
              <a:gd name="connsiteX45" fmla="*/ 76647 w 905617"/>
              <a:gd name="connsiteY45" fmla="*/ 335273 h 840617"/>
              <a:gd name="connsiteX46" fmla="*/ 28091 w 905617"/>
              <a:gd name="connsiteY46" fmla="*/ 344054 h 840617"/>
              <a:gd name="connsiteX47" fmla="*/ 0 w 905617"/>
              <a:gd name="connsiteY47" fmla="*/ 377688 h 840617"/>
              <a:gd name="connsiteX48" fmla="*/ 0 w 905617"/>
              <a:gd name="connsiteY48" fmla="*/ 462855 h 840617"/>
              <a:gd name="connsiteX49" fmla="*/ 28091 w 905617"/>
              <a:gd name="connsiteY49" fmla="*/ 496490 h 840617"/>
              <a:gd name="connsiteX50" fmla="*/ 76758 w 905617"/>
              <a:gd name="connsiteY50" fmla="*/ 505345 h 840617"/>
              <a:gd name="connsiteX51" fmla="*/ 86283 w 905617"/>
              <a:gd name="connsiteY51" fmla="*/ 514014 h 840617"/>
              <a:gd name="connsiteX52" fmla="*/ 117909 w 905617"/>
              <a:gd name="connsiteY52" fmla="*/ 590214 h 840617"/>
              <a:gd name="connsiteX53" fmla="*/ 117351 w 905617"/>
              <a:gd name="connsiteY53" fmla="*/ 603088 h 840617"/>
              <a:gd name="connsiteX54" fmla="*/ 89148 w 905617"/>
              <a:gd name="connsiteY54" fmla="*/ 643755 h 840617"/>
              <a:gd name="connsiteX55" fmla="*/ 93055 w 905617"/>
              <a:gd name="connsiteY55" fmla="*/ 687362 h 840617"/>
              <a:gd name="connsiteX56" fmla="*/ 153256 w 905617"/>
              <a:gd name="connsiteY56" fmla="*/ 747563 h 840617"/>
              <a:gd name="connsiteX57" fmla="*/ 196862 w 905617"/>
              <a:gd name="connsiteY57" fmla="*/ 751469 h 840617"/>
              <a:gd name="connsiteX58" fmla="*/ 237529 w 905617"/>
              <a:gd name="connsiteY58" fmla="*/ 723267 h 840617"/>
              <a:gd name="connsiteX59" fmla="*/ 250403 w 905617"/>
              <a:gd name="connsiteY59" fmla="*/ 722709 h 840617"/>
              <a:gd name="connsiteX60" fmla="*/ 326603 w 905617"/>
              <a:gd name="connsiteY60" fmla="*/ 754335 h 840617"/>
              <a:gd name="connsiteX61" fmla="*/ 335273 w 905617"/>
              <a:gd name="connsiteY61" fmla="*/ 763860 h 840617"/>
              <a:gd name="connsiteX62" fmla="*/ 344128 w 905617"/>
              <a:gd name="connsiteY62" fmla="*/ 812527 h 840617"/>
              <a:gd name="connsiteX63" fmla="*/ 377763 w 905617"/>
              <a:gd name="connsiteY63" fmla="*/ 840618 h 840617"/>
              <a:gd name="connsiteX64" fmla="*/ 420328 w 905617"/>
              <a:gd name="connsiteY64" fmla="*/ 840618 h 840617"/>
              <a:gd name="connsiteX65" fmla="*/ 431379 w 905617"/>
              <a:gd name="connsiteY65" fmla="*/ 829567 h 840617"/>
              <a:gd name="connsiteX66" fmla="*/ 431379 w 905617"/>
              <a:gd name="connsiteY66" fmla="*/ 696179 h 840617"/>
              <a:gd name="connsiteX67" fmla="*/ 478446 w 905617"/>
              <a:gd name="connsiteY67" fmla="*/ 696179 h 840617"/>
              <a:gd name="connsiteX68" fmla="*/ 538535 w 905617"/>
              <a:gd name="connsiteY68" fmla="*/ 764975 h 840617"/>
              <a:gd name="connsiteX69" fmla="*/ 546832 w 905617"/>
              <a:gd name="connsiteY69" fmla="*/ 768770 h 840617"/>
              <a:gd name="connsiteX70" fmla="*/ 605210 w 905617"/>
              <a:gd name="connsiteY70" fmla="*/ 768770 h 840617"/>
              <a:gd name="connsiteX71" fmla="*/ 654174 w 905617"/>
              <a:gd name="connsiteY71" fmla="*/ 807912 h 840617"/>
              <a:gd name="connsiteX72" fmla="*/ 704366 w 905617"/>
              <a:gd name="connsiteY72" fmla="*/ 757720 h 840617"/>
              <a:gd name="connsiteX73" fmla="*/ 654174 w 905617"/>
              <a:gd name="connsiteY73" fmla="*/ 707528 h 840617"/>
              <a:gd name="connsiteX74" fmla="*/ 605210 w 905617"/>
              <a:gd name="connsiteY74" fmla="*/ 746670 h 840617"/>
              <a:gd name="connsiteX75" fmla="*/ 551855 w 905617"/>
              <a:gd name="connsiteY75" fmla="*/ 746670 h 840617"/>
              <a:gd name="connsiteX76" fmla="*/ 491654 w 905617"/>
              <a:gd name="connsiteY76" fmla="*/ 677986 h 840617"/>
              <a:gd name="connsiteX77" fmla="*/ 483357 w 905617"/>
              <a:gd name="connsiteY77" fmla="*/ 674191 h 840617"/>
              <a:gd name="connsiteX78" fmla="*/ 431266 w 905617"/>
              <a:gd name="connsiteY78" fmla="*/ 674191 h 840617"/>
              <a:gd name="connsiteX79" fmla="*/ 431266 w 905617"/>
              <a:gd name="connsiteY79" fmla="*/ 640370 h 840617"/>
              <a:gd name="connsiteX80" fmla="*/ 589581 w 905617"/>
              <a:gd name="connsiteY80" fmla="*/ 561119 h 840617"/>
              <a:gd name="connsiteX81" fmla="*/ 637876 w 905617"/>
              <a:gd name="connsiteY81" fmla="*/ 561119 h 840617"/>
              <a:gd name="connsiteX82" fmla="*/ 698077 w 905617"/>
              <a:gd name="connsiteY82" fmla="*/ 629803 h 840617"/>
              <a:gd name="connsiteX83" fmla="*/ 706374 w 905617"/>
              <a:gd name="connsiteY83" fmla="*/ 633598 h 840617"/>
              <a:gd name="connsiteX84" fmla="*/ 741349 w 905617"/>
              <a:gd name="connsiteY84" fmla="*/ 633598 h 840617"/>
              <a:gd name="connsiteX85" fmla="*/ 790313 w 905617"/>
              <a:gd name="connsiteY85" fmla="*/ 672740 h 840617"/>
              <a:gd name="connsiteX86" fmla="*/ 840505 w 905617"/>
              <a:gd name="connsiteY86" fmla="*/ 622548 h 840617"/>
              <a:gd name="connsiteX87" fmla="*/ 790313 w 905617"/>
              <a:gd name="connsiteY87" fmla="*/ 572356 h 840617"/>
              <a:gd name="connsiteX88" fmla="*/ 741349 w 905617"/>
              <a:gd name="connsiteY88" fmla="*/ 611498 h 840617"/>
              <a:gd name="connsiteX89" fmla="*/ 711435 w 905617"/>
              <a:gd name="connsiteY89" fmla="*/ 611498 h 840617"/>
              <a:gd name="connsiteX90" fmla="*/ 651234 w 905617"/>
              <a:gd name="connsiteY90" fmla="*/ 542814 h 840617"/>
              <a:gd name="connsiteX91" fmla="*/ 642937 w 905617"/>
              <a:gd name="connsiteY91" fmla="*/ 539019 h 840617"/>
              <a:gd name="connsiteX92" fmla="*/ 605804 w 905617"/>
              <a:gd name="connsiteY92" fmla="*/ 539019 h 840617"/>
              <a:gd name="connsiteX93" fmla="*/ 640370 w 905617"/>
              <a:gd name="connsiteY93" fmla="*/ 431301 h 840617"/>
              <a:gd name="connsiteX94" fmla="*/ 807800 w 905617"/>
              <a:gd name="connsiteY94" fmla="*/ 431301 h 840617"/>
              <a:gd name="connsiteX95" fmla="*/ 855425 w 905617"/>
              <a:gd name="connsiteY95" fmla="*/ 466350 h 840617"/>
              <a:gd name="connsiteX96" fmla="*/ 905617 w 905617"/>
              <a:gd name="connsiteY96" fmla="*/ 416158 h 840617"/>
              <a:gd name="connsiteX97" fmla="*/ 855425 w 905617"/>
              <a:gd name="connsiteY97" fmla="*/ 365966 h 840617"/>
              <a:gd name="connsiteX98" fmla="*/ 790206 w 905617"/>
              <a:gd name="connsiteY98" fmla="*/ 189829 h 840617"/>
              <a:gd name="connsiteX99" fmla="*/ 818297 w 905617"/>
              <a:gd name="connsiteY99" fmla="*/ 217921 h 840617"/>
              <a:gd name="connsiteX100" fmla="*/ 790206 w 905617"/>
              <a:gd name="connsiteY100" fmla="*/ 246012 h 840617"/>
              <a:gd name="connsiteX101" fmla="*/ 762114 w 905617"/>
              <a:gd name="connsiteY101" fmla="*/ 217921 h 840617"/>
              <a:gd name="connsiteX102" fmla="*/ 790206 w 905617"/>
              <a:gd name="connsiteY102" fmla="*/ 189829 h 840617"/>
              <a:gd name="connsiteX103" fmla="*/ 654179 w 905617"/>
              <a:gd name="connsiteY103" fmla="*/ 54689 h 840617"/>
              <a:gd name="connsiteX104" fmla="*/ 682270 w 905617"/>
              <a:gd name="connsiteY104" fmla="*/ 82780 h 840617"/>
              <a:gd name="connsiteX105" fmla="*/ 654179 w 905617"/>
              <a:gd name="connsiteY105" fmla="*/ 110871 h 840617"/>
              <a:gd name="connsiteX106" fmla="*/ 626088 w 905617"/>
              <a:gd name="connsiteY106" fmla="*/ 82780 h 840617"/>
              <a:gd name="connsiteX107" fmla="*/ 654179 w 905617"/>
              <a:gd name="connsiteY107" fmla="*/ 54689 h 840617"/>
              <a:gd name="connsiteX108" fmla="*/ 654179 w 905617"/>
              <a:gd name="connsiteY108" fmla="*/ 729516 h 840617"/>
              <a:gd name="connsiteX109" fmla="*/ 682270 w 905617"/>
              <a:gd name="connsiteY109" fmla="*/ 757607 h 840617"/>
              <a:gd name="connsiteX110" fmla="*/ 654179 w 905617"/>
              <a:gd name="connsiteY110" fmla="*/ 785698 h 840617"/>
              <a:gd name="connsiteX111" fmla="*/ 626088 w 905617"/>
              <a:gd name="connsiteY111" fmla="*/ 757607 h 840617"/>
              <a:gd name="connsiteX112" fmla="*/ 654179 w 905617"/>
              <a:gd name="connsiteY112" fmla="*/ 729516 h 840617"/>
              <a:gd name="connsiteX113" fmla="*/ 790206 w 905617"/>
              <a:gd name="connsiteY113" fmla="*/ 594375 h 840617"/>
              <a:gd name="connsiteX114" fmla="*/ 818297 w 905617"/>
              <a:gd name="connsiteY114" fmla="*/ 622466 h 840617"/>
              <a:gd name="connsiteX115" fmla="*/ 790206 w 905617"/>
              <a:gd name="connsiteY115" fmla="*/ 650558 h 840617"/>
              <a:gd name="connsiteX116" fmla="*/ 762114 w 905617"/>
              <a:gd name="connsiteY116" fmla="*/ 622466 h 840617"/>
              <a:gd name="connsiteX117" fmla="*/ 790206 w 905617"/>
              <a:gd name="connsiteY117" fmla="*/ 594375 h 840617"/>
              <a:gd name="connsiteX118" fmla="*/ 541660 w 905617"/>
              <a:gd name="connsiteY118" fmla="*/ 409200 h 840617"/>
              <a:gd name="connsiteX119" fmla="*/ 530238 w 905617"/>
              <a:gd name="connsiteY119" fmla="*/ 326340 h 840617"/>
              <a:gd name="connsiteX120" fmla="*/ 581212 w 905617"/>
              <a:gd name="connsiteY120" fmla="*/ 305020 h 840617"/>
              <a:gd name="connsiteX121" fmla="*/ 617898 w 905617"/>
              <a:gd name="connsiteY121" fmla="*/ 409233 h 840617"/>
              <a:gd name="connsiteX122" fmla="*/ 519671 w 905617"/>
              <a:gd name="connsiteY122" fmla="*/ 409200 h 840617"/>
              <a:gd name="connsiteX123" fmla="*/ 431267 w 905617"/>
              <a:gd name="connsiteY123" fmla="*/ 409200 h 840617"/>
              <a:gd name="connsiteX124" fmla="*/ 431267 w 905617"/>
              <a:gd name="connsiteY124" fmla="*/ 341297 h 840617"/>
              <a:gd name="connsiteX125" fmla="*/ 508695 w 905617"/>
              <a:gd name="connsiteY125" fmla="*/ 331958 h 840617"/>
              <a:gd name="connsiteX126" fmla="*/ 519671 w 905617"/>
              <a:gd name="connsiteY126" fmla="*/ 409200 h 840617"/>
              <a:gd name="connsiteX127" fmla="*/ 338134 w 905617"/>
              <a:gd name="connsiteY127" fmla="*/ 529786 h 840617"/>
              <a:gd name="connsiteX128" fmla="*/ 409199 w 905617"/>
              <a:gd name="connsiteY128" fmla="*/ 521229 h 840617"/>
              <a:gd name="connsiteX129" fmla="*/ 409199 w 905617"/>
              <a:gd name="connsiteY129" fmla="*/ 614767 h 840617"/>
              <a:gd name="connsiteX130" fmla="*/ 338134 w 905617"/>
              <a:gd name="connsiteY130" fmla="*/ 529786 h 840617"/>
              <a:gd name="connsiteX131" fmla="*/ 409199 w 905617"/>
              <a:gd name="connsiteY131" fmla="*/ 499202 h 840617"/>
              <a:gd name="connsiteX132" fmla="*/ 331771 w 905617"/>
              <a:gd name="connsiteY132" fmla="*/ 508541 h 840617"/>
              <a:gd name="connsiteX133" fmla="*/ 320907 w 905617"/>
              <a:gd name="connsiteY133" fmla="*/ 431299 h 840617"/>
              <a:gd name="connsiteX134" fmla="*/ 409310 w 905617"/>
              <a:gd name="connsiteY134" fmla="*/ 431299 h 840617"/>
              <a:gd name="connsiteX135" fmla="*/ 409273 w 905617"/>
              <a:gd name="connsiteY135" fmla="*/ 499202 h 840617"/>
              <a:gd name="connsiteX136" fmla="*/ 320796 w 905617"/>
              <a:gd name="connsiteY136" fmla="*/ 409199 h 840617"/>
              <a:gd name="connsiteX137" fmla="*/ 331660 w 905617"/>
              <a:gd name="connsiteY137" fmla="*/ 331957 h 840617"/>
              <a:gd name="connsiteX138" fmla="*/ 409087 w 905617"/>
              <a:gd name="connsiteY138" fmla="*/ 341296 h 840617"/>
              <a:gd name="connsiteX139" fmla="*/ 409087 w 905617"/>
              <a:gd name="connsiteY139" fmla="*/ 409198 h 840617"/>
              <a:gd name="connsiteX140" fmla="*/ 409199 w 905617"/>
              <a:gd name="connsiteY140" fmla="*/ 225728 h 840617"/>
              <a:gd name="connsiteX141" fmla="*/ 409199 w 905617"/>
              <a:gd name="connsiteY141" fmla="*/ 319267 h 840617"/>
              <a:gd name="connsiteX142" fmla="*/ 338134 w 905617"/>
              <a:gd name="connsiteY142" fmla="*/ 310709 h 840617"/>
              <a:gd name="connsiteX143" fmla="*/ 409199 w 905617"/>
              <a:gd name="connsiteY143" fmla="*/ 225728 h 840617"/>
              <a:gd name="connsiteX144" fmla="*/ 431263 w 905617"/>
              <a:gd name="connsiteY144" fmla="*/ 319192 h 840617"/>
              <a:gd name="connsiteX145" fmla="*/ 431263 w 905617"/>
              <a:gd name="connsiteY145" fmla="*/ 225654 h 840617"/>
              <a:gd name="connsiteX146" fmla="*/ 502328 w 905617"/>
              <a:gd name="connsiteY146" fmla="*/ 310635 h 840617"/>
              <a:gd name="connsiteX147" fmla="*/ 431263 w 905617"/>
              <a:gd name="connsiteY147" fmla="*/ 319193 h 840617"/>
              <a:gd name="connsiteX148" fmla="*/ 332107 w 905617"/>
              <a:gd name="connsiteY148" fmla="*/ 268702 h 840617"/>
              <a:gd name="connsiteX149" fmla="*/ 316481 w 905617"/>
              <a:gd name="connsiteY149" fmla="*/ 305091 h 840617"/>
              <a:gd name="connsiteX150" fmla="*/ 273246 w 905617"/>
              <a:gd name="connsiteY150" fmla="*/ 287566 h 840617"/>
              <a:gd name="connsiteX151" fmla="*/ 358115 w 905617"/>
              <a:gd name="connsiteY151" fmla="*/ 232054 h 840617"/>
              <a:gd name="connsiteX152" fmla="*/ 332107 w 905617"/>
              <a:gd name="connsiteY152" fmla="*/ 268703 h 840617"/>
              <a:gd name="connsiteX153" fmla="*/ 259182 w 905617"/>
              <a:gd name="connsiteY153" fmla="*/ 304979 h 840617"/>
              <a:gd name="connsiteX154" fmla="*/ 310156 w 905617"/>
              <a:gd name="connsiteY154" fmla="*/ 326299 h 840617"/>
              <a:gd name="connsiteX155" fmla="*/ 298734 w 905617"/>
              <a:gd name="connsiteY155" fmla="*/ 409159 h 840617"/>
              <a:gd name="connsiteX156" fmla="*/ 222534 w 905617"/>
              <a:gd name="connsiteY156" fmla="*/ 409159 h 840617"/>
              <a:gd name="connsiteX157" fmla="*/ 259183 w 905617"/>
              <a:gd name="connsiteY157" fmla="*/ 304974 h 840617"/>
              <a:gd name="connsiteX158" fmla="*/ 298696 w 905617"/>
              <a:gd name="connsiteY158" fmla="*/ 431300 h 840617"/>
              <a:gd name="connsiteX159" fmla="*/ 310118 w 905617"/>
              <a:gd name="connsiteY159" fmla="*/ 514160 h 840617"/>
              <a:gd name="connsiteX160" fmla="*/ 259144 w 905617"/>
              <a:gd name="connsiteY160" fmla="*/ 535479 h 840617"/>
              <a:gd name="connsiteX161" fmla="*/ 222457 w 905617"/>
              <a:gd name="connsiteY161" fmla="*/ 431266 h 840617"/>
              <a:gd name="connsiteX162" fmla="*/ 316518 w 905617"/>
              <a:gd name="connsiteY162" fmla="*/ 535408 h 840617"/>
              <a:gd name="connsiteX163" fmla="*/ 332145 w 905617"/>
              <a:gd name="connsiteY163" fmla="*/ 571796 h 840617"/>
              <a:gd name="connsiteX164" fmla="*/ 358041 w 905617"/>
              <a:gd name="connsiteY164" fmla="*/ 608483 h 840617"/>
              <a:gd name="connsiteX165" fmla="*/ 273171 w 905617"/>
              <a:gd name="connsiteY165" fmla="*/ 552970 h 840617"/>
              <a:gd name="connsiteX166" fmla="*/ 316518 w 905617"/>
              <a:gd name="connsiteY166" fmla="*/ 535408 h 840617"/>
              <a:gd name="connsiteX167" fmla="*/ 431266 w 905617"/>
              <a:gd name="connsiteY167" fmla="*/ 614770 h 840617"/>
              <a:gd name="connsiteX168" fmla="*/ 431266 w 905617"/>
              <a:gd name="connsiteY168" fmla="*/ 521232 h 840617"/>
              <a:gd name="connsiteX169" fmla="*/ 502331 w 905617"/>
              <a:gd name="connsiteY169" fmla="*/ 529789 h 840617"/>
              <a:gd name="connsiteX170" fmla="*/ 431266 w 905617"/>
              <a:gd name="connsiteY170" fmla="*/ 614771 h 840617"/>
              <a:gd name="connsiteX171" fmla="*/ 431266 w 905617"/>
              <a:gd name="connsiteY171" fmla="*/ 499203 h 840617"/>
              <a:gd name="connsiteX172" fmla="*/ 431266 w 905617"/>
              <a:gd name="connsiteY172" fmla="*/ 431301 h 840617"/>
              <a:gd name="connsiteX173" fmla="*/ 519669 w 905617"/>
              <a:gd name="connsiteY173" fmla="*/ 431301 h 840617"/>
              <a:gd name="connsiteX174" fmla="*/ 508805 w 905617"/>
              <a:gd name="connsiteY174" fmla="*/ 508543 h 840617"/>
              <a:gd name="connsiteX175" fmla="*/ 431266 w 905617"/>
              <a:gd name="connsiteY175" fmla="*/ 499204 h 840617"/>
              <a:gd name="connsiteX176" fmla="*/ 541660 w 905617"/>
              <a:gd name="connsiteY176" fmla="*/ 431301 h 840617"/>
              <a:gd name="connsiteX177" fmla="*/ 617860 w 905617"/>
              <a:gd name="connsiteY177" fmla="*/ 431301 h 840617"/>
              <a:gd name="connsiteX178" fmla="*/ 581174 w 905617"/>
              <a:gd name="connsiteY178" fmla="*/ 535514 h 840617"/>
              <a:gd name="connsiteX179" fmla="*/ 530200 w 905617"/>
              <a:gd name="connsiteY179" fmla="*/ 514194 h 840617"/>
              <a:gd name="connsiteX180" fmla="*/ 541659 w 905617"/>
              <a:gd name="connsiteY180" fmla="*/ 431297 h 840617"/>
              <a:gd name="connsiteX181" fmla="*/ 567222 w 905617"/>
              <a:gd name="connsiteY181" fmla="*/ 287645 h 840617"/>
              <a:gd name="connsiteX182" fmla="*/ 523987 w 905617"/>
              <a:gd name="connsiteY182" fmla="*/ 305169 h 840617"/>
              <a:gd name="connsiteX183" fmla="*/ 508360 w 905617"/>
              <a:gd name="connsiteY183" fmla="*/ 268780 h 840617"/>
              <a:gd name="connsiteX184" fmla="*/ 482463 w 905617"/>
              <a:gd name="connsiteY184" fmla="*/ 232094 h 840617"/>
              <a:gd name="connsiteX185" fmla="*/ 567221 w 905617"/>
              <a:gd name="connsiteY185" fmla="*/ 287644 h 840617"/>
              <a:gd name="connsiteX186" fmla="*/ 377655 w 905617"/>
              <a:gd name="connsiteY186" fmla="*/ 818406 h 840617"/>
              <a:gd name="connsiteX187" fmla="*/ 365749 w 905617"/>
              <a:gd name="connsiteY187" fmla="*/ 808509 h 840617"/>
              <a:gd name="connsiteX188" fmla="*/ 356893 w 905617"/>
              <a:gd name="connsiteY188" fmla="*/ 759842 h 840617"/>
              <a:gd name="connsiteX189" fmla="*/ 332523 w 905617"/>
              <a:gd name="connsiteY189" fmla="*/ 732978 h 840617"/>
              <a:gd name="connsiteX190" fmla="*/ 261197 w 905617"/>
              <a:gd name="connsiteY190" fmla="*/ 703436 h 840617"/>
              <a:gd name="connsiteX191" fmla="*/ 244342 w 905617"/>
              <a:gd name="connsiteY191" fmla="*/ 698971 h 840617"/>
              <a:gd name="connsiteX192" fmla="*/ 224920 w 905617"/>
              <a:gd name="connsiteY192" fmla="*/ 705147 h 840617"/>
              <a:gd name="connsiteX193" fmla="*/ 184253 w 905617"/>
              <a:gd name="connsiteY193" fmla="*/ 733350 h 840617"/>
              <a:gd name="connsiteX194" fmla="*/ 168812 w 905617"/>
              <a:gd name="connsiteY194" fmla="*/ 731936 h 840617"/>
              <a:gd name="connsiteX195" fmla="*/ 108611 w 905617"/>
              <a:gd name="connsiteY195" fmla="*/ 671735 h 840617"/>
              <a:gd name="connsiteX196" fmla="*/ 107197 w 905617"/>
              <a:gd name="connsiteY196" fmla="*/ 656294 h 840617"/>
              <a:gd name="connsiteX197" fmla="*/ 135400 w 905617"/>
              <a:gd name="connsiteY197" fmla="*/ 615627 h 840617"/>
              <a:gd name="connsiteX198" fmla="*/ 137111 w 905617"/>
              <a:gd name="connsiteY198" fmla="*/ 579350 h 840617"/>
              <a:gd name="connsiteX199" fmla="*/ 107568 w 905617"/>
              <a:gd name="connsiteY199" fmla="*/ 508098 h 840617"/>
              <a:gd name="connsiteX200" fmla="*/ 80705 w 905617"/>
              <a:gd name="connsiteY200" fmla="*/ 483728 h 840617"/>
              <a:gd name="connsiteX201" fmla="*/ 32038 w 905617"/>
              <a:gd name="connsiteY201" fmla="*/ 474872 h 840617"/>
              <a:gd name="connsiteX202" fmla="*/ 22141 w 905617"/>
              <a:gd name="connsiteY202" fmla="*/ 462966 h 840617"/>
              <a:gd name="connsiteX203" fmla="*/ 22141 w 905617"/>
              <a:gd name="connsiteY203" fmla="*/ 377799 h 840617"/>
              <a:gd name="connsiteX204" fmla="*/ 32038 w 905617"/>
              <a:gd name="connsiteY204" fmla="*/ 365893 h 840617"/>
              <a:gd name="connsiteX205" fmla="*/ 80705 w 905617"/>
              <a:gd name="connsiteY205" fmla="*/ 357038 h 840617"/>
              <a:gd name="connsiteX206" fmla="*/ 107568 w 905617"/>
              <a:gd name="connsiteY206" fmla="*/ 332667 h 840617"/>
              <a:gd name="connsiteX207" fmla="*/ 137111 w 905617"/>
              <a:gd name="connsiteY207" fmla="*/ 261341 h 840617"/>
              <a:gd name="connsiteX208" fmla="*/ 135400 w 905617"/>
              <a:gd name="connsiteY208" fmla="*/ 225064 h 840617"/>
              <a:gd name="connsiteX209" fmla="*/ 107197 w 905617"/>
              <a:gd name="connsiteY209" fmla="*/ 184397 h 840617"/>
              <a:gd name="connsiteX210" fmla="*/ 108611 w 905617"/>
              <a:gd name="connsiteY210" fmla="*/ 168956 h 840617"/>
              <a:gd name="connsiteX211" fmla="*/ 168812 w 905617"/>
              <a:gd name="connsiteY211" fmla="*/ 108755 h 840617"/>
              <a:gd name="connsiteX212" fmla="*/ 184253 w 905617"/>
              <a:gd name="connsiteY212" fmla="*/ 107341 h 840617"/>
              <a:gd name="connsiteX213" fmla="*/ 224920 w 905617"/>
              <a:gd name="connsiteY213" fmla="*/ 135544 h 840617"/>
              <a:gd name="connsiteX214" fmla="*/ 261197 w 905617"/>
              <a:gd name="connsiteY214" fmla="*/ 137255 h 840617"/>
              <a:gd name="connsiteX215" fmla="*/ 332448 w 905617"/>
              <a:gd name="connsiteY215" fmla="*/ 107713 h 840617"/>
              <a:gd name="connsiteX216" fmla="*/ 356819 w 905617"/>
              <a:gd name="connsiteY216" fmla="*/ 80849 h 840617"/>
              <a:gd name="connsiteX217" fmla="*/ 365674 w 905617"/>
              <a:gd name="connsiteY217" fmla="*/ 32182 h 840617"/>
              <a:gd name="connsiteX218" fmla="*/ 377581 w 905617"/>
              <a:gd name="connsiteY218" fmla="*/ 22285 h 840617"/>
              <a:gd name="connsiteX219" fmla="*/ 409095 w 905617"/>
              <a:gd name="connsiteY219" fmla="*/ 22285 h 840617"/>
              <a:gd name="connsiteX220" fmla="*/ 409095 w 905617"/>
              <a:gd name="connsiteY220" fmla="*/ 200317 h 840617"/>
              <a:gd name="connsiteX221" fmla="*/ 199840 w 905617"/>
              <a:gd name="connsiteY221" fmla="*/ 420249 h 840617"/>
              <a:gd name="connsiteX222" fmla="*/ 409095 w 905617"/>
              <a:gd name="connsiteY222" fmla="*/ 640362 h 840617"/>
              <a:gd name="connsiteX223" fmla="*/ 409095 w 905617"/>
              <a:gd name="connsiteY223" fmla="*/ 818394 h 840617"/>
              <a:gd name="connsiteX224" fmla="*/ 482354 w 905617"/>
              <a:gd name="connsiteY224" fmla="*/ 608370 h 840617"/>
              <a:gd name="connsiteX225" fmla="*/ 508250 w 905617"/>
              <a:gd name="connsiteY225" fmla="*/ 571684 h 840617"/>
              <a:gd name="connsiteX226" fmla="*/ 523877 w 905617"/>
              <a:gd name="connsiteY226" fmla="*/ 535296 h 840617"/>
              <a:gd name="connsiteX227" fmla="*/ 567223 w 905617"/>
              <a:gd name="connsiteY227" fmla="*/ 552820 h 840617"/>
              <a:gd name="connsiteX228" fmla="*/ 482354 w 905617"/>
              <a:gd name="connsiteY228" fmla="*/ 608369 h 840617"/>
              <a:gd name="connsiteX229" fmla="*/ 855429 w 905617"/>
              <a:gd name="connsiteY229" fmla="*/ 444255 h 840617"/>
              <a:gd name="connsiteX230" fmla="*/ 827338 w 905617"/>
              <a:gd name="connsiteY230" fmla="*/ 416163 h 840617"/>
              <a:gd name="connsiteX231" fmla="*/ 855429 w 905617"/>
              <a:gd name="connsiteY231" fmla="*/ 388072 h 840617"/>
              <a:gd name="connsiteX232" fmla="*/ 883520 w 905617"/>
              <a:gd name="connsiteY232" fmla="*/ 416163 h 840617"/>
              <a:gd name="connsiteX233" fmla="*/ 855429 w 905617"/>
              <a:gd name="connsiteY233" fmla="*/ 444255 h 840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905617" h="840617">
                <a:moveTo>
                  <a:pt x="855430" y="365966"/>
                </a:moveTo>
                <a:cubicBezTo>
                  <a:pt x="830092" y="365966"/>
                  <a:pt x="809331" y="384830"/>
                  <a:pt x="805908" y="409201"/>
                </a:cubicBezTo>
                <a:lnTo>
                  <a:pt x="640258" y="409201"/>
                </a:lnTo>
                <a:cubicBezTo>
                  <a:pt x="638249" y="369687"/>
                  <a:pt x="625859" y="332889"/>
                  <a:pt x="605693" y="301482"/>
                </a:cubicBezTo>
                <a:lnTo>
                  <a:pt x="642825" y="301482"/>
                </a:lnTo>
                <a:cubicBezTo>
                  <a:pt x="645951" y="301482"/>
                  <a:pt x="649002" y="300143"/>
                  <a:pt x="651122" y="297687"/>
                </a:cubicBezTo>
                <a:lnTo>
                  <a:pt x="711323" y="229003"/>
                </a:lnTo>
                <a:lnTo>
                  <a:pt x="741237" y="229003"/>
                </a:lnTo>
                <a:cubicBezTo>
                  <a:pt x="746298" y="251402"/>
                  <a:pt x="766278" y="268146"/>
                  <a:pt x="790202" y="268146"/>
                </a:cubicBezTo>
                <a:cubicBezTo>
                  <a:pt x="817921" y="268146"/>
                  <a:pt x="840394" y="245561"/>
                  <a:pt x="840394" y="217954"/>
                </a:cubicBezTo>
                <a:cubicBezTo>
                  <a:pt x="840394" y="190234"/>
                  <a:pt x="817809" y="167762"/>
                  <a:pt x="790202" y="167762"/>
                </a:cubicBezTo>
                <a:cubicBezTo>
                  <a:pt x="766278" y="167762"/>
                  <a:pt x="746297" y="184542"/>
                  <a:pt x="741237" y="206904"/>
                </a:cubicBezTo>
                <a:lnTo>
                  <a:pt x="706263" y="206904"/>
                </a:lnTo>
                <a:cubicBezTo>
                  <a:pt x="703137" y="206904"/>
                  <a:pt x="700086" y="208243"/>
                  <a:pt x="697965" y="210699"/>
                </a:cubicBezTo>
                <a:lnTo>
                  <a:pt x="637765" y="279383"/>
                </a:lnTo>
                <a:lnTo>
                  <a:pt x="589470" y="279383"/>
                </a:lnTo>
                <a:cubicBezTo>
                  <a:pt x="551184" y="233469"/>
                  <a:pt x="494704" y="203294"/>
                  <a:pt x="431155" y="200132"/>
                </a:cubicBezTo>
                <a:lnTo>
                  <a:pt x="431155" y="166310"/>
                </a:lnTo>
                <a:lnTo>
                  <a:pt x="483245" y="166310"/>
                </a:lnTo>
                <a:cubicBezTo>
                  <a:pt x="486371" y="166310"/>
                  <a:pt x="489422" y="164971"/>
                  <a:pt x="491542" y="162515"/>
                </a:cubicBezTo>
                <a:lnTo>
                  <a:pt x="551743" y="93831"/>
                </a:lnTo>
                <a:lnTo>
                  <a:pt x="605210" y="93831"/>
                </a:lnTo>
                <a:cubicBezTo>
                  <a:pt x="610270" y="116230"/>
                  <a:pt x="630250" y="132973"/>
                  <a:pt x="654174" y="132973"/>
                </a:cubicBezTo>
                <a:cubicBezTo>
                  <a:pt x="681894" y="132973"/>
                  <a:pt x="704366" y="110389"/>
                  <a:pt x="704366" y="82781"/>
                </a:cubicBezTo>
                <a:cubicBezTo>
                  <a:pt x="704366" y="55174"/>
                  <a:pt x="681893" y="32589"/>
                  <a:pt x="654174" y="32589"/>
                </a:cubicBezTo>
                <a:cubicBezTo>
                  <a:pt x="630250" y="32589"/>
                  <a:pt x="610270" y="49370"/>
                  <a:pt x="605210" y="71731"/>
                </a:cubicBezTo>
                <a:lnTo>
                  <a:pt x="546832" y="71731"/>
                </a:lnTo>
                <a:cubicBezTo>
                  <a:pt x="543707" y="71731"/>
                  <a:pt x="540656" y="73071"/>
                  <a:pt x="538535" y="75527"/>
                </a:cubicBezTo>
                <a:lnTo>
                  <a:pt x="478334" y="144210"/>
                </a:lnTo>
                <a:lnTo>
                  <a:pt x="431267" y="144210"/>
                </a:lnTo>
                <a:lnTo>
                  <a:pt x="431267" y="11051"/>
                </a:lnTo>
                <a:cubicBezTo>
                  <a:pt x="431267" y="4949"/>
                  <a:pt x="426319" y="0"/>
                  <a:pt x="420217" y="0"/>
                </a:cubicBezTo>
                <a:lnTo>
                  <a:pt x="377651" y="0"/>
                </a:lnTo>
                <a:cubicBezTo>
                  <a:pt x="361094" y="0"/>
                  <a:pt x="346992" y="11795"/>
                  <a:pt x="344017" y="28091"/>
                </a:cubicBezTo>
                <a:lnTo>
                  <a:pt x="335161" y="76758"/>
                </a:lnTo>
                <a:cubicBezTo>
                  <a:pt x="334305" y="81521"/>
                  <a:pt x="331143" y="84944"/>
                  <a:pt x="326492" y="86283"/>
                </a:cubicBezTo>
                <a:cubicBezTo>
                  <a:pt x="300001" y="93725"/>
                  <a:pt x="274402" y="104291"/>
                  <a:pt x="250292" y="117909"/>
                </a:cubicBezTo>
                <a:cubicBezTo>
                  <a:pt x="246013" y="120290"/>
                  <a:pt x="241437" y="120104"/>
                  <a:pt x="237418" y="117351"/>
                </a:cubicBezTo>
                <a:lnTo>
                  <a:pt x="196751" y="89148"/>
                </a:lnTo>
                <a:cubicBezTo>
                  <a:pt x="183133" y="79735"/>
                  <a:pt x="164753" y="81335"/>
                  <a:pt x="153145" y="93055"/>
                </a:cubicBezTo>
                <a:lnTo>
                  <a:pt x="92944" y="153256"/>
                </a:lnTo>
                <a:cubicBezTo>
                  <a:pt x="81223" y="164976"/>
                  <a:pt x="79624" y="183357"/>
                  <a:pt x="89037" y="196862"/>
                </a:cubicBezTo>
                <a:lnTo>
                  <a:pt x="117239" y="237529"/>
                </a:lnTo>
                <a:cubicBezTo>
                  <a:pt x="119993" y="241548"/>
                  <a:pt x="120179" y="246087"/>
                  <a:pt x="117798" y="250403"/>
                </a:cubicBezTo>
                <a:cubicBezTo>
                  <a:pt x="104254" y="274402"/>
                  <a:pt x="93613" y="300112"/>
                  <a:pt x="86172" y="326603"/>
                </a:cubicBezTo>
                <a:cubicBezTo>
                  <a:pt x="84832" y="331254"/>
                  <a:pt x="81521" y="334417"/>
                  <a:pt x="76647" y="335273"/>
                </a:cubicBezTo>
                <a:lnTo>
                  <a:pt x="28091" y="344054"/>
                </a:lnTo>
                <a:cubicBezTo>
                  <a:pt x="11795" y="346993"/>
                  <a:pt x="0" y="361206"/>
                  <a:pt x="0" y="377688"/>
                </a:cubicBezTo>
                <a:lnTo>
                  <a:pt x="0" y="462855"/>
                </a:lnTo>
                <a:cubicBezTo>
                  <a:pt x="0" y="479412"/>
                  <a:pt x="11795" y="493514"/>
                  <a:pt x="28091" y="496490"/>
                </a:cubicBezTo>
                <a:lnTo>
                  <a:pt x="76758" y="505345"/>
                </a:lnTo>
                <a:cubicBezTo>
                  <a:pt x="81521" y="506201"/>
                  <a:pt x="84944" y="509363"/>
                  <a:pt x="86283" y="514014"/>
                </a:cubicBezTo>
                <a:cubicBezTo>
                  <a:pt x="93725" y="540505"/>
                  <a:pt x="104291" y="566105"/>
                  <a:pt x="117909" y="590214"/>
                </a:cubicBezTo>
                <a:cubicBezTo>
                  <a:pt x="120290" y="594419"/>
                  <a:pt x="120104" y="599070"/>
                  <a:pt x="117351" y="603088"/>
                </a:cubicBezTo>
                <a:lnTo>
                  <a:pt x="89148" y="643755"/>
                </a:lnTo>
                <a:cubicBezTo>
                  <a:pt x="79735" y="657373"/>
                  <a:pt x="81335" y="675754"/>
                  <a:pt x="93055" y="687362"/>
                </a:cubicBezTo>
                <a:lnTo>
                  <a:pt x="153256" y="747563"/>
                </a:lnTo>
                <a:cubicBezTo>
                  <a:pt x="164976" y="759283"/>
                  <a:pt x="183357" y="760882"/>
                  <a:pt x="196862" y="751469"/>
                </a:cubicBezTo>
                <a:lnTo>
                  <a:pt x="237529" y="723267"/>
                </a:lnTo>
                <a:cubicBezTo>
                  <a:pt x="241548" y="720513"/>
                  <a:pt x="246087" y="720327"/>
                  <a:pt x="250403" y="722709"/>
                </a:cubicBezTo>
                <a:cubicBezTo>
                  <a:pt x="274402" y="736252"/>
                  <a:pt x="300112" y="746894"/>
                  <a:pt x="326603" y="754335"/>
                </a:cubicBezTo>
                <a:cubicBezTo>
                  <a:pt x="331254" y="755674"/>
                  <a:pt x="334417" y="758985"/>
                  <a:pt x="335273" y="763860"/>
                </a:cubicBezTo>
                <a:lnTo>
                  <a:pt x="344128" y="812527"/>
                </a:lnTo>
                <a:cubicBezTo>
                  <a:pt x="347067" y="828823"/>
                  <a:pt x="361281" y="840618"/>
                  <a:pt x="377763" y="840618"/>
                </a:cubicBezTo>
                <a:lnTo>
                  <a:pt x="420328" y="840618"/>
                </a:lnTo>
                <a:cubicBezTo>
                  <a:pt x="426430" y="840618"/>
                  <a:pt x="431379" y="835669"/>
                  <a:pt x="431379" y="829567"/>
                </a:cubicBezTo>
                <a:lnTo>
                  <a:pt x="431379" y="696179"/>
                </a:lnTo>
                <a:lnTo>
                  <a:pt x="478446" y="696179"/>
                </a:lnTo>
                <a:lnTo>
                  <a:pt x="538535" y="764975"/>
                </a:lnTo>
                <a:cubicBezTo>
                  <a:pt x="540619" y="767356"/>
                  <a:pt x="543670" y="768770"/>
                  <a:pt x="546832" y="768770"/>
                </a:cubicBezTo>
                <a:lnTo>
                  <a:pt x="605210" y="768770"/>
                </a:lnTo>
                <a:cubicBezTo>
                  <a:pt x="610270" y="791169"/>
                  <a:pt x="630250" y="807912"/>
                  <a:pt x="654174" y="807912"/>
                </a:cubicBezTo>
                <a:cubicBezTo>
                  <a:pt x="681894" y="807912"/>
                  <a:pt x="704366" y="785327"/>
                  <a:pt x="704366" y="757720"/>
                </a:cubicBezTo>
                <a:cubicBezTo>
                  <a:pt x="704366" y="730113"/>
                  <a:pt x="681782" y="707528"/>
                  <a:pt x="654174" y="707528"/>
                </a:cubicBezTo>
                <a:cubicBezTo>
                  <a:pt x="630250" y="707528"/>
                  <a:pt x="610270" y="724308"/>
                  <a:pt x="605210" y="746670"/>
                </a:cubicBezTo>
                <a:lnTo>
                  <a:pt x="551855" y="746670"/>
                </a:lnTo>
                <a:lnTo>
                  <a:pt x="491654" y="677986"/>
                </a:lnTo>
                <a:cubicBezTo>
                  <a:pt x="489570" y="675605"/>
                  <a:pt x="486519" y="674191"/>
                  <a:pt x="483357" y="674191"/>
                </a:cubicBezTo>
                <a:lnTo>
                  <a:pt x="431266" y="674191"/>
                </a:lnTo>
                <a:lnTo>
                  <a:pt x="431266" y="640370"/>
                </a:lnTo>
                <a:cubicBezTo>
                  <a:pt x="494816" y="637244"/>
                  <a:pt x="551301" y="607032"/>
                  <a:pt x="589581" y="561119"/>
                </a:cubicBezTo>
                <a:lnTo>
                  <a:pt x="637876" y="561119"/>
                </a:lnTo>
                <a:lnTo>
                  <a:pt x="698077" y="629803"/>
                </a:lnTo>
                <a:cubicBezTo>
                  <a:pt x="700161" y="632184"/>
                  <a:pt x="703212" y="633598"/>
                  <a:pt x="706374" y="633598"/>
                </a:cubicBezTo>
                <a:lnTo>
                  <a:pt x="741349" y="633598"/>
                </a:lnTo>
                <a:cubicBezTo>
                  <a:pt x="746409" y="655997"/>
                  <a:pt x="766389" y="672740"/>
                  <a:pt x="790313" y="672740"/>
                </a:cubicBezTo>
                <a:cubicBezTo>
                  <a:pt x="818033" y="672740"/>
                  <a:pt x="840505" y="650155"/>
                  <a:pt x="840505" y="622548"/>
                </a:cubicBezTo>
                <a:cubicBezTo>
                  <a:pt x="840505" y="594828"/>
                  <a:pt x="817920" y="572356"/>
                  <a:pt x="790313" y="572356"/>
                </a:cubicBezTo>
                <a:cubicBezTo>
                  <a:pt x="766389" y="572356"/>
                  <a:pt x="746409" y="589136"/>
                  <a:pt x="741349" y="611498"/>
                </a:cubicBezTo>
                <a:lnTo>
                  <a:pt x="711435" y="611498"/>
                </a:lnTo>
                <a:lnTo>
                  <a:pt x="651234" y="542814"/>
                </a:lnTo>
                <a:cubicBezTo>
                  <a:pt x="649150" y="540433"/>
                  <a:pt x="646099" y="539019"/>
                  <a:pt x="642937" y="539019"/>
                </a:cubicBezTo>
                <a:lnTo>
                  <a:pt x="605804" y="539019"/>
                </a:lnTo>
                <a:cubicBezTo>
                  <a:pt x="626008" y="507579"/>
                  <a:pt x="638472" y="470818"/>
                  <a:pt x="640370" y="431301"/>
                </a:cubicBezTo>
                <a:lnTo>
                  <a:pt x="807800" y="431301"/>
                </a:lnTo>
                <a:cubicBezTo>
                  <a:pt x="814274" y="451579"/>
                  <a:pt x="833026" y="466350"/>
                  <a:pt x="855425" y="466350"/>
                </a:cubicBezTo>
                <a:cubicBezTo>
                  <a:pt x="883145" y="466350"/>
                  <a:pt x="905617" y="443765"/>
                  <a:pt x="905617" y="416158"/>
                </a:cubicBezTo>
                <a:cubicBezTo>
                  <a:pt x="905617" y="388438"/>
                  <a:pt x="883144" y="365966"/>
                  <a:pt x="855425" y="365966"/>
                </a:cubicBezTo>
                <a:close/>
                <a:moveTo>
                  <a:pt x="790206" y="189829"/>
                </a:moveTo>
                <a:cubicBezTo>
                  <a:pt x="805721" y="189829"/>
                  <a:pt x="818297" y="202480"/>
                  <a:pt x="818297" y="217921"/>
                </a:cubicBezTo>
                <a:cubicBezTo>
                  <a:pt x="818297" y="233436"/>
                  <a:pt x="805647" y="246012"/>
                  <a:pt x="790206" y="246012"/>
                </a:cubicBezTo>
                <a:cubicBezTo>
                  <a:pt x="774690" y="246012"/>
                  <a:pt x="762114" y="233362"/>
                  <a:pt x="762114" y="217921"/>
                </a:cubicBezTo>
                <a:cubicBezTo>
                  <a:pt x="762077" y="202517"/>
                  <a:pt x="774653" y="189829"/>
                  <a:pt x="790206" y="189829"/>
                </a:cubicBezTo>
                <a:close/>
                <a:moveTo>
                  <a:pt x="654179" y="54689"/>
                </a:moveTo>
                <a:cubicBezTo>
                  <a:pt x="669694" y="54689"/>
                  <a:pt x="682270" y="67339"/>
                  <a:pt x="682270" y="82780"/>
                </a:cubicBezTo>
                <a:cubicBezTo>
                  <a:pt x="682270" y="98221"/>
                  <a:pt x="669620" y="110871"/>
                  <a:pt x="654179" y="110871"/>
                </a:cubicBezTo>
                <a:cubicBezTo>
                  <a:pt x="638738" y="110871"/>
                  <a:pt x="626088" y="98221"/>
                  <a:pt x="626088" y="82780"/>
                </a:cubicBezTo>
                <a:cubicBezTo>
                  <a:pt x="626088" y="67339"/>
                  <a:pt x="638664" y="54689"/>
                  <a:pt x="654179" y="54689"/>
                </a:cubicBezTo>
                <a:close/>
                <a:moveTo>
                  <a:pt x="654179" y="729516"/>
                </a:moveTo>
                <a:cubicBezTo>
                  <a:pt x="669694" y="729516"/>
                  <a:pt x="682270" y="742166"/>
                  <a:pt x="682270" y="757607"/>
                </a:cubicBezTo>
                <a:cubicBezTo>
                  <a:pt x="682270" y="773048"/>
                  <a:pt x="669620" y="785698"/>
                  <a:pt x="654179" y="785698"/>
                </a:cubicBezTo>
                <a:cubicBezTo>
                  <a:pt x="638738" y="785698"/>
                  <a:pt x="626088" y="773048"/>
                  <a:pt x="626088" y="757607"/>
                </a:cubicBezTo>
                <a:cubicBezTo>
                  <a:pt x="626088" y="742203"/>
                  <a:pt x="638664" y="729516"/>
                  <a:pt x="654179" y="729516"/>
                </a:cubicBezTo>
                <a:close/>
                <a:moveTo>
                  <a:pt x="790206" y="594375"/>
                </a:moveTo>
                <a:cubicBezTo>
                  <a:pt x="805721" y="594375"/>
                  <a:pt x="818297" y="607025"/>
                  <a:pt x="818297" y="622466"/>
                </a:cubicBezTo>
                <a:cubicBezTo>
                  <a:pt x="818297" y="637982"/>
                  <a:pt x="805647" y="650558"/>
                  <a:pt x="790206" y="650558"/>
                </a:cubicBezTo>
                <a:cubicBezTo>
                  <a:pt x="774690" y="650558"/>
                  <a:pt x="762114" y="637907"/>
                  <a:pt x="762114" y="622466"/>
                </a:cubicBezTo>
                <a:cubicBezTo>
                  <a:pt x="762077" y="606951"/>
                  <a:pt x="774653" y="594375"/>
                  <a:pt x="790206" y="594375"/>
                </a:cubicBezTo>
                <a:close/>
                <a:moveTo>
                  <a:pt x="541660" y="409200"/>
                </a:moveTo>
                <a:cubicBezTo>
                  <a:pt x="540916" y="380067"/>
                  <a:pt x="537009" y="352050"/>
                  <a:pt x="530238" y="326340"/>
                </a:cubicBezTo>
                <a:cubicBezTo>
                  <a:pt x="549102" y="320722"/>
                  <a:pt x="566254" y="313466"/>
                  <a:pt x="581212" y="305020"/>
                </a:cubicBezTo>
                <a:cubicBezTo>
                  <a:pt x="602532" y="334749"/>
                  <a:pt x="615703" y="370467"/>
                  <a:pt x="617898" y="409233"/>
                </a:cubicBezTo>
                <a:close/>
                <a:moveTo>
                  <a:pt x="519671" y="409200"/>
                </a:moveTo>
                <a:lnTo>
                  <a:pt x="431267" y="409200"/>
                </a:lnTo>
                <a:lnTo>
                  <a:pt x="431267" y="341297"/>
                </a:lnTo>
                <a:cubicBezTo>
                  <a:pt x="458429" y="340627"/>
                  <a:pt x="484623" y="337390"/>
                  <a:pt x="508695" y="331958"/>
                </a:cubicBezTo>
                <a:cubicBezTo>
                  <a:pt x="515020" y="355585"/>
                  <a:pt x="518815" y="381667"/>
                  <a:pt x="519671" y="409200"/>
                </a:cubicBezTo>
                <a:close/>
                <a:moveTo>
                  <a:pt x="338134" y="529786"/>
                </a:moveTo>
                <a:cubicBezTo>
                  <a:pt x="360309" y="524838"/>
                  <a:pt x="384420" y="521973"/>
                  <a:pt x="409199" y="521229"/>
                </a:cubicBezTo>
                <a:lnTo>
                  <a:pt x="409199" y="614767"/>
                </a:lnTo>
                <a:cubicBezTo>
                  <a:pt x="380029" y="608070"/>
                  <a:pt x="354319" y="575699"/>
                  <a:pt x="338134" y="529786"/>
                </a:cubicBezTo>
                <a:close/>
                <a:moveTo>
                  <a:pt x="409199" y="499202"/>
                </a:moveTo>
                <a:cubicBezTo>
                  <a:pt x="382037" y="499872"/>
                  <a:pt x="355844" y="503109"/>
                  <a:pt x="331771" y="508541"/>
                </a:cubicBezTo>
                <a:cubicBezTo>
                  <a:pt x="325483" y="485026"/>
                  <a:pt x="321688" y="458832"/>
                  <a:pt x="320907" y="431299"/>
                </a:cubicBezTo>
                <a:lnTo>
                  <a:pt x="409310" y="431299"/>
                </a:lnTo>
                <a:lnTo>
                  <a:pt x="409273" y="499202"/>
                </a:lnTo>
                <a:close/>
                <a:moveTo>
                  <a:pt x="320796" y="409199"/>
                </a:moveTo>
                <a:cubicBezTo>
                  <a:pt x="321651" y="381666"/>
                  <a:pt x="325446" y="355583"/>
                  <a:pt x="331660" y="331957"/>
                </a:cubicBezTo>
                <a:cubicBezTo>
                  <a:pt x="355845" y="337389"/>
                  <a:pt x="381963" y="340626"/>
                  <a:pt x="409087" y="341296"/>
                </a:cubicBezTo>
                <a:lnTo>
                  <a:pt x="409087" y="409198"/>
                </a:lnTo>
                <a:close/>
                <a:moveTo>
                  <a:pt x="409199" y="225728"/>
                </a:moveTo>
                <a:lnTo>
                  <a:pt x="409199" y="319267"/>
                </a:lnTo>
                <a:cubicBezTo>
                  <a:pt x="384419" y="318597"/>
                  <a:pt x="360420" y="315657"/>
                  <a:pt x="338134" y="310709"/>
                </a:cubicBezTo>
                <a:cubicBezTo>
                  <a:pt x="354319" y="264796"/>
                  <a:pt x="380029" y="232425"/>
                  <a:pt x="409199" y="225728"/>
                </a:cubicBezTo>
                <a:close/>
                <a:moveTo>
                  <a:pt x="431263" y="319192"/>
                </a:moveTo>
                <a:lnTo>
                  <a:pt x="431263" y="225654"/>
                </a:lnTo>
                <a:cubicBezTo>
                  <a:pt x="460396" y="232314"/>
                  <a:pt x="486143" y="264722"/>
                  <a:pt x="502328" y="310635"/>
                </a:cubicBezTo>
                <a:cubicBezTo>
                  <a:pt x="480041" y="315658"/>
                  <a:pt x="455930" y="318523"/>
                  <a:pt x="431263" y="319193"/>
                </a:cubicBezTo>
                <a:close/>
                <a:moveTo>
                  <a:pt x="332107" y="268702"/>
                </a:moveTo>
                <a:cubicBezTo>
                  <a:pt x="326117" y="279865"/>
                  <a:pt x="320945" y="292142"/>
                  <a:pt x="316481" y="305091"/>
                </a:cubicBezTo>
                <a:cubicBezTo>
                  <a:pt x="300482" y="300328"/>
                  <a:pt x="285897" y="294412"/>
                  <a:pt x="273246" y="287566"/>
                </a:cubicBezTo>
                <a:cubicBezTo>
                  <a:pt x="296016" y="262340"/>
                  <a:pt x="325075" y="242992"/>
                  <a:pt x="358115" y="232054"/>
                </a:cubicBezTo>
                <a:cubicBezTo>
                  <a:pt x="348590" y="242026"/>
                  <a:pt x="339921" y="254229"/>
                  <a:pt x="332107" y="268703"/>
                </a:cubicBezTo>
                <a:close/>
                <a:moveTo>
                  <a:pt x="259182" y="304979"/>
                </a:moveTo>
                <a:cubicBezTo>
                  <a:pt x="274139" y="313462"/>
                  <a:pt x="291292" y="320606"/>
                  <a:pt x="310156" y="326299"/>
                </a:cubicBezTo>
                <a:cubicBezTo>
                  <a:pt x="303384" y="352009"/>
                  <a:pt x="299478" y="380026"/>
                  <a:pt x="298734" y="409159"/>
                </a:cubicBezTo>
                <a:lnTo>
                  <a:pt x="222534" y="409159"/>
                </a:lnTo>
                <a:cubicBezTo>
                  <a:pt x="224692" y="370426"/>
                  <a:pt x="237826" y="334708"/>
                  <a:pt x="259183" y="304974"/>
                </a:cubicBezTo>
                <a:close/>
                <a:moveTo>
                  <a:pt x="298696" y="431300"/>
                </a:moveTo>
                <a:cubicBezTo>
                  <a:pt x="299440" y="460433"/>
                  <a:pt x="303346" y="488450"/>
                  <a:pt x="310118" y="514160"/>
                </a:cubicBezTo>
                <a:cubicBezTo>
                  <a:pt x="291254" y="519778"/>
                  <a:pt x="274102" y="527034"/>
                  <a:pt x="259144" y="535479"/>
                </a:cubicBezTo>
                <a:cubicBezTo>
                  <a:pt x="237824" y="505751"/>
                  <a:pt x="224653" y="470032"/>
                  <a:pt x="222457" y="431266"/>
                </a:cubicBezTo>
                <a:close/>
                <a:moveTo>
                  <a:pt x="316518" y="535408"/>
                </a:moveTo>
                <a:cubicBezTo>
                  <a:pt x="320983" y="548356"/>
                  <a:pt x="326154" y="560634"/>
                  <a:pt x="332145" y="571796"/>
                </a:cubicBezTo>
                <a:cubicBezTo>
                  <a:pt x="339846" y="586270"/>
                  <a:pt x="348628" y="598474"/>
                  <a:pt x="358041" y="608483"/>
                </a:cubicBezTo>
                <a:cubicBezTo>
                  <a:pt x="325076" y="597544"/>
                  <a:pt x="296017" y="578196"/>
                  <a:pt x="273171" y="552970"/>
                </a:cubicBezTo>
                <a:cubicBezTo>
                  <a:pt x="285933" y="545975"/>
                  <a:pt x="300519" y="540170"/>
                  <a:pt x="316518" y="535408"/>
                </a:cubicBezTo>
                <a:close/>
                <a:moveTo>
                  <a:pt x="431266" y="614770"/>
                </a:moveTo>
                <a:lnTo>
                  <a:pt x="431266" y="521232"/>
                </a:lnTo>
                <a:cubicBezTo>
                  <a:pt x="456046" y="521902"/>
                  <a:pt x="480044" y="524841"/>
                  <a:pt x="502331" y="529789"/>
                </a:cubicBezTo>
                <a:cubicBezTo>
                  <a:pt x="486146" y="575703"/>
                  <a:pt x="460323" y="608074"/>
                  <a:pt x="431266" y="614771"/>
                </a:cubicBezTo>
                <a:close/>
                <a:moveTo>
                  <a:pt x="431266" y="499203"/>
                </a:moveTo>
                <a:lnTo>
                  <a:pt x="431266" y="431301"/>
                </a:lnTo>
                <a:lnTo>
                  <a:pt x="519669" y="431301"/>
                </a:lnTo>
                <a:cubicBezTo>
                  <a:pt x="518813" y="458834"/>
                  <a:pt x="515018" y="484916"/>
                  <a:pt x="508805" y="508543"/>
                </a:cubicBezTo>
                <a:cubicBezTo>
                  <a:pt x="484620" y="503036"/>
                  <a:pt x="458426" y="499873"/>
                  <a:pt x="431266" y="499204"/>
                </a:cubicBezTo>
                <a:close/>
                <a:moveTo>
                  <a:pt x="541660" y="431301"/>
                </a:moveTo>
                <a:lnTo>
                  <a:pt x="617860" y="431301"/>
                </a:lnTo>
                <a:cubicBezTo>
                  <a:pt x="615665" y="470070"/>
                  <a:pt x="602531" y="505789"/>
                  <a:pt x="581174" y="535514"/>
                </a:cubicBezTo>
                <a:cubicBezTo>
                  <a:pt x="566217" y="527030"/>
                  <a:pt x="549064" y="519887"/>
                  <a:pt x="530200" y="514194"/>
                </a:cubicBezTo>
                <a:cubicBezTo>
                  <a:pt x="537009" y="488447"/>
                  <a:pt x="540915" y="460430"/>
                  <a:pt x="541659" y="431297"/>
                </a:cubicBezTo>
                <a:close/>
                <a:moveTo>
                  <a:pt x="567222" y="287645"/>
                </a:moveTo>
                <a:cubicBezTo>
                  <a:pt x="554460" y="294491"/>
                  <a:pt x="539874" y="300295"/>
                  <a:pt x="523987" y="305169"/>
                </a:cubicBezTo>
                <a:cubicBezTo>
                  <a:pt x="519522" y="292220"/>
                  <a:pt x="514350" y="279943"/>
                  <a:pt x="508360" y="268780"/>
                </a:cubicBezTo>
                <a:cubicBezTo>
                  <a:pt x="500658" y="254307"/>
                  <a:pt x="491877" y="242103"/>
                  <a:pt x="482463" y="232094"/>
                </a:cubicBezTo>
                <a:cubicBezTo>
                  <a:pt x="515280" y="242995"/>
                  <a:pt x="544339" y="262418"/>
                  <a:pt x="567221" y="287644"/>
                </a:cubicBezTo>
                <a:close/>
                <a:moveTo>
                  <a:pt x="377655" y="818406"/>
                </a:moveTo>
                <a:cubicBezTo>
                  <a:pt x="371739" y="818406"/>
                  <a:pt x="366791" y="814313"/>
                  <a:pt x="365749" y="808509"/>
                </a:cubicBezTo>
                <a:lnTo>
                  <a:pt x="356893" y="759842"/>
                </a:lnTo>
                <a:cubicBezTo>
                  <a:pt x="354512" y="746708"/>
                  <a:pt x="345360" y="736587"/>
                  <a:pt x="332523" y="732978"/>
                </a:cubicBezTo>
                <a:cubicBezTo>
                  <a:pt x="307743" y="726021"/>
                  <a:pt x="283744" y="716124"/>
                  <a:pt x="261197" y="703436"/>
                </a:cubicBezTo>
                <a:cubicBezTo>
                  <a:pt x="255876" y="700385"/>
                  <a:pt x="250034" y="698971"/>
                  <a:pt x="244342" y="698971"/>
                </a:cubicBezTo>
                <a:cubicBezTo>
                  <a:pt x="237571" y="698971"/>
                  <a:pt x="230910" y="701054"/>
                  <a:pt x="224920" y="705147"/>
                </a:cubicBezTo>
                <a:lnTo>
                  <a:pt x="184253" y="733350"/>
                </a:lnTo>
                <a:cubicBezTo>
                  <a:pt x="179379" y="736773"/>
                  <a:pt x="173016" y="736215"/>
                  <a:pt x="168812" y="731936"/>
                </a:cubicBezTo>
                <a:lnTo>
                  <a:pt x="108611" y="671735"/>
                </a:lnTo>
                <a:cubicBezTo>
                  <a:pt x="104407" y="667531"/>
                  <a:pt x="103848" y="661168"/>
                  <a:pt x="107197" y="656294"/>
                </a:cubicBezTo>
                <a:lnTo>
                  <a:pt x="135400" y="615627"/>
                </a:lnTo>
                <a:cubicBezTo>
                  <a:pt x="143027" y="604576"/>
                  <a:pt x="143697" y="591071"/>
                  <a:pt x="137111" y="579350"/>
                </a:cubicBezTo>
                <a:cubicBezTo>
                  <a:pt x="124461" y="556877"/>
                  <a:pt x="114452" y="532879"/>
                  <a:pt x="107568" y="508098"/>
                </a:cubicBezTo>
                <a:cubicBezTo>
                  <a:pt x="103959" y="495224"/>
                  <a:pt x="93951" y="486109"/>
                  <a:pt x="80705" y="483728"/>
                </a:cubicBezTo>
                <a:lnTo>
                  <a:pt x="32038" y="474872"/>
                </a:lnTo>
                <a:cubicBezTo>
                  <a:pt x="26234" y="473830"/>
                  <a:pt x="22141" y="468882"/>
                  <a:pt x="22141" y="462966"/>
                </a:cubicBezTo>
                <a:lnTo>
                  <a:pt x="22141" y="377799"/>
                </a:lnTo>
                <a:cubicBezTo>
                  <a:pt x="22141" y="371883"/>
                  <a:pt x="26233" y="366935"/>
                  <a:pt x="32038" y="365893"/>
                </a:cubicBezTo>
                <a:lnTo>
                  <a:pt x="80705" y="357038"/>
                </a:lnTo>
                <a:cubicBezTo>
                  <a:pt x="93839" y="354656"/>
                  <a:pt x="103959" y="345504"/>
                  <a:pt x="107568" y="332667"/>
                </a:cubicBezTo>
                <a:cubicBezTo>
                  <a:pt x="114526" y="307887"/>
                  <a:pt x="124423" y="283889"/>
                  <a:pt x="137111" y="261341"/>
                </a:cubicBezTo>
                <a:cubicBezTo>
                  <a:pt x="143697" y="249620"/>
                  <a:pt x="143027" y="236115"/>
                  <a:pt x="135400" y="225064"/>
                </a:cubicBezTo>
                <a:lnTo>
                  <a:pt x="107197" y="184397"/>
                </a:lnTo>
                <a:cubicBezTo>
                  <a:pt x="103774" y="179523"/>
                  <a:pt x="104332" y="173160"/>
                  <a:pt x="108611" y="168956"/>
                </a:cubicBezTo>
                <a:lnTo>
                  <a:pt x="168812" y="108755"/>
                </a:lnTo>
                <a:cubicBezTo>
                  <a:pt x="173016" y="104551"/>
                  <a:pt x="179379" y="103993"/>
                  <a:pt x="184253" y="107341"/>
                </a:cubicBezTo>
                <a:lnTo>
                  <a:pt x="224920" y="135544"/>
                </a:lnTo>
                <a:cubicBezTo>
                  <a:pt x="235971" y="143171"/>
                  <a:pt x="249476" y="143841"/>
                  <a:pt x="261197" y="137255"/>
                </a:cubicBezTo>
                <a:cubicBezTo>
                  <a:pt x="283670" y="124605"/>
                  <a:pt x="307668" y="114596"/>
                  <a:pt x="332448" y="107713"/>
                </a:cubicBezTo>
                <a:cubicBezTo>
                  <a:pt x="345322" y="104104"/>
                  <a:pt x="354438" y="94095"/>
                  <a:pt x="356819" y="80849"/>
                </a:cubicBezTo>
                <a:lnTo>
                  <a:pt x="365674" y="32182"/>
                </a:lnTo>
                <a:cubicBezTo>
                  <a:pt x="366716" y="26378"/>
                  <a:pt x="371665" y="22285"/>
                  <a:pt x="377581" y="22285"/>
                </a:cubicBezTo>
                <a:lnTo>
                  <a:pt x="409095" y="22285"/>
                </a:lnTo>
                <a:lnTo>
                  <a:pt x="409095" y="200317"/>
                </a:lnTo>
                <a:cubicBezTo>
                  <a:pt x="292785" y="205935"/>
                  <a:pt x="199840" y="302415"/>
                  <a:pt x="199840" y="420249"/>
                </a:cubicBezTo>
                <a:cubicBezTo>
                  <a:pt x="199840" y="538083"/>
                  <a:pt x="292821" y="634561"/>
                  <a:pt x="409095" y="640362"/>
                </a:cubicBezTo>
                <a:lnTo>
                  <a:pt x="409095" y="818394"/>
                </a:lnTo>
                <a:close/>
                <a:moveTo>
                  <a:pt x="482354" y="608370"/>
                </a:moveTo>
                <a:cubicBezTo>
                  <a:pt x="491767" y="598473"/>
                  <a:pt x="500548" y="586270"/>
                  <a:pt x="508250" y="571684"/>
                </a:cubicBezTo>
                <a:cubicBezTo>
                  <a:pt x="514241" y="560522"/>
                  <a:pt x="519413" y="548244"/>
                  <a:pt x="523877" y="535296"/>
                </a:cubicBezTo>
                <a:cubicBezTo>
                  <a:pt x="539876" y="540058"/>
                  <a:pt x="554461" y="545974"/>
                  <a:pt x="567223" y="552820"/>
                </a:cubicBezTo>
                <a:cubicBezTo>
                  <a:pt x="544342" y="578083"/>
                  <a:pt x="515283" y="597505"/>
                  <a:pt x="482354" y="608369"/>
                </a:cubicBezTo>
                <a:close/>
                <a:moveTo>
                  <a:pt x="855429" y="444255"/>
                </a:moveTo>
                <a:cubicBezTo>
                  <a:pt x="839914" y="444255"/>
                  <a:pt x="827338" y="431604"/>
                  <a:pt x="827338" y="416163"/>
                </a:cubicBezTo>
                <a:cubicBezTo>
                  <a:pt x="827338" y="400648"/>
                  <a:pt x="839988" y="388072"/>
                  <a:pt x="855429" y="388072"/>
                </a:cubicBezTo>
                <a:cubicBezTo>
                  <a:pt x="870944" y="388072"/>
                  <a:pt x="883520" y="400722"/>
                  <a:pt x="883520" y="416163"/>
                </a:cubicBezTo>
                <a:cubicBezTo>
                  <a:pt x="883520" y="431679"/>
                  <a:pt x="870944" y="444255"/>
                  <a:pt x="855429" y="444255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249132A-8871-8937-F5E0-CA03AD2925D0}"/>
              </a:ext>
            </a:extLst>
          </p:cNvPr>
          <p:cNvSpPr/>
          <p:nvPr/>
        </p:nvSpPr>
        <p:spPr>
          <a:xfrm>
            <a:off x="663053" y="3443748"/>
            <a:ext cx="261584" cy="242764"/>
          </a:xfrm>
          <a:custGeom>
            <a:avLst/>
            <a:gdLst>
              <a:gd name="connsiteX0" fmla="*/ 556289 w 857221"/>
              <a:gd name="connsiteY0" fmla="*/ 325927 h 795547"/>
              <a:gd name="connsiteX1" fmla="*/ 612848 w 857221"/>
              <a:gd name="connsiteY1" fmla="*/ 382486 h 795547"/>
              <a:gd name="connsiteX2" fmla="*/ 637965 w 857221"/>
              <a:gd name="connsiteY2" fmla="*/ 382486 h 795547"/>
              <a:gd name="connsiteX3" fmla="*/ 658178 w 857221"/>
              <a:gd name="connsiteY3" fmla="*/ 362274 h 795547"/>
              <a:gd name="connsiteX4" fmla="*/ 576501 w 857221"/>
              <a:gd name="connsiteY4" fmla="*/ 280597 h 795547"/>
              <a:gd name="connsiteX5" fmla="*/ 555174 w 857221"/>
              <a:gd name="connsiteY5" fmla="*/ 302029 h 795547"/>
              <a:gd name="connsiteX6" fmla="*/ 556279 w 857221"/>
              <a:gd name="connsiteY6" fmla="*/ 325927 h 795547"/>
              <a:gd name="connsiteX7" fmla="*/ 556279 w 857221"/>
              <a:gd name="connsiteY7" fmla="*/ 325927 h 795547"/>
              <a:gd name="connsiteX8" fmla="*/ 469935 w 857221"/>
              <a:gd name="connsiteY8" fmla="*/ 525409 h 795547"/>
              <a:gd name="connsiteX9" fmla="*/ 413376 w 857221"/>
              <a:gd name="connsiteY9" fmla="*/ 468849 h 795547"/>
              <a:gd name="connsiteX10" fmla="*/ 388258 w 857221"/>
              <a:gd name="connsiteY10" fmla="*/ 468849 h 795547"/>
              <a:gd name="connsiteX11" fmla="*/ 368046 w 857221"/>
              <a:gd name="connsiteY11" fmla="*/ 489062 h 795547"/>
              <a:gd name="connsiteX12" fmla="*/ 449723 w 857221"/>
              <a:gd name="connsiteY12" fmla="*/ 570738 h 795547"/>
              <a:gd name="connsiteX13" fmla="*/ 469935 w 857221"/>
              <a:gd name="connsiteY13" fmla="*/ 550526 h 795547"/>
              <a:gd name="connsiteX14" fmla="*/ 469935 w 857221"/>
              <a:gd name="connsiteY14" fmla="*/ 525409 h 795547"/>
              <a:gd name="connsiteX15" fmla="*/ 469935 w 857221"/>
              <a:gd name="connsiteY15" fmla="*/ 525409 h 795547"/>
              <a:gd name="connsiteX16" fmla="*/ 438836 w 857221"/>
              <a:gd name="connsiteY16" fmla="*/ 462039 h 795547"/>
              <a:gd name="connsiteX17" fmla="*/ 549554 w 857221"/>
              <a:gd name="connsiteY17" fmla="*/ 351444 h 795547"/>
              <a:gd name="connsiteX18" fmla="*/ 587340 w 857221"/>
              <a:gd name="connsiteY18" fmla="*/ 389230 h 795547"/>
              <a:gd name="connsiteX19" fmla="*/ 476745 w 857221"/>
              <a:gd name="connsiteY19" fmla="*/ 499949 h 795547"/>
              <a:gd name="connsiteX20" fmla="*/ 438836 w 857221"/>
              <a:gd name="connsiteY20" fmla="*/ 462049 h 795547"/>
              <a:gd name="connsiteX21" fmla="*/ 438836 w 857221"/>
              <a:gd name="connsiteY21" fmla="*/ 462049 h 795547"/>
              <a:gd name="connsiteX22" fmla="*/ 156696 w 857221"/>
              <a:gd name="connsiteY22" fmla="*/ 166593 h 795547"/>
              <a:gd name="connsiteX23" fmla="*/ 168107 w 857221"/>
              <a:gd name="connsiteY23" fmla="*/ 155182 h 795547"/>
              <a:gd name="connsiteX24" fmla="*/ 179518 w 857221"/>
              <a:gd name="connsiteY24" fmla="*/ 166593 h 795547"/>
              <a:gd name="connsiteX25" fmla="*/ 179518 w 857221"/>
              <a:gd name="connsiteY25" fmla="*/ 168936 h 795547"/>
              <a:gd name="connsiteX26" fmla="*/ 204073 w 857221"/>
              <a:gd name="connsiteY26" fmla="*/ 202073 h 795547"/>
              <a:gd name="connsiteX27" fmla="*/ 192662 w 857221"/>
              <a:gd name="connsiteY27" fmla="*/ 213484 h 795547"/>
              <a:gd name="connsiteX28" fmla="*/ 181251 w 857221"/>
              <a:gd name="connsiteY28" fmla="*/ 202073 h 795547"/>
              <a:gd name="connsiteX29" fmla="*/ 158620 w 857221"/>
              <a:gd name="connsiteY29" fmla="*/ 193634 h 795547"/>
              <a:gd name="connsiteX30" fmla="*/ 168097 w 857221"/>
              <a:gd name="connsiteY30" fmla="*/ 214208 h 795547"/>
              <a:gd name="connsiteX31" fmla="*/ 193348 w 857221"/>
              <a:gd name="connsiteY31" fmla="*/ 273997 h 795547"/>
              <a:gd name="connsiteX32" fmla="*/ 179499 w 857221"/>
              <a:gd name="connsiteY32" fmla="*/ 282293 h 795547"/>
              <a:gd name="connsiteX33" fmla="*/ 179499 w 857221"/>
              <a:gd name="connsiteY33" fmla="*/ 284636 h 795547"/>
              <a:gd name="connsiteX34" fmla="*/ 168088 w 857221"/>
              <a:gd name="connsiteY34" fmla="*/ 296047 h 795547"/>
              <a:gd name="connsiteX35" fmla="*/ 156677 w 857221"/>
              <a:gd name="connsiteY35" fmla="*/ 284636 h 795547"/>
              <a:gd name="connsiteX36" fmla="*/ 156677 w 857221"/>
              <a:gd name="connsiteY36" fmla="*/ 282293 h 795547"/>
              <a:gd name="connsiteX37" fmla="*/ 132121 w 857221"/>
              <a:gd name="connsiteY37" fmla="*/ 249155 h 795547"/>
              <a:gd name="connsiteX38" fmla="*/ 143532 w 857221"/>
              <a:gd name="connsiteY38" fmla="*/ 237744 h 795547"/>
              <a:gd name="connsiteX39" fmla="*/ 154943 w 857221"/>
              <a:gd name="connsiteY39" fmla="*/ 249155 h 795547"/>
              <a:gd name="connsiteX40" fmla="*/ 177575 w 857221"/>
              <a:gd name="connsiteY40" fmla="*/ 257594 h 795547"/>
              <a:gd name="connsiteX41" fmla="*/ 168097 w 857221"/>
              <a:gd name="connsiteY41" fmla="*/ 237020 h 795547"/>
              <a:gd name="connsiteX42" fmla="*/ 142846 w 857221"/>
              <a:gd name="connsiteY42" fmla="*/ 177232 h 795547"/>
              <a:gd name="connsiteX43" fmla="*/ 156696 w 857221"/>
              <a:gd name="connsiteY43" fmla="*/ 168936 h 795547"/>
              <a:gd name="connsiteX44" fmla="*/ 156696 w 857221"/>
              <a:gd name="connsiteY44" fmla="*/ 166593 h 795547"/>
              <a:gd name="connsiteX45" fmla="*/ 156696 w 857221"/>
              <a:gd name="connsiteY45" fmla="*/ 166593 h 795547"/>
              <a:gd name="connsiteX46" fmla="*/ 226076 w 857221"/>
              <a:gd name="connsiteY46" fmla="*/ 167631 h 795547"/>
              <a:gd name="connsiteX47" fmla="*/ 110128 w 857221"/>
              <a:gd name="connsiteY47" fmla="*/ 167631 h 795547"/>
              <a:gd name="connsiteX48" fmla="*/ 110128 w 857221"/>
              <a:gd name="connsiteY48" fmla="*/ 283579 h 795547"/>
              <a:gd name="connsiteX49" fmla="*/ 226076 w 857221"/>
              <a:gd name="connsiteY49" fmla="*/ 283579 h 795547"/>
              <a:gd name="connsiteX50" fmla="*/ 226076 w 857221"/>
              <a:gd name="connsiteY50" fmla="*/ 167631 h 795547"/>
              <a:gd name="connsiteX51" fmla="*/ 226076 w 857221"/>
              <a:gd name="connsiteY51" fmla="*/ 167631 h 795547"/>
              <a:gd name="connsiteX52" fmla="*/ 168107 w 857221"/>
              <a:gd name="connsiteY52" fmla="*/ 120806 h 795547"/>
              <a:gd name="connsiteX53" fmla="*/ 63303 w 857221"/>
              <a:gd name="connsiteY53" fmla="*/ 225600 h 795547"/>
              <a:gd name="connsiteX54" fmla="*/ 168107 w 857221"/>
              <a:gd name="connsiteY54" fmla="*/ 330404 h 795547"/>
              <a:gd name="connsiteX55" fmla="*/ 272910 w 857221"/>
              <a:gd name="connsiteY55" fmla="*/ 225600 h 795547"/>
              <a:gd name="connsiteX56" fmla="*/ 168107 w 857221"/>
              <a:gd name="connsiteY56" fmla="*/ 120806 h 795547"/>
              <a:gd name="connsiteX57" fmla="*/ 168107 w 857221"/>
              <a:gd name="connsiteY57" fmla="*/ 120806 h 795547"/>
              <a:gd name="connsiteX58" fmla="*/ 85468 w 857221"/>
              <a:gd name="connsiteY58" fmla="*/ 591436 h 795547"/>
              <a:gd name="connsiteX59" fmla="*/ 70275 w 857221"/>
              <a:gd name="connsiteY59" fmla="*/ 596827 h 795547"/>
              <a:gd name="connsiteX60" fmla="*/ 64884 w 857221"/>
              <a:gd name="connsiteY60" fmla="*/ 581635 h 795547"/>
              <a:gd name="connsiteX61" fmla="*/ 142037 w 857221"/>
              <a:gd name="connsiteY61" fmla="*/ 580273 h 795547"/>
              <a:gd name="connsiteX62" fmla="*/ 154829 w 857221"/>
              <a:gd name="connsiteY62" fmla="*/ 572186 h 795547"/>
              <a:gd name="connsiteX63" fmla="*/ 169107 w 857221"/>
              <a:gd name="connsiteY63" fmla="*/ 573939 h 795547"/>
              <a:gd name="connsiteX64" fmla="*/ 179403 w 857221"/>
              <a:gd name="connsiteY64" fmla="*/ 584388 h 795547"/>
              <a:gd name="connsiteX65" fmla="*/ 191767 w 857221"/>
              <a:gd name="connsiteY65" fmla="*/ 575787 h 795547"/>
              <a:gd name="connsiteX66" fmla="*/ 204330 w 857221"/>
              <a:gd name="connsiteY66" fmla="*/ 575491 h 795547"/>
              <a:gd name="connsiteX67" fmla="*/ 207312 w 857221"/>
              <a:gd name="connsiteY67" fmla="*/ 560166 h 795547"/>
              <a:gd name="connsiteX68" fmla="*/ 228381 w 857221"/>
              <a:gd name="connsiteY68" fmla="*/ 556651 h 795547"/>
              <a:gd name="connsiteX69" fmla="*/ 252355 w 857221"/>
              <a:gd name="connsiteY69" fmla="*/ 598437 h 795547"/>
              <a:gd name="connsiteX70" fmla="*/ 248126 w 857221"/>
              <a:gd name="connsiteY70" fmla="*/ 613991 h 795547"/>
              <a:gd name="connsiteX71" fmla="*/ 232572 w 857221"/>
              <a:gd name="connsiteY71" fmla="*/ 609762 h 795547"/>
              <a:gd name="connsiteX72" fmla="*/ 223828 w 857221"/>
              <a:gd name="connsiteY72" fmla="*/ 594522 h 795547"/>
              <a:gd name="connsiteX73" fmla="*/ 222018 w 857221"/>
              <a:gd name="connsiteY73" fmla="*/ 603800 h 795547"/>
              <a:gd name="connsiteX74" fmla="*/ 201720 w 857221"/>
              <a:gd name="connsiteY74" fmla="*/ 608657 h 795547"/>
              <a:gd name="connsiteX75" fmla="*/ 195777 w 857221"/>
              <a:gd name="connsiteY75" fmla="*/ 600780 h 795547"/>
              <a:gd name="connsiteX76" fmla="*/ 184537 w 857221"/>
              <a:gd name="connsiteY76" fmla="*/ 608581 h 795547"/>
              <a:gd name="connsiteX77" fmla="*/ 169936 w 857221"/>
              <a:gd name="connsiteY77" fmla="*/ 607219 h 795547"/>
              <a:gd name="connsiteX78" fmla="*/ 159220 w 857221"/>
              <a:gd name="connsiteY78" fmla="*/ 596351 h 795547"/>
              <a:gd name="connsiteX79" fmla="*/ 138598 w 857221"/>
              <a:gd name="connsiteY79" fmla="*/ 609372 h 795547"/>
              <a:gd name="connsiteX80" fmla="*/ 121177 w 857221"/>
              <a:gd name="connsiteY80" fmla="*/ 599580 h 795547"/>
              <a:gd name="connsiteX81" fmla="*/ 109099 w 857221"/>
              <a:gd name="connsiteY81" fmla="*/ 569176 h 795547"/>
              <a:gd name="connsiteX82" fmla="*/ 85477 w 857221"/>
              <a:gd name="connsiteY82" fmla="*/ 591455 h 795547"/>
              <a:gd name="connsiteX83" fmla="*/ 85477 w 857221"/>
              <a:gd name="connsiteY83" fmla="*/ 591455 h 795547"/>
              <a:gd name="connsiteX84" fmla="*/ 75171 w 857221"/>
              <a:gd name="connsiteY84" fmla="*/ 655949 h 795547"/>
              <a:gd name="connsiteX85" fmla="*/ 63760 w 857221"/>
              <a:gd name="connsiteY85" fmla="*/ 644538 h 795547"/>
              <a:gd name="connsiteX86" fmla="*/ 75171 w 857221"/>
              <a:gd name="connsiteY86" fmla="*/ 633127 h 795547"/>
              <a:gd name="connsiteX87" fmla="*/ 242440 w 857221"/>
              <a:gd name="connsiteY87" fmla="*/ 633127 h 795547"/>
              <a:gd name="connsiteX88" fmla="*/ 253851 w 857221"/>
              <a:gd name="connsiteY88" fmla="*/ 644538 h 795547"/>
              <a:gd name="connsiteX89" fmla="*/ 242440 w 857221"/>
              <a:gd name="connsiteY89" fmla="*/ 655949 h 795547"/>
              <a:gd name="connsiteX90" fmla="*/ 75162 w 857221"/>
              <a:gd name="connsiteY90" fmla="*/ 655949 h 795547"/>
              <a:gd name="connsiteX91" fmla="*/ 446656 w 857221"/>
              <a:gd name="connsiteY91" fmla="*/ 689296 h 795547"/>
              <a:gd name="connsiteX92" fmla="*/ 283283 w 857221"/>
              <a:gd name="connsiteY92" fmla="*/ 689296 h 795547"/>
              <a:gd name="connsiteX93" fmla="*/ 260509 w 857221"/>
              <a:gd name="connsiteY93" fmla="*/ 712070 h 795547"/>
              <a:gd name="connsiteX94" fmla="*/ 260509 w 857221"/>
              <a:gd name="connsiteY94" fmla="*/ 738512 h 795547"/>
              <a:gd name="connsiteX95" fmla="*/ 469421 w 857221"/>
              <a:gd name="connsiteY95" fmla="*/ 738512 h 795547"/>
              <a:gd name="connsiteX96" fmla="*/ 469421 w 857221"/>
              <a:gd name="connsiteY96" fmla="*/ 712070 h 795547"/>
              <a:gd name="connsiteX97" fmla="*/ 446646 w 857221"/>
              <a:gd name="connsiteY97" fmla="*/ 689296 h 795547"/>
              <a:gd name="connsiteX98" fmla="*/ 446646 w 857221"/>
              <a:gd name="connsiteY98" fmla="*/ 689296 h 795547"/>
              <a:gd name="connsiteX99" fmla="*/ 440522 w 857221"/>
              <a:gd name="connsiteY99" fmla="*/ 666484 h 795547"/>
              <a:gd name="connsiteX100" fmla="*/ 440522 w 857221"/>
              <a:gd name="connsiteY100" fmla="*/ 635813 h 795547"/>
              <a:gd name="connsiteX101" fmla="*/ 429149 w 857221"/>
              <a:gd name="connsiteY101" fmla="*/ 624440 h 795547"/>
              <a:gd name="connsiteX102" fmla="*/ 300800 w 857221"/>
              <a:gd name="connsiteY102" fmla="*/ 624440 h 795547"/>
              <a:gd name="connsiteX103" fmla="*/ 289427 w 857221"/>
              <a:gd name="connsiteY103" fmla="*/ 635813 h 795547"/>
              <a:gd name="connsiteX104" fmla="*/ 289427 w 857221"/>
              <a:gd name="connsiteY104" fmla="*/ 666484 h 795547"/>
              <a:gd name="connsiteX105" fmla="*/ 440531 w 857221"/>
              <a:gd name="connsiteY105" fmla="*/ 666484 h 795547"/>
              <a:gd name="connsiteX106" fmla="*/ 615553 w 857221"/>
              <a:gd name="connsiteY106" fmla="*/ 463896 h 795547"/>
              <a:gd name="connsiteX107" fmla="*/ 615553 w 857221"/>
              <a:gd name="connsiteY107" fmla="*/ 409271 h 795547"/>
              <a:gd name="connsiteX108" fmla="*/ 604590 w 857221"/>
              <a:gd name="connsiteY108" fmla="*/ 404756 h 795547"/>
              <a:gd name="connsiteX109" fmla="*/ 576358 w 857221"/>
              <a:gd name="connsiteY109" fmla="*/ 427168 h 795547"/>
              <a:gd name="connsiteX110" fmla="*/ 615553 w 857221"/>
              <a:gd name="connsiteY110" fmla="*/ 463887 h 795547"/>
              <a:gd name="connsiteX111" fmla="*/ 615553 w 857221"/>
              <a:gd name="connsiteY111" fmla="*/ 463887 h 795547"/>
              <a:gd name="connsiteX112" fmla="*/ 559289 w 857221"/>
              <a:gd name="connsiteY112" fmla="*/ 442370 h 795547"/>
              <a:gd name="connsiteX113" fmla="*/ 529876 w 857221"/>
              <a:gd name="connsiteY113" fmla="*/ 471926 h 795547"/>
              <a:gd name="connsiteX114" fmla="*/ 782869 w 857221"/>
              <a:gd name="connsiteY114" fmla="*/ 741941 h 795547"/>
              <a:gd name="connsiteX115" fmla="*/ 796700 w 857221"/>
              <a:gd name="connsiteY115" fmla="*/ 745627 h 795547"/>
              <a:gd name="connsiteX116" fmla="*/ 833057 w 857221"/>
              <a:gd name="connsiteY116" fmla="*/ 709270 h 795547"/>
              <a:gd name="connsiteX117" fmla="*/ 829370 w 857221"/>
              <a:gd name="connsiteY117" fmla="*/ 695440 h 795547"/>
              <a:gd name="connsiteX118" fmla="*/ 559279 w 857221"/>
              <a:gd name="connsiteY118" fmla="*/ 442379 h 795547"/>
              <a:gd name="connsiteX119" fmla="*/ 559279 w 857221"/>
              <a:gd name="connsiteY119" fmla="*/ 442379 h 795547"/>
              <a:gd name="connsiteX120" fmla="*/ 615553 w 857221"/>
              <a:gd name="connsiteY120" fmla="*/ 287379 h 795547"/>
              <a:gd name="connsiteX121" fmla="*/ 584578 w 857221"/>
              <a:gd name="connsiteY121" fmla="*/ 256404 h 795547"/>
              <a:gd name="connsiteX122" fmla="*/ 568443 w 857221"/>
              <a:gd name="connsiteY122" fmla="*/ 256404 h 795547"/>
              <a:gd name="connsiteX123" fmla="*/ 557794 w 857221"/>
              <a:gd name="connsiteY123" fmla="*/ 267053 h 795547"/>
              <a:gd name="connsiteX124" fmla="*/ 557794 w 857221"/>
              <a:gd name="connsiteY124" fmla="*/ 103394 h 795547"/>
              <a:gd name="connsiteX125" fmla="*/ 605219 w 857221"/>
              <a:gd name="connsiteY125" fmla="*/ 103394 h 795547"/>
              <a:gd name="connsiteX126" fmla="*/ 615544 w 857221"/>
              <a:gd name="connsiteY126" fmla="*/ 113719 h 795547"/>
              <a:gd name="connsiteX127" fmla="*/ 615544 w 857221"/>
              <a:gd name="connsiteY127" fmla="*/ 287379 h 795547"/>
              <a:gd name="connsiteX128" fmla="*/ 615544 w 857221"/>
              <a:gd name="connsiteY128" fmla="*/ 287379 h 795547"/>
              <a:gd name="connsiteX129" fmla="*/ 38957 w 857221"/>
              <a:gd name="connsiteY129" fmla="*/ 92260 h 795547"/>
              <a:gd name="connsiteX130" fmla="*/ 81944 w 857221"/>
              <a:gd name="connsiteY130" fmla="*/ 92260 h 795547"/>
              <a:gd name="connsiteX131" fmla="*/ 92269 w 857221"/>
              <a:gd name="connsiteY131" fmla="*/ 81934 h 795547"/>
              <a:gd name="connsiteX132" fmla="*/ 92269 w 857221"/>
              <a:gd name="connsiteY132" fmla="*/ 38948 h 795547"/>
              <a:gd name="connsiteX133" fmla="*/ 38957 w 857221"/>
              <a:gd name="connsiteY133" fmla="*/ 92260 h 795547"/>
              <a:gd name="connsiteX134" fmla="*/ 38957 w 857221"/>
              <a:gd name="connsiteY134" fmla="*/ 92260 h 795547"/>
              <a:gd name="connsiteX135" fmla="*/ 638366 w 857221"/>
              <a:gd name="connsiteY135" fmla="*/ 762334 h 795547"/>
              <a:gd name="connsiteX136" fmla="*/ 605219 w 857221"/>
              <a:gd name="connsiteY136" fmla="*/ 795547 h 795547"/>
              <a:gd name="connsiteX137" fmla="*/ 113719 w 857221"/>
              <a:gd name="connsiteY137" fmla="*/ 795547 h 795547"/>
              <a:gd name="connsiteX138" fmla="*/ 80572 w 857221"/>
              <a:gd name="connsiteY138" fmla="*/ 762400 h 795547"/>
              <a:gd name="connsiteX139" fmla="*/ 80572 w 857221"/>
              <a:gd name="connsiteY139" fmla="*/ 714976 h 795547"/>
              <a:gd name="connsiteX140" fmla="*/ 33147 w 857221"/>
              <a:gd name="connsiteY140" fmla="*/ 714976 h 795547"/>
              <a:gd name="connsiteX141" fmla="*/ 0 w 857221"/>
              <a:gd name="connsiteY141" fmla="*/ 681828 h 795547"/>
              <a:gd name="connsiteX142" fmla="*/ 0 w 857221"/>
              <a:gd name="connsiteY142" fmla="*/ 103661 h 795547"/>
              <a:gd name="connsiteX143" fmla="*/ 3410 w 857221"/>
              <a:gd name="connsiteY143" fmla="*/ 95527 h 795547"/>
              <a:gd name="connsiteX144" fmla="*/ 97155 w 857221"/>
              <a:gd name="connsiteY144" fmla="*/ 2039 h 795547"/>
              <a:gd name="connsiteX145" fmla="*/ 103813 w 857221"/>
              <a:gd name="connsiteY145" fmla="*/ 0 h 795547"/>
              <a:gd name="connsiteX146" fmla="*/ 524647 w 857221"/>
              <a:gd name="connsiteY146" fmla="*/ 0 h 795547"/>
              <a:gd name="connsiteX147" fmla="*/ 557794 w 857221"/>
              <a:gd name="connsiteY147" fmla="*/ 33147 h 795547"/>
              <a:gd name="connsiteX148" fmla="*/ 557794 w 857221"/>
              <a:gd name="connsiteY148" fmla="*/ 80572 h 795547"/>
              <a:gd name="connsiteX149" fmla="*/ 605219 w 857221"/>
              <a:gd name="connsiteY149" fmla="*/ 80572 h 795547"/>
              <a:gd name="connsiteX150" fmla="*/ 638366 w 857221"/>
              <a:gd name="connsiteY150" fmla="*/ 113719 h 795547"/>
              <a:gd name="connsiteX151" fmla="*/ 638366 w 857221"/>
              <a:gd name="connsiteY151" fmla="*/ 310192 h 795547"/>
              <a:gd name="connsiteX152" fmla="*/ 682381 w 857221"/>
              <a:gd name="connsiteY152" fmla="*/ 354207 h 795547"/>
              <a:gd name="connsiteX153" fmla="*/ 682381 w 857221"/>
              <a:gd name="connsiteY153" fmla="*/ 370342 h 795547"/>
              <a:gd name="connsiteX154" fmla="*/ 654101 w 857221"/>
              <a:gd name="connsiteY154" fmla="*/ 398622 h 795547"/>
              <a:gd name="connsiteX155" fmla="*/ 638366 w 857221"/>
              <a:gd name="connsiteY155" fmla="*/ 408366 h 795547"/>
              <a:gd name="connsiteX156" fmla="*/ 638366 w 857221"/>
              <a:gd name="connsiteY156" fmla="*/ 485271 h 795547"/>
              <a:gd name="connsiteX157" fmla="*/ 844972 w 857221"/>
              <a:gd name="connsiteY157" fmla="*/ 678847 h 795547"/>
              <a:gd name="connsiteX158" fmla="*/ 849192 w 857221"/>
              <a:gd name="connsiteY158" fmla="*/ 725386 h 795547"/>
              <a:gd name="connsiteX159" fmla="*/ 812835 w 857221"/>
              <a:gd name="connsiteY159" fmla="*/ 761743 h 795547"/>
              <a:gd name="connsiteX160" fmla="*/ 766296 w 857221"/>
              <a:gd name="connsiteY160" fmla="*/ 757524 h 795547"/>
              <a:gd name="connsiteX161" fmla="*/ 638366 w 857221"/>
              <a:gd name="connsiteY161" fmla="*/ 620992 h 795547"/>
              <a:gd name="connsiteX162" fmla="*/ 638366 w 857221"/>
              <a:gd name="connsiteY162" fmla="*/ 762334 h 795547"/>
              <a:gd name="connsiteX163" fmla="*/ 638366 w 857221"/>
              <a:gd name="connsiteY163" fmla="*/ 762334 h 795547"/>
              <a:gd name="connsiteX164" fmla="*/ 524647 w 857221"/>
              <a:gd name="connsiteY164" fmla="*/ 692163 h 795547"/>
              <a:gd name="connsiteX165" fmla="*/ 487651 w 857221"/>
              <a:gd name="connsiteY165" fmla="*/ 692163 h 795547"/>
              <a:gd name="connsiteX166" fmla="*/ 463334 w 857221"/>
              <a:gd name="connsiteY166" fmla="*/ 669636 h 795547"/>
              <a:gd name="connsiteX167" fmla="*/ 463334 w 857221"/>
              <a:gd name="connsiteY167" fmla="*/ 635804 h 795547"/>
              <a:gd name="connsiteX168" fmla="*/ 429139 w 857221"/>
              <a:gd name="connsiteY168" fmla="*/ 601609 h 795547"/>
              <a:gd name="connsiteX169" fmla="*/ 300790 w 857221"/>
              <a:gd name="connsiteY169" fmla="*/ 601609 h 795547"/>
              <a:gd name="connsiteX170" fmla="*/ 266595 w 857221"/>
              <a:gd name="connsiteY170" fmla="*/ 635804 h 795547"/>
              <a:gd name="connsiteX171" fmla="*/ 266595 w 857221"/>
              <a:gd name="connsiteY171" fmla="*/ 669636 h 795547"/>
              <a:gd name="connsiteX172" fmla="*/ 242278 w 857221"/>
              <a:gd name="connsiteY172" fmla="*/ 692163 h 795547"/>
              <a:gd name="connsiteX173" fmla="*/ 33147 w 857221"/>
              <a:gd name="connsiteY173" fmla="*/ 692163 h 795547"/>
              <a:gd name="connsiteX174" fmla="*/ 22822 w 857221"/>
              <a:gd name="connsiteY174" fmla="*/ 681838 h 795547"/>
              <a:gd name="connsiteX175" fmla="*/ 22822 w 857221"/>
              <a:gd name="connsiteY175" fmla="*/ 115072 h 795547"/>
              <a:gd name="connsiteX176" fmla="*/ 81934 w 857221"/>
              <a:gd name="connsiteY176" fmla="*/ 115072 h 795547"/>
              <a:gd name="connsiteX177" fmla="*/ 115081 w 857221"/>
              <a:gd name="connsiteY177" fmla="*/ 81925 h 795547"/>
              <a:gd name="connsiteX178" fmla="*/ 115081 w 857221"/>
              <a:gd name="connsiteY178" fmla="*/ 22813 h 795547"/>
              <a:gd name="connsiteX179" fmla="*/ 524647 w 857221"/>
              <a:gd name="connsiteY179" fmla="*/ 22813 h 795547"/>
              <a:gd name="connsiteX180" fmla="*/ 534972 w 857221"/>
              <a:gd name="connsiteY180" fmla="*/ 33138 h 795547"/>
              <a:gd name="connsiteX181" fmla="*/ 534972 w 857221"/>
              <a:gd name="connsiteY181" fmla="*/ 291027 h 795547"/>
              <a:gd name="connsiteX182" fmla="*/ 528304 w 857221"/>
              <a:gd name="connsiteY182" fmla="*/ 313363 h 795547"/>
              <a:gd name="connsiteX183" fmla="*/ 534019 w 857221"/>
              <a:gd name="connsiteY183" fmla="*/ 334185 h 795547"/>
              <a:gd name="connsiteX184" fmla="*/ 421548 w 857221"/>
              <a:gd name="connsiteY184" fmla="*/ 446532 h 795547"/>
              <a:gd name="connsiteX185" fmla="*/ 372113 w 857221"/>
              <a:gd name="connsiteY185" fmla="*/ 452714 h 795547"/>
              <a:gd name="connsiteX186" fmla="*/ 343833 w 857221"/>
              <a:gd name="connsiteY186" fmla="*/ 480994 h 795547"/>
              <a:gd name="connsiteX187" fmla="*/ 343833 w 857221"/>
              <a:gd name="connsiteY187" fmla="*/ 497129 h 795547"/>
              <a:gd name="connsiteX188" fmla="*/ 441646 w 857221"/>
              <a:gd name="connsiteY188" fmla="*/ 594941 h 795547"/>
              <a:gd name="connsiteX189" fmla="*/ 457781 w 857221"/>
              <a:gd name="connsiteY189" fmla="*/ 594941 h 795547"/>
              <a:gd name="connsiteX190" fmla="*/ 486061 w 857221"/>
              <a:gd name="connsiteY190" fmla="*/ 566662 h 795547"/>
              <a:gd name="connsiteX191" fmla="*/ 492242 w 857221"/>
              <a:gd name="connsiteY191" fmla="*/ 517227 h 795547"/>
              <a:gd name="connsiteX192" fmla="*/ 514722 w 857221"/>
              <a:gd name="connsiteY192" fmla="*/ 489042 h 795547"/>
              <a:gd name="connsiteX193" fmla="*/ 534972 w 857221"/>
              <a:gd name="connsiteY193" fmla="*/ 510655 h 795547"/>
              <a:gd name="connsiteX194" fmla="*/ 534972 w 857221"/>
              <a:gd name="connsiteY194" fmla="*/ 681838 h 795547"/>
              <a:gd name="connsiteX195" fmla="*/ 524647 w 857221"/>
              <a:gd name="connsiteY195" fmla="*/ 692163 h 795547"/>
              <a:gd name="connsiteX196" fmla="*/ 524647 w 857221"/>
              <a:gd name="connsiteY196" fmla="*/ 692163 h 795547"/>
              <a:gd name="connsiteX197" fmla="*/ 557794 w 857221"/>
              <a:gd name="connsiteY197" fmla="*/ 598037 h 795547"/>
              <a:gd name="connsiteX198" fmla="*/ 557794 w 857221"/>
              <a:gd name="connsiteY198" fmla="*/ 535001 h 795547"/>
              <a:gd name="connsiteX199" fmla="*/ 615553 w 857221"/>
              <a:gd name="connsiteY199" fmla="*/ 596646 h 795547"/>
              <a:gd name="connsiteX200" fmla="*/ 615553 w 857221"/>
              <a:gd name="connsiteY200" fmla="*/ 762410 h 795547"/>
              <a:gd name="connsiteX201" fmla="*/ 605228 w 857221"/>
              <a:gd name="connsiteY201" fmla="*/ 772735 h 795547"/>
              <a:gd name="connsiteX202" fmla="*/ 113719 w 857221"/>
              <a:gd name="connsiteY202" fmla="*/ 772735 h 795547"/>
              <a:gd name="connsiteX203" fmla="*/ 103394 w 857221"/>
              <a:gd name="connsiteY203" fmla="*/ 762410 h 795547"/>
              <a:gd name="connsiteX204" fmla="*/ 103394 w 857221"/>
              <a:gd name="connsiteY204" fmla="*/ 714985 h 795547"/>
              <a:gd name="connsiteX205" fmla="*/ 237687 w 857221"/>
              <a:gd name="connsiteY205" fmla="*/ 714985 h 795547"/>
              <a:gd name="connsiteX206" fmla="*/ 237687 w 857221"/>
              <a:gd name="connsiteY206" fmla="*/ 749913 h 795547"/>
              <a:gd name="connsiteX207" fmla="*/ 249098 w 857221"/>
              <a:gd name="connsiteY207" fmla="*/ 761324 h 795547"/>
              <a:gd name="connsiteX208" fmla="*/ 480822 w 857221"/>
              <a:gd name="connsiteY208" fmla="*/ 761324 h 795547"/>
              <a:gd name="connsiteX209" fmla="*/ 492233 w 857221"/>
              <a:gd name="connsiteY209" fmla="*/ 749913 h 795547"/>
              <a:gd name="connsiteX210" fmla="*/ 492233 w 857221"/>
              <a:gd name="connsiteY210" fmla="*/ 714985 h 795547"/>
              <a:gd name="connsiteX211" fmla="*/ 524647 w 857221"/>
              <a:gd name="connsiteY211" fmla="*/ 714985 h 795547"/>
              <a:gd name="connsiteX212" fmla="*/ 557794 w 857221"/>
              <a:gd name="connsiteY212" fmla="*/ 681838 h 795547"/>
              <a:gd name="connsiteX213" fmla="*/ 557794 w 857221"/>
              <a:gd name="connsiteY213" fmla="*/ 598037 h 795547"/>
              <a:gd name="connsiteX214" fmla="*/ 557794 w 857221"/>
              <a:gd name="connsiteY214" fmla="*/ 598037 h 795547"/>
              <a:gd name="connsiteX215" fmla="*/ 296618 w 857221"/>
              <a:gd name="connsiteY215" fmla="*/ 161249 h 795547"/>
              <a:gd name="connsiteX216" fmla="*/ 486566 w 857221"/>
              <a:gd name="connsiteY216" fmla="*/ 161249 h 795547"/>
              <a:gd name="connsiteX217" fmla="*/ 497977 w 857221"/>
              <a:gd name="connsiteY217" fmla="*/ 149838 h 795547"/>
              <a:gd name="connsiteX218" fmla="*/ 486566 w 857221"/>
              <a:gd name="connsiteY218" fmla="*/ 138427 h 795547"/>
              <a:gd name="connsiteX219" fmla="*/ 296618 w 857221"/>
              <a:gd name="connsiteY219" fmla="*/ 138427 h 795547"/>
              <a:gd name="connsiteX220" fmla="*/ 285207 w 857221"/>
              <a:gd name="connsiteY220" fmla="*/ 149838 h 795547"/>
              <a:gd name="connsiteX221" fmla="*/ 296618 w 857221"/>
              <a:gd name="connsiteY221" fmla="*/ 161249 h 795547"/>
              <a:gd name="connsiteX222" fmla="*/ 296618 w 857221"/>
              <a:gd name="connsiteY222" fmla="*/ 161249 h 795547"/>
              <a:gd name="connsiteX223" fmla="*/ 296618 w 857221"/>
              <a:gd name="connsiteY223" fmla="*/ 286274 h 795547"/>
              <a:gd name="connsiteX224" fmla="*/ 448742 w 857221"/>
              <a:gd name="connsiteY224" fmla="*/ 286274 h 795547"/>
              <a:gd name="connsiteX225" fmla="*/ 460153 w 857221"/>
              <a:gd name="connsiteY225" fmla="*/ 274863 h 795547"/>
              <a:gd name="connsiteX226" fmla="*/ 448742 w 857221"/>
              <a:gd name="connsiteY226" fmla="*/ 263452 h 795547"/>
              <a:gd name="connsiteX227" fmla="*/ 296618 w 857221"/>
              <a:gd name="connsiteY227" fmla="*/ 263452 h 795547"/>
              <a:gd name="connsiteX228" fmla="*/ 285207 w 857221"/>
              <a:gd name="connsiteY228" fmla="*/ 274863 h 795547"/>
              <a:gd name="connsiteX229" fmla="*/ 296618 w 857221"/>
              <a:gd name="connsiteY229" fmla="*/ 286274 h 795547"/>
              <a:gd name="connsiteX230" fmla="*/ 296618 w 857221"/>
              <a:gd name="connsiteY230" fmla="*/ 286274 h 795547"/>
              <a:gd name="connsiteX231" fmla="*/ 75162 w 857221"/>
              <a:gd name="connsiteY231" fmla="*/ 411299 h 795547"/>
              <a:gd name="connsiteX232" fmla="*/ 386258 w 857221"/>
              <a:gd name="connsiteY232" fmla="*/ 411299 h 795547"/>
              <a:gd name="connsiteX233" fmla="*/ 397669 w 857221"/>
              <a:gd name="connsiteY233" fmla="*/ 399888 h 795547"/>
              <a:gd name="connsiteX234" fmla="*/ 386258 w 857221"/>
              <a:gd name="connsiteY234" fmla="*/ 388478 h 795547"/>
              <a:gd name="connsiteX235" fmla="*/ 75162 w 857221"/>
              <a:gd name="connsiteY235" fmla="*/ 388478 h 795547"/>
              <a:gd name="connsiteX236" fmla="*/ 63751 w 857221"/>
              <a:gd name="connsiteY236" fmla="*/ 399888 h 795547"/>
              <a:gd name="connsiteX237" fmla="*/ 75162 w 857221"/>
              <a:gd name="connsiteY237" fmla="*/ 411299 h 795547"/>
              <a:gd name="connsiteX238" fmla="*/ 75162 w 857221"/>
              <a:gd name="connsiteY238" fmla="*/ 411299 h 795547"/>
              <a:gd name="connsiteX239" fmla="*/ 75162 w 857221"/>
              <a:gd name="connsiteY239" fmla="*/ 509902 h 795547"/>
              <a:gd name="connsiteX240" fmla="*/ 301542 w 857221"/>
              <a:gd name="connsiteY240" fmla="*/ 509902 h 795547"/>
              <a:gd name="connsiteX241" fmla="*/ 312953 w 857221"/>
              <a:gd name="connsiteY241" fmla="*/ 498491 h 795547"/>
              <a:gd name="connsiteX242" fmla="*/ 301542 w 857221"/>
              <a:gd name="connsiteY242" fmla="*/ 487080 h 795547"/>
              <a:gd name="connsiteX243" fmla="*/ 75162 w 857221"/>
              <a:gd name="connsiteY243" fmla="*/ 487080 h 795547"/>
              <a:gd name="connsiteX244" fmla="*/ 63751 w 857221"/>
              <a:gd name="connsiteY244" fmla="*/ 498491 h 795547"/>
              <a:gd name="connsiteX245" fmla="*/ 75162 w 857221"/>
              <a:gd name="connsiteY245" fmla="*/ 509902 h 795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</a:cxnLst>
            <a:rect l="l" t="t" r="r" b="b"/>
            <a:pathLst>
              <a:path w="857221" h="795547">
                <a:moveTo>
                  <a:pt x="556289" y="325927"/>
                </a:moveTo>
                <a:lnTo>
                  <a:pt x="612848" y="382486"/>
                </a:lnTo>
                <a:cubicBezTo>
                  <a:pt x="619744" y="389382"/>
                  <a:pt x="631088" y="389363"/>
                  <a:pt x="637965" y="382486"/>
                </a:cubicBezTo>
                <a:lnTo>
                  <a:pt x="658178" y="362274"/>
                </a:lnTo>
                <a:lnTo>
                  <a:pt x="576501" y="280597"/>
                </a:lnTo>
                <a:lnTo>
                  <a:pt x="555174" y="302029"/>
                </a:lnTo>
                <a:cubicBezTo>
                  <a:pt x="549383" y="308963"/>
                  <a:pt x="549831" y="319478"/>
                  <a:pt x="556279" y="325927"/>
                </a:cubicBezTo>
                <a:lnTo>
                  <a:pt x="556279" y="325927"/>
                </a:lnTo>
                <a:close/>
                <a:moveTo>
                  <a:pt x="469935" y="525409"/>
                </a:moveTo>
                <a:lnTo>
                  <a:pt x="413376" y="468849"/>
                </a:lnTo>
                <a:cubicBezTo>
                  <a:pt x="406489" y="461963"/>
                  <a:pt x="395145" y="461963"/>
                  <a:pt x="388258" y="468849"/>
                </a:cubicBezTo>
                <a:lnTo>
                  <a:pt x="368046" y="489062"/>
                </a:lnTo>
                <a:lnTo>
                  <a:pt x="449723" y="570738"/>
                </a:lnTo>
                <a:lnTo>
                  <a:pt x="469935" y="550526"/>
                </a:lnTo>
                <a:cubicBezTo>
                  <a:pt x="476822" y="543640"/>
                  <a:pt x="476822" y="532296"/>
                  <a:pt x="469935" y="525409"/>
                </a:cubicBezTo>
                <a:lnTo>
                  <a:pt x="469935" y="525409"/>
                </a:lnTo>
                <a:close/>
                <a:moveTo>
                  <a:pt x="438836" y="462039"/>
                </a:moveTo>
                <a:cubicBezTo>
                  <a:pt x="481051" y="429959"/>
                  <a:pt x="518017" y="393440"/>
                  <a:pt x="549554" y="351444"/>
                </a:cubicBezTo>
                <a:lnTo>
                  <a:pt x="587340" y="389230"/>
                </a:lnTo>
                <a:cubicBezTo>
                  <a:pt x="545335" y="420767"/>
                  <a:pt x="508826" y="457724"/>
                  <a:pt x="476745" y="499949"/>
                </a:cubicBezTo>
                <a:lnTo>
                  <a:pt x="438836" y="462049"/>
                </a:lnTo>
                <a:lnTo>
                  <a:pt x="438836" y="462049"/>
                </a:lnTo>
                <a:close/>
                <a:moveTo>
                  <a:pt x="156696" y="166593"/>
                </a:moveTo>
                <a:cubicBezTo>
                  <a:pt x="156696" y="160297"/>
                  <a:pt x="161801" y="155182"/>
                  <a:pt x="168107" y="155182"/>
                </a:cubicBezTo>
                <a:cubicBezTo>
                  <a:pt x="174412" y="155182"/>
                  <a:pt x="179518" y="160287"/>
                  <a:pt x="179518" y="166593"/>
                </a:cubicBezTo>
                <a:lnTo>
                  <a:pt x="179518" y="168936"/>
                </a:lnTo>
                <a:cubicBezTo>
                  <a:pt x="193758" y="173594"/>
                  <a:pt x="204073" y="186662"/>
                  <a:pt x="204073" y="202073"/>
                </a:cubicBezTo>
                <a:cubicBezTo>
                  <a:pt x="204073" y="208369"/>
                  <a:pt x="198968" y="213484"/>
                  <a:pt x="192662" y="213484"/>
                </a:cubicBezTo>
                <a:cubicBezTo>
                  <a:pt x="186357" y="213484"/>
                  <a:pt x="181251" y="208379"/>
                  <a:pt x="181251" y="202073"/>
                </a:cubicBezTo>
                <a:cubicBezTo>
                  <a:pt x="181251" y="191015"/>
                  <a:pt x="166668" y="185919"/>
                  <a:pt x="158620" y="193634"/>
                </a:cubicBezTo>
                <a:cubicBezTo>
                  <a:pt x="150714" y="201216"/>
                  <a:pt x="156324" y="214208"/>
                  <a:pt x="168097" y="214208"/>
                </a:cubicBezTo>
                <a:cubicBezTo>
                  <a:pt x="199930" y="214208"/>
                  <a:pt x="216313" y="251994"/>
                  <a:pt x="193348" y="273997"/>
                </a:cubicBezTo>
                <a:cubicBezTo>
                  <a:pt x="189481" y="277702"/>
                  <a:pt x="184756" y="280569"/>
                  <a:pt x="179499" y="282293"/>
                </a:cubicBezTo>
                <a:lnTo>
                  <a:pt x="179499" y="284636"/>
                </a:lnTo>
                <a:cubicBezTo>
                  <a:pt x="179499" y="290932"/>
                  <a:pt x="174393" y="296047"/>
                  <a:pt x="168088" y="296047"/>
                </a:cubicBezTo>
                <a:cubicBezTo>
                  <a:pt x="161782" y="296047"/>
                  <a:pt x="156677" y="290942"/>
                  <a:pt x="156677" y="284636"/>
                </a:cubicBezTo>
                <a:lnTo>
                  <a:pt x="156677" y="282293"/>
                </a:lnTo>
                <a:cubicBezTo>
                  <a:pt x="142437" y="277635"/>
                  <a:pt x="132121" y="264567"/>
                  <a:pt x="132121" y="249155"/>
                </a:cubicBezTo>
                <a:cubicBezTo>
                  <a:pt x="132121" y="242859"/>
                  <a:pt x="137227" y="237744"/>
                  <a:pt x="143532" y="237744"/>
                </a:cubicBezTo>
                <a:cubicBezTo>
                  <a:pt x="149838" y="237744"/>
                  <a:pt x="154943" y="242850"/>
                  <a:pt x="154943" y="249155"/>
                </a:cubicBezTo>
                <a:cubicBezTo>
                  <a:pt x="154943" y="260214"/>
                  <a:pt x="169526" y="265310"/>
                  <a:pt x="177575" y="257594"/>
                </a:cubicBezTo>
                <a:cubicBezTo>
                  <a:pt x="185480" y="250022"/>
                  <a:pt x="179880" y="237020"/>
                  <a:pt x="168097" y="237020"/>
                </a:cubicBezTo>
                <a:cubicBezTo>
                  <a:pt x="136265" y="237020"/>
                  <a:pt x="119882" y="199244"/>
                  <a:pt x="142846" y="177232"/>
                </a:cubicBezTo>
                <a:cubicBezTo>
                  <a:pt x="146714" y="173527"/>
                  <a:pt x="151438" y="170660"/>
                  <a:pt x="156696" y="168936"/>
                </a:cubicBezTo>
                <a:lnTo>
                  <a:pt x="156696" y="166593"/>
                </a:lnTo>
                <a:lnTo>
                  <a:pt x="156696" y="166593"/>
                </a:lnTo>
                <a:close/>
                <a:moveTo>
                  <a:pt x="226076" y="167631"/>
                </a:moveTo>
                <a:cubicBezTo>
                  <a:pt x="194062" y="135617"/>
                  <a:pt x="142151" y="135617"/>
                  <a:pt x="110128" y="167631"/>
                </a:cubicBezTo>
                <a:cubicBezTo>
                  <a:pt x="78115" y="199644"/>
                  <a:pt x="78115" y="251556"/>
                  <a:pt x="110128" y="283579"/>
                </a:cubicBezTo>
                <a:cubicBezTo>
                  <a:pt x="142142" y="315592"/>
                  <a:pt x="194053" y="315592"/>
                  <a:pt x="226076" y="283579"/>
                </a:cubicBezTo>
                <a:cubicBezTo>
                  <a:pt x="258089" y="251565"/>
                  <a:pt x="258089" y="199654"/>
                  <a:pt x="226076" y="167631"/>
                </a:cubicBezTo>
                <a:lnTo>
                  <a:pt x="226076" y="167631"/>
                </a:lnTo>
                <a:close/>
                <a:moveTo>
                  <a:pt x="168107" y="120806"/>
                </a:moveTo>
                <a:cubicBezTo>
                  <a:pt x="110233" y="120806"/>
                  <a:pt x="63303" y="167726"/>
                  <a:pt x="63303" y="225600"/>
                </a:cubicBezTo>
                <a:cubicBezTo>
                  <a:pt x="63303" y="283474"/>
                  <a:pt x="110223" y="330404"/>
                  <a:pt x="168107" y="330404"/>
                </a:cubicBezTo>
                <a:cubicBezTo>
                  <a:pt x="225990" y="330404"/>
                  <a:pt x="272910" y="283483"/>
                  <a:pt x="272910" y="225600"/>
                </a:cubicBezTo>
                <a:cubicBezTo>
                  <a:pt x="272910" y="167717"/>
                  <a:pt x="225990" y="120806"/>
                  <a:pt x="168107" y="120806"/>
                </a:cubicBezTo>
                <a:lnTo>
                  <a:pt x="168107" y="120806"/>
                </a:lnTo>
                <a:close/>
                <a:moveTo>
                  <a:pt x="85468" y="591436"/>
                </a:moveTo>
                <a:cubicBezTo>
                  <a:pt x="82763" y="597123"/>
                  <a:pt x="75952" y="599532"/>
                  <a:pt x="70275" y="596827"/>
                </a:cubicBezTo>
                <a:cubicBezTo>
                  <a:pt x="64599" y="594122"/>
                  <a:pt x="62179" y="587312"/>
                  <a:pt x="64884" y="581635"/>
                </a:cubicBezTo>
                <a:cubicBezTo>
                  <a:pt x="89183" y="530629"/>
                  <a:pt x="132617" y="538449"/>
                  <a:pt x="142037" y="580273"/>
                </a:cubicBezTo>
                <a:lnTo>
                  <a:pt x="154829" y="572186"/>
                </a:lnTo>
                <a:cubicBezTo>
                  <a:pt x="159487" y="569252"/>
                  <a:pt x="165440" y="570110"/>
                  <a:pt x="169107" y="573939"/>
                </a:cubicBezTo>
                <a:lnTo>
                  <a:pt x="179403" y="584388"/>
                </a:lnTo>
                <a:lnTo>
                  <a:pt x="191767" y="575787"/>
                </a:lnTo>
                <a:cubicBezTo>
                  <a:pt x="195634" y="573101"/>
                  <a:pt x="200577" y="573139"/>
                  <a:pt x="204330" y="575491"/>
                </a:cubicBezTo>
                <a:lnTo>
                  <a:pt x="207312" y="560166"/>
                </a:lnTo>
                <a:cubicBezTo>
                  <a:pt x="209321" y="549755"/>
                  <a:pt x="223180" y="547564"/>
                  <a:pt x="228381" y="556651"/>
                </a:cubicBezTo>
                <a:lnTo>
                  <a:pt x="252355" y="598437"/>
                </a:lnTo>
                <a:cubicBezTo>
                  <a:pt x="255480" y="603904"/>
                  <a:pt x="253584" y="610867"/>
                  <a:pt x="248126" y="613991"/>
                </a:cubicBezTo>
                <a:cubicBezTo>
                  <a:pt x="242659" y="617116"/>
                  <a:pt x="235696" y="615220"/>
                  <a:pt x="232572" y="609762"/>
                </a:cubicBezTo>
                <a:lnTo>
                  <a:pt x="223828" y="594522"/>
                </a:lnTo>
                <a:lnTo>
                  <a:pt x="222018" y="603800"/>
                </a:lnTo>
                <a:cubicBezTo>
                  <a:pt x="220180" y="613677"/>
                  <a:pt x="207626" y="616496"/>
                  <a:pt x="201720" y="608657"/>
                </a:cubicBezTo>
                <a:lnTo>
                  <a:pt x="195777" y="600780"/>
                </a:lnTo>
                <a:lnTo>
                  <a:pt x="184537" y="608581"/>
                </a:lnTo>
                <a:cubicBezTo>
                  <a:pt x="180070" y="611696"/>
                  <a:pt x="173879" y="611229"/>
                  <a:pt x="169936" y="607219"/>
                </a:cubicBezTo>
                <a:lnTo>
                  <a:pt x="159220" y="596351"/>
                </a:lnTo>
                <a:lnTo>
                  <a:pt x="138598" y="609372"/>
                </a:lnTo>
                <a:cubicBezTo>
                  <a:pt x="131035" y="614144"/>
                  <a:pt x="121025" y="608619"/>
                  <a:pt x="121177" y="599580"/>
                </a:cubicBezTo>
                <a:cubicBezTo>
                  <a:pt x="121396" y="586788"/>
                  <a:pt x="117681" y="571367"/>
                  <a:pt x="109099" y="569176"/>
                </a:cubicBezTo>
                <a:cubicBezTo>
                  <a:pt x="100746" y="567052"/>
                  <a:pt x="91059" y="579739"/>
                  <a:pt x="85477" y="591455"/>
                </a:cubicBezTo>
                <a:lnTo>
                  <a:pt x="85477" y="591455"/>
                </a:lnTo>
                <a:close/>
                <a:moveTo>
                  <a:pt x="75171" y="655949"/>
                </a:moveTo>
                <a:cubicBezTo>
                  <a:pt x="68875" y="655949"/>
                  <a:pt x="63760" y="650844"/>
                  <a:pt x="63760" y="644538"/>
                </a:cubicBezTo>
                <a:cubicBezTo>
                  <a:pt x="63760" y="638233"/>
                  <a:pt x="68866" y="633127"/>
                  <a:pt x="75171" y="633127"/>
                </a:cubicBezTo>
                <a:lnTo>
                  <a:pt x="242440" y="633127"/>
                </a:lnTo>
                <a:cubicBezTo>
                  <a:pt x="248736" y="633127"/>
                  <a:pt x="253851" y="638233"/>
                  <a:pt x="253851" y="644538"/>
                </a:cubicBezTo>
                <a:cubicBezTo>
                  <a:pt x="253851" y="650844"/>
                  <a:pt x="248745" y="655949"/>
                  <a:pt x="242440" y="655949"/>
                </a:cubicBezTo>
                <a:lnTo>
                  <a:pt x="75162" y="655949"/>
                </a:lnTo>
                <a:close/>
                <a:moveTo>
                  <a:pt x="446656" y="689296"/>
                </a:moveTo>
                <a:lnTo>
                  <a:pt x="283283" y="689296"/>
                </a:lnTo>
                <a:cubicBezTo>
                  <a:pt x="270624" y="689296"/>
                  <a:pt x="260509" y="699669"/>
                  <a:pt x="260509" y="712070"/>
                </a:cubicBezTo>
                <a:lnTo>
                  <a:pt x="260509" y="738512"/>
                </a:lnTo>
                <a:lnTo>
                  <a:pt x="469421" y="738512"/>
                </a:lnTo>
                <a:lnTo>
                  <a:pt x="469421" y="712070"/>
                </a:lnTo>
                <a:cubicBezTo>
                  <a:pt x="469421" y="699545"/>
                  <a:pt x="459181" y="689296"/>
                  <a:pt x="446646" y="689296"/>
                </a:cubicBezTo>
                <a:lnTo>
                  <a:pt x="446646" y="689296"/>
                </a:lnTo>
                <a:close/>
                <a:moveTo>
                  <a:pt x="440522" y="666484"/>
                </a:moveTo>
                <a:lnTo>
                  <a:pt x="440522" y="635813"/>
                </a:lnTo>
                <a:cubicBezTo>
                  <a:pt x="440522" y="629565"/>
                  <a:pt x="435397" y="624440"/>
                  <a:pt x="429149" y="624440"/>
                </a:cubicBezTo>
                <a:lnTo>
                  <a:pt x="300800" y="624440"/>
                </a:lnTo>
                <a:cubicBezTo>
                  <a:pt x="294551" y="624440"/>
                  <a:pt x="289427" y="629565"/>
                  <a:pt x="289427" y="635813"/>
                </a:cubicBezTo>
                <a:lnTo>
                  <a:pt x="289427" y="666484"/>
                </a:lnTo>
                <a:lnTo>
                  <a:pt x="440531" y="666484"/>
                </a:lnTo>
                <a:close/>
                <a:moveTo>
                  <a:pt x="615553" y="463896"/>
                </a:moveTo>
                <a:lnTo>
                  <a:pt x="615553" y="409271"/>
                </a:lnTo>
                <a:cubicBezTo>
                  <a:pt x="611743" y="408328"/>
                  <a:pt x="608047" y="406823"/>
                  <a:pt x="604590" y="404756"/>
                </a:cubicBezTo>
                <a:cubicBezTo>
                  <a:pt x="594960" y="411861"/>
                  <a:pt x="585549" y="419339"/>
                  <a:pt x="576358" y="427168"/>
                </a:cubicBezTo>
                <a:lnTo>
                  <a:pt x="615553" y="463887"/>
                </a:lnTo>
                <a:lnTo>
                  <a:pt x="615553" y="463887"/>
                </a:lnTo>
                <a:close/>
                <a:moveTo>
                  <a:pt x="559289" y="442370"/>
                </a:moveTo>
                <a:cubicBezTo>
                  <a:pt x="549126" y="451828"/>
                  <a:pt x="539315" y="461687"/>
                  <a:pt x="529876" y="471926"/>
                </a:cubicBezTo>
                <a:cubicBezTo>
                  <a:pt x="614210" y="561928"/>
                  <a:pt x="698535" y="651939"/>
                  <a:pt x="782869" y="741941"/>
                </a:cubicBezTo>
                <a:cubicBezTo>
                  <a:pt x="786403" y="745713"/>
                  <a:pt x="793232" y="749094"/>
                  <a:pt x="796700" y="745627"/>
                </a:cubicBezTo>
                <a:lnTo>
                  <a:pt x="833057" y="709270"/>
                </a:lnTo>
                <a:cubicBezTo>
                  <a:pt x="836524" y="705803"/>
                  <a:pt x="833133" y="698964"/>
                  <a:pt x="829370" y="695440"/>
                </a:cubicBezTo>
                <a:cubicBezTo>
                  <a:pt x="739340" y="611086"/>
                  <a:pt x="649310" y="526733"/>
                  <a:pt x="559279" y="442379"/>
                </a:cubicBezTo>
                <a:lnTo>
                  <a:pt x="559279" y="442379"/>
                </a:lnTo>
                <a:close/>
                <a:moveTo>
                  <a:pt x="615553" y="287379"/>
                </a:moveTo>
                <a:lnTo>
                  <a:pt x="584578" y="256404"/>
                </a:lnTo>
                <a:cubicBezTo>
                  <a:pt x="580120" y="251946"/>
                  <a:pt x="572900" y="251946"/>
                  <a:pt x="568443" y="256404"/>
                </a:cubicBezTo>
                <a:lnTo>
                  <a:pt x="557794" y="267053"/>
                </a:lnTo>
                <a:lnTo>
                  <a:pt x="557794" y="103394"/>
                </a:lnTo>
                <a:lnTo>
                  <a:pt x="605219" y="103394"/>
                </a:lnTo>
                <a:cubicBezTo>
                  <a:pt x="610895" y="103394"/>
                  <a:pt x="615544" y="108052"/>
                  <a:pt x="615544" y="113719"/>
                </a:cubicBezTo>
                <a:lnTo>
                  <a:pt x="615544" y="287379"/>
                </a:lnTo>
                <a:lnTo>
                  <a:pt x="615544" y="287379"/>
                </a:lnTo>
                <a:close/>
                <a:moveTo>
                  <a:pt x="38957" y="92260"/>
                </a:moveTo>
                <a:lnTo>
                  <a:pt x="81944" y="92260"/>
                </a:lnTo>
                <a:cubicBezTo>
                  <a:pt x="87620" y="92260"/>
                  <a:pt x="92269" y="87602"/>
                  <a:pt x="92269" y="81934"/>
                </a:cubicBezTo>
                <a:lnTo>
                  <a:pt x="92269" y="38948"/>
                </a:lnTo>
                <a:lnTo>
                  <a:pt x="38957" y="92260"/>
                </a:lnTo>
                <a:lnTo>
                  <a:pt x="38957" y="92260"/>
                </a:lnTo>
                <a:close/>
                <a:moveTo>
                  <a:pt x="638366" y="762334"/>
                </a:moveTo>
                <a:cubicBezTo>
                  <a:pt x="638594" y="780298"/>
                  <a:pt x="623630" y="795547"/>
                  <a:pt x="605219" y="795547"/>
                </a:cubicBezTo>
                <a:lnTo>
                  <a:pt x="113719" y="795547"/>
                </a:lnTo>
                <a:cubicBezTo>
                  <a:pt x="95450" y="795547"/>
                  <a:pt x="80572" y="780669"/>
                  <a:pt x="80572" y="762400"/>
                </a:cubicBezTo>
                <a:lnTo>
                  <a:pt x="80572" y="714976"/>
                </a:lnTo>
                <a:lnTo>
                  <a:pt x="33147" y="714976"/>
                </a:lnTo>
                <a:cubicBezTo>
                  <a:pt x="14878" y="714976"/>
                  <a:pt x="0" y="700097"/>
                  <a:pt x="0" y="681828"/>
                </a:cubicBezTo>
                <a:lnTo>
                  <a:pt x="0" y="103661"/>
                </a:lnTo>
                <a:cubicBezTo>
                  <a:pt x="0" y="100537"/>
                  <a:pt x="1229" y="97708"/>
                  <a:pt x="3410" y="95527"/>
                </a:cubicBezTo>
                <a:cubicBezTo>
                  <a:pt x="12840" y="86097"/>
                  <a:pt x="94888" y="3620"/>
                  <a:pt x="97155" y="2039"/>
                </a:cubicBezTo>
                <a:cubicBezTo>
                  <a:pt x="99098" y="677"/>
                  <a:pt x="101356" y="-19"/>
                  <a:pt x="103813" y="0"/>
                </a:cubicBezTo>
                <a:lnTo>
                  <a:pt x="524647" y="0"/>
                </a:lnTo>
                <a:cubicBezTo>
                  <a:pt x="542916" y="0"/>
                  <a:pt x="557794" y="14878"/>
                  <a:pt x="557794" y="33147"/>
                </a:cubicBezTo>
                <a:lnTo>
                  <a:pt x="557794" y="80572"/>
                </a:lnTo>
                <a:lnTo>
                  <a:pt x="605219" y="80572"/>
                </a:lnTo>
                <a:cubicBezTo>
                  <a:pt x="623487" y="80572"/>
                  <a:pt x="638366" y="95450"/>
                  <a:pt x="638366" y="113719"/>
                </a:cubicBezTo>
                <a:lnTo>
                  <a:pt x="638366" y="310192"/>
                </a:lnTo>
                <a:lnTo>
                  <a:pt x="682381" y="354207"/>
                </a:lnTo>
                <a:cubicBezTo>
                  <a:pt x="686838" y="358664"/>
                  <a:pt x="686838" y="365884"/>
                  <a:pt x="682381" y="370342"/>
                </a:cubicBezTo>
                <a:lnTo>
                  <a:pt x="654101" y="398622"/>
                </a:lnTo>
                <a:cubicBezTo>
                  <a:pt x="649529" y="403194"/>
                  <a:pt x="644128" y="406442"/>
                  <a:pt x="638366" y="408366"/>
                </a:cubicBezTo>
                <a:lnTo>
                  <a:pt x="638366" y="485271"/>
                </a:lnTo>
                <a:lnTo>
                  <a:pt x="844972" y="678847"/>
                </a:lnTo>
                <a:cubicBezTo>
                  <a:pt x="858412" y="691439"/>
                  <a:pt x="862193" y="712385"/>
                  <a:pt x="849192" y="725386"/>
                </a:cubicBezTo>
                <a:lnTo>
                  <a:pt x="812835" y="761743"/>
                </a:lnTo>
                <a:cubicBezTo>
                  <a:pt x="799833" y="774745"/>
                  <a:pt x="778888" y="770963"/>
                  <a:pt x="766296" y="757524"/>
                </a:cubicBezTo>
                <a:lnTo>
                  <a:pt x="638366" y="620992"/>
                </a:lnTo>
                <a:lnTo>
                  <a:pt x="638366" y="762334"/>
                </a:lnTo>
                <a:lnTo>
                  <a:pt x="638366" y="762334"/>
                </a:lnTo>
                <a:close/>
                <a:moveTo>
                  <a:pt x="524647" y="692163"/>
                </a:moveTo>
                <a:lnTo>
                  <a:pt x="487651" y="692163"/>
                </a:lnTo>
                <a:cubicBezTo>
                  <a:pt x="482660" y="681924"/>
                  <a:pt x="473954" y="673837"/>
                  <a:pt x="463334" y="669636"/>
                </a:cubicBezTo>
                <a:lnTo>
                  <a:pt x="463334" y="635804"/>
                </a:lnTo>
                <a:cubicBezTo>
                  <a:pt x="463334" y="616954"/>
                  <a:pt x="447989" y="601609"/>
                  <a:pt x="429139" y="601609"/>
                </a:cubicBezTo>
                <a:lnTo>
                  <a:pt x="300790" y="601609"/>
                </a:lnTo>
                <a:cubicBezTo>
                  <a:pt x="281940" y="601609"/>
                  <a:pt x="266595" y="616954"/>
                  <a:pt x="266595" y="635804"/>
                </a:cubicBezTo>
                <a:lnTo>
                  <a:pt x="266595" y="669636"/>
                </a:lnTo>
                <a:cubicBezTo>
                  <a:pt x="255965" y="673837"/>
                  <a:pt x="247269" y="681924"/>
                  <a:pt x="242278" y="692163"/>
                </a:cubicBezTo>
                <a:lnTo>
                  <a:pt x="33147" y="692163"/>
                </a:lnTo>
                <a:cubicBezTo>
                  <a:pt x="27470" y="692163"/>
                  <a:pt x="22822" y="687505"/>
                  <a:pt x="22822" y="681838"/>
                </a:cubicBezTo>
                <a:lnTo>
                  <a:pt x="22822" y="115072"/>
                </a:lnTo>
                <a:lnTo>
                  <a:pt x="81934" y="115072"/>
                </a:lnTo>
                <a:cubicBezTo>
                  <a:pt x="100203" y="115072"/>
                  <a:pt x="115081" y="100194"/>
                  <a:pt x="115081" y="81925"/>
                </a:cubicBezTo>
                <a:lnTo>
                  <a:pt x="115081" y="22813"/>
                </a:lnTo>
                <a:lnTo>
                  <a:pt x="524647" y="22813"/>
                </a:lnTo>
                <a:cubicBezTo>
                  <a:pt x="530323" y="22813"/>
                  <a:pt x="534972" y="27470"/>
                  <a:pt x="534972" y="33138"/>
                </a:cubicBezTo>
                <a:lnTo>
                  <a:pt x="534972" y="291027"/>
                </a:lnTo>
                <a:cubicBezTo>
                  <a:pt x="530523" y="297771"/>
                  <a:pt x="528304" y="305572"/>
                  <a:pt x="528304" y="313363"/>
                </a:cubicBezTo>
                <a:cubicBezTo>
                  <a:pt x="528304" y="320583"/>
                  <a:pt x="530209" y="327803"/>
                  <a:pt x="534019" y="334185"/>
                </a:cubicBezTo>
                <a:cubicBezTo>
                  <a:pt x="502510" y="376876"/>
                  <a:pt x="464525" y="414357"/>
                  <a:pt x="421548" y="446532"/>
                </a:cubicBezTo>
                <a:cubicBezTo>
                  <a:pt x="405822" y="437198"/>
                  <a:pt x="385353" y="439474"/>
                  <a:pt x="372113" y="452714"/>
                </a:cubicBezTo>
                <a:lnTo>
                  <a:pt x="343833" y="480994"/>
                </a:lnTo>
                <a:cubicBezTo>
                  <a:pt x="339376" y="485452"/>
                  <a:pt x="339376" y="492672"/>
                  <a:pt x="343833" y="497129"/>
                </a:cubicBezTo>
                <a:lnTo>
                  <a:pt x="441646" y="594941"/>
                </a:lnTo>
                <a:cubicBezTo>
                  <a:pt x="446103" y="599399"/>
                  <a:pt x="453323" y="599399"/>
                  <a:pt x="457781" y="594941"/>
                </a:cubicBezTo>
                <a:lnTo>
                  <a:pt x="486061" y="566662"/>
                </a:lnTo>
                <a:cubicBezTo>
                  <a:pt x="499301" y="553422"/>
                  <a:pt x="501577" y="532953"/>
                  <a:pt x="492242" y="517227"/>
                </a:cubicBezTo>
                <a:cubicBezTo>
                  <a:pt x="499510" y="507521"/>
                  <a:pt x="507006" y="498120"/>
                  <a:pt x="514722" y="489042"/>
                </a:cubicBezTo>
                <a:lnTo>
                  <a:pt x="534972" y="510655"/>
                </a:lnTo>
                <a:lnTo>
                  <a:pt x="534972" y="681838"/>
                </a:lnTo>
                <a:cubicBezTo>
                  <a:pt x="534972" y="687515"/>
                  <a:pt x="530314" y="692163"/>
                  <a:pt x="524647" y="692163"/>
                </a:cubicBezTo>
                <a:lnTo>
                  <a:pt x="524647" y="692163"/>
                </a:lnTo>
                <a:close/>
                <a:moveTo>
                  <a:pt x="557794" y="598037"/>
                </a:moveTo>
                <a:lnTo>
                  <a:pt x="557794" y="535001"/>
                </a:lnTo>
                <a:lnTo>
                  <a:pt x="615553" y="596646"/>
                </a:lnTo>
                <a:lnTo>
                  <a:pt x="615553" y="762410"/>
                </a:lnTo>
                <a:cubicBezTo>
                  <a:pt x="615582" y="768039"/>
                  <a:pt x="610914" y="772735"/>
                  <a:pt x="605228" y="772735"/>
                </a:cubicBezTo>
                <a:lnTo>
                  <a:pt x="113719" y="772735"/>
                </a:lnTo>
                <a:cubicBezTo>
                  <a:pt x="108042" y="772735"/>
                  <a:pt x="103394" y="768077"/>
                  <a:pt x="103394" y="762410"/>
                </a:cubicBezTo>
                <a:lnTo>
                  <a:pt x="103394" y="714985"/>
                </a:lnTo>
                <a:lnTo>
                  <a:pt x="237687" y="714985"/>
                </a:lnTo>
                <a:lnTo>
                  <a:pt x="237687" y="749913"/>
                </a:lnTo>
                <a:cubicBezTo>
                  <a:pt x="237687" y="756209"/>
                  <a:pt x="242792" y="761324"/>
                  <a:pt x="249098" y="761324"/>
                </a:cubicBezTo>
                <a:lnTo>
                  <a:pt x="480822" y="761324"/>
                </a:lnTo>
                <a:cubicBezTo>
                  <a:pt x="487118" y="761324"/>
                  <a:pt x="492233" y="756219"/>
                  <a:pt x="492233" y="749913"/>
                </a:cubicBezTo>
                <a:lnTo>
                  <a:pt x="492233" y="714985"/>
                </a:lnTo>
                <a:lnTo>
                  <a:pt x="524647" y="714985"/>
                </a:lnTo>
                <a:cubicBezTo>
                  <a:pt x="542916" y="714985"/>
                  <a:pt x="557794" y="700107"/>
                  <a:pt x="557794" y="681838"/>
                </a:cubicBezTo>
                <a:lnTo>
                  <a:pt x="557794" y="598037"/>
                </a:lnTo>
                <a:lnTo>
                  <a:pt x="557794" y="598037"/>
                </a:lnTo>
                <a:close/>
                <a:moveTo>
                  <a:pt x="296618" y="161249"/>
                </a:moveTo>
                <a:lnTo>
                  <a:pt x="486566" y="161249"/>
                </a:lnTo>
                <a:cubicBezTo>
                  <a:pt x="492862" y="161249"/>
                  <a:pt x="497977" y="156144"/>
                  <a:pt x="497977" y="149838"/>
                </a:cubicBezTo>
                <a:cubicBezTo>
                  <a:pt x="497977" y="143533"/>
                  <a:pt x="492871" y="138427"/>
                  <a:pt x="486566" y="138427"/>
                </a:cubicBezTo>
                <a:lnTo>
                  <a:pt x="296618" y="138427"/>
                </a:lnTo>
                <a:cubicBezTo>
                  <a:pt x="290322" y="138427"/>
                  <a:pt x="285207" y="143533"/>
                  <a:pt x="285207" y="149838"/>
                </a:cubicBezTo>
                <a:cubicBezTo>
                  <a:pt x="285207" y="156144"/>
                  <a:pt x="290312" y="161249"/>
                  <a:pt x="296618" y="161249"/>
                </a:cubicBezTo>
                <a:lnTo>
                  <a:pt x="296618" y="161249"/>
                </a:lnTo>
                <a:close/>
                <a:moveTo>
                  <a:pt x="296618" y="286274"/>
                </a:moveTo>
                <a:lnTo>
                  <a:pt x="448742" y="286274"/>
                </a:lnTo>
                <a:cubicBezTo>
                  <a:pt x="455038" y="286274"/>
                  <a:pt x="460153" y="281169"/>
                  <a:pt x="460153" y="274863"/>
                </a:cubicBezTo>
                <a:cubicBezTo>
                  <a:pt x="460153" y="268558"/>
                  <a:pt x="455047" y="263452"/>
                  <a:pt x="448742" y="263452"/>
                </a:cubicBezTo>
                <a:lnTo>
                  <a:pt x="296618" y="263452"/>
                </a:lnTo>
                <a:cubicBezTo>
                  <a:pt x="290322" y="263452"/>
                  <a:pt x="285207" y="268558"/>
                  <a:pt x="285207" y="274863"/>
                </a:cubicBezTo>
                <a:cubicBezTo>
                  <a:pt x="285207" y="281169"/>
                  <a:pt x="290312" y="286274"/>
                  <a:pt x="296618" y="286274"/>
                </a:cubicBezTo>
                <a:lnTo>
                  <a:pt x="296618" y="286274"/>
                </a:lnTo>
                <a:close/>
                <a:moveTo>
                  <a:pt x="75162" y="411299"/>
                </a:moveTo>
                <a:lnTo>
                  <a:pt x="386258" y="411299"/>
                </a:lnTo>
                <a:cubicBezTo>
                  <a:pt x="392554" y="411299"/>
                  <a:pt x="397669" y="406194"/>
                  <a:pt x="397669" y="399888"/>
                </a:cubicBezTo>
                <a:cubicBezTo>
                  <a:pt x="397669" y="393583"/>
                  <a:pt x="392563" y="388478"/>
                  <a:pt x="386258" y="388478"/>
                </a:cubicBezTo>
                <a:lnTo>
                  <a:pt x="75162" y="388478"/>
                </a:lnTo>
                <a:cubicBezTo>
                  <a:pt x="68866" y="388478"/>
                  <a:pt x="63751" y="393583"/>
                  <a:pt x="63751" y="399888"/>
                </a:cubicBezTo>
                <a:cubicBezTo>
                  <a:pt x="63751" y="406194"/>
                  <a:pt x="68856" y="411299"/>
                  <a:pt x="75162" y="411299"/>
                </a:cubicBezTo>
                <a:lnTo>
                  <a:pt x="75162" y="411299"/>
                </a:lnTo>
                <a:close/>
                <a:moveTo>
                  <a:pt x="75162" y="509902"/>
                </a:moveTo>
                <a:lnTo>
                  <a:pt x="301542" y="509902"/>
                </a:lnTo>
                <a:cubicBezTo>
                  <a:pt x="307838" y="509902"/>
                  <a:pt x="312953" y="504797"/>
                  <a:pt x="312953" y="498491"/>
                </a:cubicBezTo>
                <a:cubicBezTo>
                  <a:pt x="312953" y="492186"/>
                  <a:pt x="307848" y="487080"/>
                  <a:pt x="301542" y="487080"/>
                </a:cubicBezTo>
                <a:lnTo>
                  <a:pt x="75162" y="487080"/>
                </a:lnTo>
                <a:cubicBezTo>
                  <a:pt x="68866" y="487080"/>
                  <a:pt x="63751" y="492186"/>
                  <a:pt x="63751" y="498491"/>
                </a:cubicBezTo>
                <a:cubicBezTo>
                  <a:pt x="63751" y="504797"/>
                  <a:pt x="68856" y="509902"/>
                  <a:pt x="75162" y="509902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23A0F16-5BFD-147E-5A69-EF7C52B63EB5}"/>
              </a:ext>
            </a:extLst>
          </p:cNvPr>
          <p:cNvSpPr/>
          <p:nvPr/>
        </p:nvSpPr>
        <p:spPr>
          <a:xfrm>
            <a:off x="628607" y="4165522"/>
            <a:ext cx="262134" cy="245722"/>
          </a:xfrm>
          <a:custGeom>
            <a:avLst/>
            <a:gdLst>
              <a:gd name="connsiteX0" fmla="*/ 327250 w 624496"/>
              <a:gd name="connsiteY0" fmla="*/ 497681 h 585398"/>
              <a:gd name="connsiteX1" fmla="*/ 344719 w 624496"/>
              <a:gd name="connsiteY1" fmla="*/ 515160 h 585398"/>
              <a:gd name="connsiteX2" fmla="*/ 391601 w 624496"/>
              <a:gd name="connsiteY2" fmla="*/ 515160 h 585398"/>
              <a:gd name="connsiteX3" fmla="*/ 409080 w 624496"/>
              <a:gd name="connsiteY3" fmla="*/ 497681 h 585398"/>
              <a:gd name="connsiteX4" fmla="*/ 409080 w 624496"/>
              <a:gd name="connsiteY4" fmla="*/ 488556 h 585398"/>
              <a:gd name="connsiteX5" fmla="*/ 448742 w 624496"/>
              <a:gd name="connsiteY5" fmla="*/ 472116 h 585398"/>
              <a:gd name="connsiteX6" fmla="*/ 455209 w 624496"/>
              <a:gd name="connsiteY6" fmla="*/ 478584 h 585398"/>
              <a:gd name="connsiteX7" fmla="*/ 479927 w 624496"/>
              <a:gd name="connsiteY7" fmla="*/ 478584 h 585398"/>
              <a:gd name="connsiteX8" fmla="*/ 513083 w 624496"/>
              <a:gd name="connsiteY8" fmla="*/ 445427 h 585398"/>
              <a:gd name="connsiteX9" fmla="*/ 513083 w 624496"/>
              <a:gd name="connsiteY9" fmla="*/ 420719 h 585398"/>
              <a:gd name="connsiteX10" fmla="*/ 506568 w 624496"/>
              <a:gd name="connsiteY10" fmla="*/ 414252 h 585398"/>
              <a:gd name="connsiteX11" fmla="*/ 523046 w 624496"/>
              <a:gd name="connsiteY11" fmla="*/ 374628 h 585398"/>
              <a:gd name="connsiteX12" fmla="*/ 532181 w 624496"/>
              <a:gd name="connsiteY12" fmla="*/ 374628 h 585398"/>
              <a:gd name="connsiteX13" fmla="*/ 549659 w 624496"/>
              <a:gd name="connsiteY13" fmla="*/ 357149 h 585398"/>
              <a:gd name="connsiteX14" fmla="*/ 549659 w 624496"/>
              <a:gd name="connsiteY14" fmla="*/ 310229 h 585398"/>
              <a:gd name="connsiteX15" fmla="*/ 532181 w 624496"/>
              <a:gd name="connsiteY15" fmla="*/ 292713 h 585398"/>
              <a:gd name="connsiteX16" fmla="*/ 523046 w 624496"/>
              <a:gd name="connsiteY16" fmla="*/ 292713 h 585398"/>
              <a:gd name="connsiteX17" fmla="*/ 506616 w 624496"/>
              <a:gd name="connsiteY17" fmla="*/ 253051 h 585398"/>
              <a:gd name="connsiteX18" fmla="*/ 513074 w 624496"/>
              <a:gd name="connsiteY18" fmla="*/ 246602 h 585398"/>
              <a:gd name="connsiteX19" fmla="*/ 513094 w 624496"/>
              <a:gd name="connsiteY19" fmla="*/ 221857 h 585398"/>
              <a:gd name="connsiteX20" fmla="*/ 513074 w 624496"/>
              <a:gd name="connsiteY20" fmla="*/ 221837 h 585398"/>
              <a:gd name="connsiteX21" fmla="*/ 479927 w 624496"/>
              <a:gd name="connsiteY21" fmla="*/ 188690 h 585398"/>
              <a:gd name="connsiteX22" fmla="*/ 455209 w 624496"/>
              <a:gd name="connsiteY22" fmla="*/ 188690 h 585398"/>
              <a:gd name="connsiteX23" fmla="*/ 448742 w 624496"/>
              <a:gd name="connsiteY23" fmla="*/ 195158 h 585398"/>
              <a:gd name="connsiteX24" fmla="*/ 409089 w 624496"/>
              <a:gd name="connsiteY24" fmla="*/ 178727 h 585398"/>
              <a:gd name="connsiteX25" fmla="*/ 409089 w 624496"/>
              <a:gd name="connsiteY25" fmla="*/ 169602 h 585398"/>
              <a:gd name="connsiteX26" fmla="*/ 391601 w 624496"/>
              <a:gd name="connsiteY26" fmla="*/ 152105 h 585398"/>
              <a:gd name="connsiteX27" fmla="*/ 344729 w 624496"/>
              <a:gd name="connsiteY27" fmla="*/ 152105 h 585398"/>
              <a:gd name="connsiteX28" fmla="*/ 327250 w 624496"/>
              <a:gd name="connsiteY28" fmla="*/ 169602 h 585398"/>
              <a:gd name="connsiteX29" fmla="*/ 327250 w 624496"/>
              <a:gd name="connsiteY29" fmla="*/ 178727 h 585398"/>
              <a:gd name="connsiteX30" fmla="*/ 287588 w 624496"/>
              <a:gd name="connsiteY30" fmla="*/ 195158 h 585398"/>
              <a:gd name="connsiteX31" fmla="*/ 281121 w 624496"/>
              <a:gd name="connsiteY31" fmla="*/ 188700 h 585398"/>
              <a:gd name="connsiteX32" fmla="*/ 256403 w 624496"/>
              <a:gd name="connsiteY32" fmla="*/ 188700 h 585398"/>
              <a:gd name="connsiteX33" fmla="*/ 223256 w 624496"/>
              <a:gd name="connsiteY33" fmla="*/ 221847 h 585398"/>
              <a:gd name="connsiteX34" fmla="*/ 223237 w 624496"/>
              <a:gd name="connsiteY34" fmla="*/ 246592 h 585398"/>
              <a:gd name="connsiteX35" fmla="*/ 223256 w 624496"/>
              <a:gd name="connsiteY35" fmla="*/ 246612 h 585398"/>
              <a:gd name="connsiteX36" fmla="*/ 229714 w 624496"/>
              <a:gd name="connsiteY36" fmla="*/ 253060 h 585398"/>
              <a:gd name="connsiteX37" fmla="*/ 213284 w 624496"/>
              <a:gd name="connsiteY37" fmla="*/ 292713 h 585398"/>
              <a:gd name="connsiteX38" fmla="*/ 204149 w 624496"/>
              <a:gd name="connsiteY38" fmla="*/ 292713 h 585398"/>
              <a:gd name="connsiteX39" fmla="*/ 186671 w 624496"/>
              <a:gd name="connsiteY39" fmla="*/ 310191 h 585398"/>
              <a:gd name="connsiteX40" fmla="*/ 186671 w 624496"/>
              <a:gd name="connsiteY40" fmla="*/ 357073 h 585398"/>
              <a:gd name="connsiteX41" fmla="*/ 204111 w 624496"/>
              <a:gd name="connsiteY41" fmla="*/ 374628 h 585398"/>
              <a:gd name="connsiteX42" fmla="*/ 204149 w 624496"/>
              <a:gd name="connsiteY42" fmla="*/ 374628 h 585398"/>
              <a:gd name="connsiteX43" fmla="*/ 213284 w 624496"/>
              <a:gd name="connsiteY43" fmla="*/ 374628 h 585398"/>
              <a:gd name="connsiteX44" fmla="*/ 229714 w 624496"/>
              <a:gd name="connsiteY44" fmla="*/ 414290 h 585398"/>
              <a:gd name="connsiteX45" fmla="*/ 223256 w 624496"/>
              <a:gd name="connsiteY45" fmla="*/ 420748 h 585398"/>
              <a:gd name="connsiteX46" fmla="*/ 223256 w 624496"/>
              <a:gd name="connsiteY46" fmla="*/ 445513 h 585398"/>
              <a:gd name="connsiteX47" fmla="*/ 256413 w 624496"/>
              <a:gd name="connsiteY47" fmla="*/ 478660 h 585398"/>
              <a:gd name="connsiteX48" fmla="*/ 281121 w 624496"/>
              <a:gd name="connsiteY48" fmla="*/ 478660 h 585398"/>
              <a:gd name="connsiteX49" fmla="*/ 287588 w 624496"/>
              <a:gd name="connsiteY49" fmla="*/ 472192 h 585398"/>
              <a:gd name="connsiteX50" fmla="*/ 327250 w 624496"/>
              <a:gd name="connsiteY50" fmla="*/ 488633 h 585398"/>
              <a:gd name="connsiteX51" fmla="*/ 290932 w 624496"/>
              <a:gd name="connsiteY51" fmla="*/ 454076 h 585398"/>
              <a:gd name="connsiteX52" fmla="*/ 280245 w 624496"/>
              <a:gd name="connsiteY52" fmla="*/ 455228 h 585398"/>
              <a:gd name="connsiteX53" fmla="*/ 268519 w 624496"/>
              <a:gd name="connsiteY53" fmla="*/ 466468 h 585398"/>
              <a:gd name="connsiteX54" fmla="*/ 235382 w 624496"/>
              <a:gd name="connsiteY54" fmla="*/ 432826 h 585398"/>
              <a:gd name="connsiteX55" fmla="*/ 246612 w 624496"/>
              <a:gd name="connsiteY55" fmla="*/ 421596 h 585398"/>
              <a:gd name="connsiteX56" fmla="*/ 247764 w 624496"/>
              <a:gd name="connsiteY56" fmla="*/ 410899 h 585398"/>
              <a:gd name="connsiteX57" fmla="*/ 228419 w 624496"/>
              <a:gd name="connsiteY57" fmla="*/ 364226 h 585398"/>
              <a:gd name="connsiteX58" fmla="*/ 220037 w 624496"/>
              <a:gd name="connsiteY58" fmla="*/ 357473 h 585398"/>
              <a:gd name="connsiteX59" fmla="*/ 203845 w 624496"/>
              <a:gd name="connsiteY59" fmla="*/ 357140 h 585398"/>
              <a:gd name="connsiteX60" fmla="*/ 204149 w 624496"/>
              <a:gd name="connsiteY60" fmla="*/ 309858 h 585398"/>
              <a:gd name="connsiteX61" fmla="*/ 220037 w 624496"/>
              <a:gd name="connsiteY61" fmla="*/ 309858 h 585398"/>
              <a:gd name="connsiteX62" fmla="*/ 228419 w 624496"/>
              <a:gd name="connsiteY62" fmla="*/ 303105 h 585398"/>
              <a:gd name="connsiteX63" fmla="*/ 247764 w 624496"/>
              <a:gd name="connsiteY63" fmla="*/ 256432 h 585398"/>
              <a:gd name="connsiteX64" fmla="*/ 246612 w 624496"/>
              <a:gd name="connsiteY64" fmla="*/ 245735 h 585398"/>
              <a:gd name="connsiteX65" fmla="*/ 235382 w 624496"/>
              <a:gd name="connsiteY65" fmla="*/ 234020 h 585398"/>
              <a:gd name="connsiteX66" fmla="*/ 269005 w 624496"/>
              <a:gd name="connsiteY66" fmla="*/ 200873 h 585398"/>
              <a:gd name="connsiteX67" fmla="*/ 280245 w 624496"/>
              <a:gd name="connsiteY67" fmla="*/ 212112 h 585398"/>
              <a:gd name="connsiteX68" fmla="*/ 290932 w 624496"/>
              <a:gd name="connsiteY68" fmla="*/ 213255 h 585398"/>
              <a:gd name="connsiteX69" fmla="*/ 337604 w 624496"/>
              <a:gd name="connsiteY69" fmla="*/ 193919 h 585398"/>
              <a:gd name="connsiteX70" fmla="*/ 344357 w 624496"/>
              <a:gd name="connsiteY70" fmla="*/ 185547 h 585398"/>
              <a:gd name="connsiteX71" fmla="*/ 344691 w 624496"/>
              <a:gd name="connsiteY71" fmla="*/ 169355 h 585398"/>
              <a:gd name="connsiteX72" fmla="*/ 391906 w 624496"/>
              <a:gd name="connsiteY72" fmla="*/ 169707 h 585398"/>
              <a:gd name="connsiteX73" fmla="*/ 391906 w 624496"/>
              <a:gd name="connsiteY73" fmla="*/ 185557 h 585398"/>
              <a:gd name="connsiteX74" fmla="*/ 398659 w 624496"/>
              <a:gd name="connsiteY74" fmla="*/ 193929 h 585398"/>
              <a:gd name="connsiteX75" fmla="*/ 445332 w 624496"/>
              <a:gd name="connsiteY75" fmla="*/ 213265 h 585398"/>
              <a:gd name="connsiteX76" fmla="*/ 456028 w 624496"/>
              <a:gd name="connsiteY76" fmla="*/ 212122 h 585398"/>
              <a:gd name="connsiteX77" fmla="*/ 467754 w 624496"/>
              <a:gd name="connsiteY77" fmla="*/ 200882 h 585398"/>
              <a:gd name="connsiteX78" fmla="*/ 500901 w 624496"/>
              <a:gd name="connsiteY78" fmla="*/ 234515 h 585398"/>
              <a:gd name="connsiteX79" fmla="*/ 489661 w 624496"/>
              <a:gd name="connsiteY79" fmla="*/ 245745 h 585398"/>
              <a:gd name="connsiteX80" fmla="*/ 488518 w 624496"/>
              <a:gd name="connsiteY80" fmla="*/ 256442 h 585398"/>
              <a:gd name="connsiteX81" fmla="*/ 507863 w 624496"/>
              <a:gd name="connsiteY81" fmla="*/ 303114 h 585398"/>
              <a:gd name="connsiteX82" fmla="*/ 516236 w 624496"/>
              <a:gd name="connsiteY82" fmla="*/ 309867 h 585398"/>
              <a:gd name="connsiteX83" fmla="*/ 532428 w 624496"/>
              <a:gd name="connsiteY83" fmla="*/ 310201 h 585398"/>
              <a:gd name="connsiteX84" fmla="*/ 532181 w 624496"/>
              <a:gd name="connsiteY84" fmla="*/ 357483 h 585398"/>
              <a:gd name="connsiteX85" fmla="*/ 516293 w 624496"/>
              <a:gd name="connsiteY85" fmla="*/ 357483 h 585398"/>
              <a:gd name="connsiteX86" fmla="*/ 507921 w 624496"/>
              <a:gd name="connsiteY86" fmla="*/ 364226 h 585398"/>
              <a:gd name="connsiteX87" fmla="*/ 488566 w 624496"/>
              <a:gd name="connsiteY87" fmla="*/ 410899 h 585398"/>
              <a:gd name="connsiteX88" fmla="*/ 489709 w 624496"/>
              <a:gd name="connsiteY88" fmla="*/ 421596 h 585398"/>
              <a:gd name="connsiteX89" fmla="*/ 500958 w 624496"/>
              <a:gd name="connsiteY89" fmla="*/ 433321 h 585398"/>
              <a:gd name="connsiteX90" fmla="*/ 467325 w 624496"/>
              <a:gd name="connsiteY90" fmla="*/ 466468 h 585398"/>
              <a:gd name="connsiteX91" fmla="*/ 456086 w 624496"/>
              <a:gd name="connsiteY91" fmla="*/ 455228 h 585398"/>
              <a:gd name="connsiteX92" fmla="*/ 445389 w 624496"/>
              <a:gd name="connsiteY92" fmla="*/ 454076 h 585398"/>
              <a:gd name="connsiteX93" fmla="*/ 398716 w 624496"/>
              <a:gd name="connsiteY93" fmla="*/ 473421 h 585398"/>
              <a:gd name="connsiteX94" fmla="*/ 391963 w 624496"/>
              <a:gd name="connsiteY94" fmla="*/ 481803 h 585398"/>
              <a:gd name="connsiteX95" fmla="*/ 391630 w 624496"/>
              <a:gd name="connsiteY95" fmla="*/ 497996 h 585398"/>
              <a:gd name="connsiteX96" fmla="*/ 344424 w 624496"/>
              <a:gd name="connsiteY96" fmla="*/ 497653 h 585398"/>
              <a:gd name="connsiteX97" fmla="*/ 344424 w 624496"/>
              <a:gd name="connsiteY97" fmla="*/ 481803 h 585398"/>
              <a:gd name="connsiteX98" fmla="*/ 337671 w 624496"/>
              <a:gd name="connsiteY98" fmla="*/ 473421 h 585398"/>
              <a:gd name="connsiteX99" fmla="*/ 290932 w 624496"/>
              <a:gd name="connsiteY99" fmla="*/ 454076 h 585398"/>
              <a:gd name="connsiteX100" fmla="*/ 447456 w 624496"/>
              <a:gd name="connsiteY100" fmla="*/ 415414 h 585398"/>
              <a:gd name="connsiteX101" fmla="*/ 448932 w 624496"/>
              <a:gd name="connsiteY101" fmla="*/ 414042 h 585398"/>
              <a:gd name="connsiteX102" fmla="*/ 449971 w 624496"/>
              <a:gd name="connsiteY102" fmla="*/ 413090 h 585398"/>
              <a:gd name="connsiteX103" fmla="*/ 450494 w 624496"/>
              <a:gd name="connsiteY103" fmla="*/ 412337 h 585398"/>
              <a:gd name="connsiteX104" fmla="*/ 447049 w 624496"/>
              <a:gd name="connsiteY104" fmla="*/ 251134 h 585398"/>
              <a:gd name="connsiteX105" fmla="*/ 285845 w 624496"/>
              <a:gd name="connsiteY105" fmla="*/ 254579 h 585398"/>
              <a:gd name="connsiteX106" fmla="*/ 285845 w 624496"/>
              <a:gd name="connsiteY106" fmla="*/ 412337 h 585398"/>
              <a:gd name="connsiteX107" fmla="*/ 286369 w 624496"/>
              <a:gd name="connsiteY107" fmla="*/ 413080 h 585398"/>
              <a:gd name="connsiteX108" fmla="*/ 287388 w 624496"/>
              <a:gd name="connsiteY108" fmla="*/ 414033 h 585398"/>
              <a:gd name="connsiteX109" fmla="*/ 288969 w 624496"/>
              <a:gd name="connsiteY109" fmla="*/ 415509 h 585398"/>
              <a:gd name="connsiteX110" fmla="*/ 447456 w 624496"/>
              <a:gd name="connsiteY110" fmla="*/ 415423 h 585398"/>
              <a:gd name="connsiteX111" fmla="*/ 358607 w 624496"/>
              <a:gd name="connsiteY111" fmla="*/ 430044 h 585398"/>
              <a:gd name="connsiteX112" fmla="*/ 356435 w 624496"/>
              <a:gd name="connsiteY112" fmla="*/ 429749 h 585398"/>
              <a:gd name="connsiteX113" fmla="*/ 349120 w 624496"/>
              <a:gd name="connsiteY113" fmla="*/ 428635 h 585398"/>
              <a:gd name="connsiteX114" fmla="*/ 347215 w 624496"/>
              <a:gd name="connsiteY114" fmla="*/ 428187 h 585398"/>
              <a:gd name="connsiteX115" fmla="*/ 339842 w 624496"/>
              <a:gd name="connsiteY115" fmla="*/ 426282 h 585398"/>
              <a:gd name="connsiteX116" fmla="*/ 338414 w 624496"/>
              <a:gd name="connsiteY116" fmla="*/ 425806 h 585398"/>
              <a:gd name="connsiteX117" fmla="*/ 330918 w 624496"/>
              <a:gd name="connsiteY117" fmla="*/ 423062 h 585398"/>
              <a:gd name="connsiteX118" fmla="*/ 329813 w 624496"/>
              <a:gd name="connsiteY118" fmla="*/ 422577 h 585398"/>
              <a:gd name="connsiteX119" fmla="*/ 322488 w 624496"/>
              <a:gd name="connsiteY119" fmla="*/ 419043 h 585398"/>
              <a:gd name="connsiteX120" fmla="*/ 321431 w 624496"/>
              <a:gd name="connsiteY120" fmla="*/ 418462 h 585398"/>
              <a:gd name="connsiteX121" fmla="*/ 314668 w 624496"/>
              <a:gd name="connsiteY121" fmla="*/ 414347 h 585398"/>
              <a:gd name="connsiteX122" fmla="*/ 313373 w 624496"/>
              <a:gd name="connsiteY122" fmla="*/ 413461 h 585398"/>
              <a:gd name="connsiteX123" fmla="*/ 307457 w 624496"/>
              <a:gd name="connsiteY123" fmla="*/ 409042 h 585398"/>
              <a:gd name="connsiteX124" fmla="*/ 305791 w 624496"/>
              <a:gd name="connsiteY124" fmla="*/ 407661 h 585398"/>
              <a:gd name="connsiteX125" fmla="*/ 303400 w 624496"/>
              <a:gd name="connsiteY125" fmla="*/ 405489 h 585398"/>
              <a:gd name="connsiteX126" fmla="*/ 409862 w 624496"/>
              <a:gd name="connsiteY126" fmla="*/ 382411 h 585398"/>
              <a:gd name="connsiteX127" fmla="*/ 432940 w 624496"/>
              <a:gd name="connsiteY127" fmla="*/ 405489 h 585398"/>
              <a:gd name="connsiteX128" fmla="*/ 430530 w 624496"/>
              <a:gd name="connsiteY128" fmla="*/ 407680 h 585398"/>
              <a:gd name="connsiteX129" fmla="*/ 428901 w 624496"/>
              <a:gd name="connsiteY129" fmla="*/ 409023 h 585398"/>
              <a:gd name="connsiteX130" fmla="*/ 422958 w 624496"/>
              <a:gd name="connsiteY130" fmla="*/ 413471 h 585398"/>
              <a:gd name="connsiteX131" fmla="*/ 421691 w 624496"/>
              <a:gd name="connsiteY131" fmla="*/ 414338 h 585398"/>
              <a:gd name="connsiteX132" fmla="*/ 414900 w 624496"/>
              <a:gd name="connsiteY132" fmla="*/ 418471 h 585398"/>
              <a:gd name="connsiteX133" fmla="*/ 413861 w 624496"/>
              <a:gd name="connsiteY133" fmla="*/ 419043 h 585398"/>
              <a:gd name="connsiteX134" fmla="*/ 406517 w 624496"/>
              <a:gd name="connsiteY134" fmla="*/ 422586 h 585398"/>
              <a:gd name="connsiteX135" fmla="*/ 405432 w 624496"/>
              <a:gd name="connsiteY135" fmla="*/ 423062 h 585398"/>
              <a:gd name="connsiteX136" fmla="*/ 397926 w 624496"/>
              <a:gd name="connsiteY136" fmla="*/ 425815 h 585398"/>
              <a:gd name="connsiteX137" fmla="*/ 396507 w 624496"/>
              <a:gd name="connsiteY137" fmla="*/ 426282 h 585398"/>
              <a:gd name="connsiteX138" fmla="*/ 389115 w 624496"/>
              <a:gd name="connsiteY138" fmla="*/ 428187 h 585398"/>
              <a:gd name="connsiteX139" fmla="*/ 387210 w 624496"/>
              <a:gd name="connsiteY139" fmla="*/ 428635 h 585398"/>
              <a:gd name="connsiteX140" fmla="*/ 379895 w 624496"/>
              <a:gd name="connsiteY140" fmla="*/ 429749 h 585398"/>
              <a:gd name="connsiteX141" fmla="*/ 377733 w 624496"/>
              <a:gd name="connsiteY141" fmla="*/ 430044 h 585398"/>
              <a:gd name="connsiteX142" fmla="*/ 368208 w 624496"/>
              <a:gd name="connsiteY142" fmla="*/ 430530 h 585398"/>
              <a:gd name="connsiteX143" fmla="*/ 358607 w 624496"/>
              <a:gd name="connsiteY143" fmla="*/ 430044 h 585398"/>
              <a:gd name="connsiteX144" fmla="*/ 368132 w 624496"/>
              <a:gd name="connsiteY144" fmla="*/ 236811 h 585398"/>
              <a:gd name="connsiteX145" fmla="*/ 464987 w 624496"/>
              <a:gd name="connsiteY145" fmla="*/ 333332 h 585398"/>
              <a:gd name="connsiteX146" fmla="*/ 444827 w 624496"/>
              <a:gd name="connsiteY146" fmla="*/ 392592 h 585398"/>
              <a:gd name="connsiteX147" fmla="*/ 313574 w 624496"/>
              <a:gd name="connsiteY147" fmla="*/ 370493 h 585398"/>
              <a:gd name="connsiteX148" fmla="*/ 291475 w 624496"/>
              <a:gd name="connsiteY148" fmla="*/ 392592 h 585398"/>
              <a:gd name="connsiteX149" fmla="*/ 308910 w 624496"/>
              <a:gd name="connsiteY149" fmla="*/ 256970 h 585398"/>
              <a:gd name="connsiteX150" fmla="*/ 368170 w 624496"/>
              <a:gd name="connsiteY150" fmla="*/ 236811 h 585398"/>
              <a:gd name="connsiteX151" fmla="*/ 368132 w 624496"/>
              <a:gd name="connsiteY151" fmla="*/ 344986 h 585398"/>
              <a:gd name="connsiteX152" fmla="*/ 412575 w 624496"/>
              <a:gd name="connsiteY152" fmla="*/ 300542 h 585398"/>
              <a:gd name="connsiteX153" fmla="*/ 368132 w 624496"/>
              <a:gd name="connsiteY153" fmla="*/ 256099 h 585398"/>
              <a:gd name="connsiteX154" fmla="*/ 323688 w 624496"/>
              <a:gd name="connsiteY154" fmla="*/ 300542 h 585398"/>
              <a:gd name="connsiteX155" fmla="*/ 368170 w 624496"/>
              <a:gd name="connsiteY155" fmla="*/ 344986 h 585398"/>
              <a:gd name="connsiteX156" fmla="*/ 368132 w 624496"/>
              <a:gd name="connsiteY156" fmla="*/ 273244 h 585398"/>
              <a:gd name="connsiteX157" fmla="*/ 395430 w 624496"/>
              <a:gd name="connsiteY157" fmla="*/ 300542 h 585398"/>
              <a:gd name="connsiteX158" fmla="*/ 368132 w 624496"/>
              <a:gd name="connsiteY158" fmla="*/ 327841 h 585398"/>
              <a:gd name="connsiteX159" fmla="*/ 340833 w 624496"/>
              <a:gd name="connsiteY159" fmla="*/ 300542 h 585398"/>
              <a:gd name="connsiteX160" fmla="*/ 368170 w 624496"/>
              <a:gd name="connsiteY160" fmla="*/ 273244 h 585398"/>
              <a:gd name="connsiteX161" fmla="*/ 423548 w 624496"/>
              <a:gd name="connsiteY161" fmla="*/ 121577 h 585398"/>
              <a:gd name="connsiteX162" fmla="*/ 425015 w 624496"/>
              <a:gd name="connsiteY162" fmla="*/ 121577 h 585398"/>
              <a:gd name="connsiteX163" fmla="*/ 431321 w 624496"/>
              <a:gd name="connsiteY163" fmla="*/ 136817 h 585398"/>
              <a:gd name="connsiteX164" fmla="*/ 430273 w 624496"/>
              <a:gd name="connsiteY164" fmla="*/ 137874 h 585398"/>
              <a:gd name="connsiteX165" fmla="*/ 430273 w 624496"/>
              <a:gd name="connsiteY165" fmla="*/ 156391 h 585398"/>
              <a:gd name="connsiteX166" fmla="*/ 447142 w 624496"/>
              <a:gd name="connsiteY166" fmla="*/ 173260 h 585398"/>
              <a:gd name="connsiteX167" fmla="*/ 465668 w 624496"/>
              <a:gd name="connsiteY167" fmla="*/ 173260 h 585398"/>
              <a:gd name="connsiteX168" fmla="*/ 466706 w 624496"/>
              <a:gd name="connsiteY168" fmla="*/ 172222 h 585398"/>
              <a:gd name="connsiteX169" fmla="*/ 481946 w 624496"/>
              <a:gd name="connsiteY169" fmla="*/ 178537 h 585398"/>
              <a:gd name="connsiteX170" fmla="*/ 481946 w 624496"/>
              <a:gd name="connsiteY170" fmla="*/ 179994 h 585398"/>
              <a:gd name="connsiteX171" fmla="*/ 495100 w 624496"/>
              <a:gd name="connsiteY171" fmla="*/ 193091 h 585398"/>
              <a:gd name="connsiteX172" fmla="*/ 495138 w 624496"/>
              <a:gd name="connsiteY172" fmla="*/ 193091 h 585398"/>
              <a:gd name="connsiteX173" fmla="*/ 518951 w 624496"/>
              <a:gd name="connsiteY173" fmla="*/ 193091 h 585398"/>
              <a:gd name="connsiteX174" fmla="*/ 532057 w 624496"/>
              <a:gd name="connsiteY174" fmla="*/ 179984 h 585398"/>
              <a:gd name="connsiteX175" fmla="*/ 532057 w 624496"/>
              <a:gd name="connsiteY175" fmla="*/ 178527 h 585398"/>
              <a:gd name="connsiteX176" fmla="*/ 547297 w 624496"/>
              <a:gd name="connsiteY176" fmla="*/ 172212 h 585398"/>
              <a:gd name="connsiteX177" fmla="*/ 548326 w 624496"/>
              <a:gd name="connsiteY177" fmla="*/ 173241 h 585398"/>
              <a:gd name="connsiteX178" fmla="*/ 557584 w 624496"/>
              <a:gd name="connsiteY178" fmla="*/ 177051 h 585398"/>
              <a:gd name="connsiteX179" fmla="*/ 557584 w 624496"/>
              <a:gd name="connsiteY179" fmla="*/ 177051 h 585398"/>
              <a:gd name="connsiteX180" fmla="*/ 566852 w 624496"/>
              <a:gd name="connsiteY180" fmla="*/ 173241 h 585398"/>
              <a:gd name="connsiteX181" fmla="*/ 583721 w 624496"/>
              <a:gd name="connsiteY181" fmla="*/ 156381 h 585398"/>
              <a:gd name="connsiteX182" fmla="*/ 583721 w 624496"/>
              <a:gd name="connsiteY182" fmla="*/ 137855 h 585398"/>
              <a:gd name="connsiteX183" fmla="*/ 582692 w 624496"/>
              <a:gd name="connsiteY183" fmla="*/ 136817 h 585398"/>
              <a:gd name="connsiteX184" fmla="*/ 589007 w 624496"/>
              <a:gd name="connsiteY184" fmla="*/ 121577 h 585398"/>
              <a:gd name="connsiteX185" fmla="*/ 590464 w 624496"/>
              <a:gd name="connsiteY185" fmla="*/ 121577 h 585398"/>
              <a:gd name="connsiteX186" fmla="*/ 603571 w 624496"/>
              <a:gd name="connsiteY186" fmla="*/ 108471 h 585398"/>
              <a:gd name="connsiteX187" fmla="*/ 603571 w 624496"/>
              <a:gd name="connsiteY187" fmla="*/ 84658 h 585398"/>
              <a:gd name="connsiteX188" fmla="*/ 590464 w 624496"/>
              <a:gd name="connsiteY188" fmla="*/ 71552 h 585398"/>
              <a:gd name="connsiteX189" fmla="*/ 589007 w 624496"/>
              <a:gd name="connsiteY189" fmla="*/ 71552 h 585398"/>
              <a:gd name="connsiteX190" fmla="*/ 582692 w 624496"/>
              <a:gd name="connsiteY190" fmla="*/ 56312 h 585398"/>
              <a:gd name="connsiteX191" fmla="*/ 583721 w 624496"/>
              <a:gd name="connsiteY191" fmla="*/ 55235 h 585398"/>
              <a:gd name="connsiteX192" fmla="*/ 583729 w 624496"/>
              <a:gd name="connsiteY192" fmla="*/ 36727 h 585398"/>
              <a:gd name="connsiteX193" fmla="*/ 583721 w 624496"/>
              <a:gd name="connsiteY193" fmla="*/ 36719 h 585398"/>
              <a:gd name="connsiteX194" fmla="*/ 566861 w 624496"/>
              <a:gd name="connsiteY194" fmla="*/ 19850 h 585398"/>
              <a:gd name="connsiteX195" fmla="*/ 548335 w 624496"/>
              <a:gd name="connsiteY195" fmla="*/ 19850 h 585398"/>
              <a:gd name="connsiteX196" fmla="*/ 547297 w 624496"/>
              <a:gd name="connsiteY196" fmla="*/ 20888 h 585398"/>
              <a:gd name="connsiteX197" fmla="*/ 532057 w 624496"/>
              <a:gd name="connsiteY197" fmla="*/ 14573 h 585398"/>
              <a:gd name="connsiteX198" fmla="*/ 532057 w 624496"/>
              <a:gd name="connsiteY198" fmla="*/ 13116 h 585398"/>
              <a:gd name="connsiteX199" fmla="*/ 518951 w 624496"/>
              <a:gd name="connsiteY199" fmla="*/ 0 h 585398"/>
              <a:gd name="connsiteX200" fmla="*/ 495138 w 624496"/>
              <a:gd name="connsiteY200" fmla="*/ 0 h 585398"/>
              <a:gd name="connsiteX201" fmla="*/ 482032 w 624496"/>
              <a:gd name="connsiteY201" fmla="*/ 13106 h 585398"/>
              <a:gd name="connsiteX202" fmla="*/ 482032 w 624496"/>
              <a:gd name="connsiteY202" fmla="*/ 14583 h 585398"/>
              <a:gd name="connsiteX203" fmla="*/ 466792 w 624496"/>
              <a:gd name="connsiteY203" fmla="*/ 20898 h 585398"/>
              <a:gd name="connsiteX204" fmla="*/ 465753 w 624496"/>
              <a:gd name="connsiteY204" fmla="*/ 19869 h 585398"/>
              <a:gd name="connsiteX205" fmla="*/ 447227 w 624496"/>
              <a:gd name="connsiteY205" fmla="*/ 19869 h 585398"/>
              <a:gd name="connsiteX206" fmla="*/ 430368 w 624496"/>
              <a:gd name="connsiteY206" fmla="*/ 36728 h 585398"/>
              <a:gd name="connsiteX207" fmla="*/ 430368 w 624496"/>
              <a:gd name="connsiteY207" fmla="*/ 55264 h 585398"/>
              <a:gd name="connsiteX208" fmla="*/ 431406 w 624496"/>
              <a:gd name="connsiteY208" fmla="*/ 56293 h 585398"/>
              <a:gd name="connsiteX209" fmla="*/ 425091 w 624496"/>
              <a:gd name="connsiteY209" fmla="*/ 71533 h 585398"/>
              <a:gd name="connsiteX210" fmla="*/ 423624 w 624496"/>
              <a:gd name="connsiteY210" fmla="*/ 71533 h 585398"/>
              <a:gd name="connsiteX211" fmla="*/ 410518 w 624496"/>
              <a:gd name="connsiteY211" fmla="*/ 84639 h 585398"/>
              <a:gd name="connsiteX212" fmla="*/ 410518 w 624496"/>
              <a:gd name="connsiteY212" fmla="*/ 108452 h 585398"/>
              <a:gd name="connsiteX213" fmla="*/ 423586 w 624496"/>
              <a:gd name="connsiteY213" fmla="*/ 121577 h 585398"/>
              <a:gd name="connsiteX214" fmla="*/ 427587 w 624496"/>
              <a:gd name="connsiteY214" fmla="*/ 88659 h 585398"/>
              <a:gd name="connsiteX215" fmla="*/ 431635 w 624496"/>
              <a:gd name="connsiteY215" fmla="*/ 88659 h 585398"/>
              <a:gd name="connsiteX216" fmla="*/ 440007 w 624496"/>
              <a:gd name="connsiteY216" fmla="*/ 81915 h 585398"/>
              <a:gd name="connsiteX217" fmla="*/ 449285 w 624496"/>
              <a:gd name="connsiteY217" fmla="*/ 59531 h 585398"/>
              <a:gd name="connsiteX218" fmla="*/ 448132 w 624496"/>
              <a:gd name="connsiteY218" fmla="*/ 48835 h 585398"/>
              <a:gd name="connsiteX219" fmla="*/ 445275 w 624496"/>
              <a:gd name="connsiteY219" fmla="*/ 45977 h 585398"/>
              <a:gd name="connsiteX220" fmla="*/ 456429 w 624496"/>
              <a:gd name="connsiteY220" fmla="*/ 34823 h 585398"/>
              <a:gd name="connsiteX221" fmla="*/ 459286 w 624496"/>
              <a:gd name="connsiteY221" fmla="*/ 37681 h 585398"/>
              <a:gd name="connsiteX222" fmla="*/ 469973 w 624496"/>
              <a:gd name="connsiteY222" fmla="*/ 38833 h 585398"/>
              <a:gd name="connsiteX223" fmla="*/ 492366 w 624496"/>
              <a:gd name="connsiteY223" fmla="*/ 29556 h 585398"/>
              <a:gd name="connsiteX224" fmla="*/ 499110 w 624496"/>
              <a:gd name="connsiteY224" fmla="*/ 21184 h 585398"/>
              <a:gd name="connsiteX225" fmla="*/ 499110 w 624496"/>
              <a:gd name="connsiteY225" fmla="*/ 17135 h 585398"/>
              <a:gd name="connsiteX226" fmla="*/ 514883 w 624496"/>
              <a:gd name="connsiteY226" fmla="*/ 17135 h 585398"/>
              <a:gd name="connsiteX227" fmla="*/ 514883 w 624496"/>
              <a:gd name="connsiteY227" fmla="*/ 21184 h 585398"/>
              <a:gd name="connsiteX228" fmla="*/ 521627 w 624496"/>
              <a:gd name="connsiteY228" fmla="*/ 29556 h 585398"/>
              <a:gd name="connsiteX229" fmla="*/ 544011 w 624496"/>
              <a:gd name="connsiteY229" fmla="*/ 38833 h 585398"/>
              <a:gd name="connsiteX230" fmla="*/ 554698 w 624496"/>
              <a:gd name="connsiteY230" fmla="*/ 37681 h 585398"/>
              <a:gd name="connsiteX231" fmla="*/ 557555 w 624496"/>
              <a:gd name="connsiteY231" fmla="*/ 34823 h 585398"/>
              <a:gd name="connsiteX232" fmla="*/ 568757 w 624496"/>
              <a:gd name="connsiteY232" fmla="*/ 46015 h 585398"/>
              <a:gd name="connsiteX233" fmla="*/ 565899 w 624496"/>
              <a:gd name="connsiteY233" fmla="*/ 48873 h 585398"/>
              <a:gd name="connsiteX234" fmla="*/ 564747 w 624496"/>
              <a:gd name="connsiteY234" fmla="*/ 59569 h 585398"/>
              <a:gd name="connsiteX235" fmla="*/ 574015 w 624496"/>
              <a:gd name="connsiteY235" fmla="*/ 81944 h 585398"/>
              <a:gd name="connsiteX236" fmla="*/ 582397 w 624496"/>
              <a:gd name="connsiteY236" fmla="*/ 88697 h 585398"/>
              <a:gd name="connsiteX237" fmla="*/ 586445 w 624496"/>
              <a:gd name="connsiteY237" fmla="*/ 88697 h 585398"/>
              <a:gd name="connsiteX238" fmla="*/ 586445 w 624496"/>
              <a:gd name="connsiteY238" fmla="*/ 104470 h 585398"/>
              <a:gd name="connsiteX239" fmla="*/ 582397 w 624496"/>
              <a:gd name="connsiteY239" fmla="*/ 104470 h 585398"/>
              <a:gd name="connsiteX240" fmla="*/ 574015 w 624496"/>
              <a:gd name="connsiteY240" fmla="*/ 111223 h 585398"/>
              <a:gd name="connsiteX241" fmla="*/ 564747 w 624496"/>
              <a:gd name="connsiteY241" fmla="*/ 133607 h 585398"/>
              <a:gd name="connsiteX242" fmla="*/ 565899 w 624496"/>
              <a:gd name="connsiteY242" fmla="*/ 144294 h 585398"/>
              <a:gd name="connsiteX243" fmla="*/ 568757 w 624496"/>
              <a:gd name="connsiteY243" fmla="*/ 147152 h 585398"/>
              <a:gd name="connsiteX244" fmla="*/ 557603 w 624496"/>
              <a:gd name="connsiteY244" fmla="*/ 158306 h 585398"/>
              <a:gd name="connsiteX245" fmla="*/ 554746 w 624496"/>
              <a:gd name="connsiteY245" fmla="*/ 155448 h 585398"/>
              <a:gd name="connsiteX246" fmla="*/ 544059 w 624496"/>
              <a:gd name="connsiteY246" fmla="*/ 154296 h 585398"/>
              <a:gd name="connsiteX247" fmla="*/ 521675 w 624496"/>
              <a:gd name="connsiteY247" fmla="*/ 163573 h 585398"/>
              <a:gd name="connsiteX248" fmla="*/ 514931 w 624496"/>
              <a:gd name="connsiteY248" fmla="*/ 171945 h 585398"/>
              <a:gd name="connsiteX249" fmla="*/ 514931 w 624496"/>
              <a:gd name="connsiteY249" fmla="*/ 175984 h 585398"/>
              <a:gd name="connsiteX250" fmla="*/ 499148 w 624496"/>
              <a:gd name="connsiteY250" fmla="*/ 175984 h 585398"/>
              <a:gd name="connsiteX251" fmla="*/ 499148 w 624496"/>
              <a:gd name="connsiteY251" fmla="*/ 171945 h 585398"/>
              <a:gd name="connsiteX252" fmla="*/ 492404 w 624496"/>
              <a:gd name="connsiteY252" fmla="*/ 163573 h 585398"/>
              <a:gd name="connsiteX253" fmla="*/ 470011 w 624496"/>
              <a:gd name="connsiteY253" fmla="*/ 154295 h 585398"/>
              <a:gd name="connsiteX254" fmla="*/ 459324 w 624496"/>
              <a:gd name="connsiteY254" fmla="*/ 155448 h 585398"/>
              <a:gd name="connsiteX255" fmla="*/ 456467 w 624496"/>
              <a:gd name="connsiteY255" fmla="*/ 158306 h 585398"/>
              <a:gd name="connsiteX256" fmla="*/ 445303 w 624496"/>
              <a:gd name="connsiteY256" fmla="*/ 147152 h 585398"/>
              <a:gd name="connsiteX257" fmla="*/ 448161 w 624496"/>
              <a:gd name="connsiteY257" fmla="*/ 144294 h 585398"/>
              <a:gd name="connsiteX258" fmla="*/ 449304 w 624496"/>
              <a:gd name="connsiteY258" fmla="*/ 133598 h 585398"/>
              <a:gd name="connsiteX259" fmla="*/ 440036 w 624496"/>
              <a:gd name="connsiteY259" fmla="*/ 111223 h 585398"/>
              <a:gd name="connsiteX260" fmla="*/ 431663 w 624496"/>
              <a:gd name="connsiteY260" fmla="*/ 104480 h 585398"/>
              <a:gd name="connsiteX261" fmla="*/ 427615 w 624496"/>
              <a:gd name="connsiteY261" fmla="*/ 104480 h 585398"/>
              <a:gd name="connsiteX262" fmla="*/ 506997 w 624496"/>
              <a:gd name="connsiteY262" fmla="*/ 150686 h 585398"/>
              <a:gd name="connsiteX263" fmla="*/ 561137 w 624496"/>
              <a:gd name="connsiteY263" fmla="*/ 96545 h 585398"/>
              <a:gd name="connsiteX264" fmla="*/ 506997 w 624496"/>
              <a:gd name="connsiteY264" fmla="*/ 42405 h 585398"/>
              <a:gd name="connsiteX265" fmla="*/ 452857 w 624496"/>
              <a:gd name="connsiteY265" fmla="*/ 96545 h 585398"/>
              <a:gd name="connsiteX266" fmla="*/ 452857 w 624496"/>
              <a:gd name="connsiteY266" fmla="*/ 96555 h 585398"/>
              <a:gd name="connsiteX267" fmla="*/ 507035 w 624496"/>
              <a:gd name="connsiteY267" fmla="*/ 150686 h 585398"/>
              <a:gd name="connsiteX268" fmla="*/ 506997 w 624496"/>
              <a:gd name="connsiteY268" fmla="*/ 59550 h 585398"/>
              <a:gd name="connsiteX269" fmla="*/ 544001 w 624496"/>
              <a:gd name="connsiteY269" fmla="*/ 96555 h 585398"/>
              <a:gd name="connsiteX270" fmla="*/ 506997 w 624496"/>
              <a:gd name="connsiteY270" fmla="*/ 133560 h 585398"/>
              <a:gd name="connsiteX271" fmla="*/ 469992 w 624496"/>
              <a:gd name="connsiteY271" fmla="*/ 96555 h 585398"/>
              <a:gd name="connsiteX272" fmla="*/ 507035 w 624496"/>
              <a:gd name="connsiteY272" fmla="*/ 59550 h 585398"/>
              <a:gd name="connsiteX273" fmla="*/ 623916 w 624496"/>
              <a:gd name="connsiteY273" fmla="*/ 239211 h 585398"/>
              <a:gd name="connsiteX274" fmla="*/ 612792 w 624496"/>
              <a:gd name="connsiteY274" fmla="*/ 244031 h 585398"/>
              <a:gd name="connsiteX275" fmla="*/ 612791 w 624496"/>
              <a:gd name="connsiteY275" fmla="*/ 244031 h 585398"/>
              <a:gd name="connsiteX276" fmla="*/ 601551 w 624496"/>
              <a:gd name="connsiteY276" fmla="*/ 239582 h 585398"/>
              <a:gd name="connsiteX277" fmla="*/ 462466 w 624496"/>
              <a:gd name="connsiteY277" fmla="*/ 567093 h 585398"/>
              <a:gd name="connsiteX278" fmla="*/ 367551 w 624496"/>
              <a:gd name="connsiteY278" fmla="*/ 585397 h 585398"/>
              <a:gd name="connsiteX279" fmla="*/ 328336 w 624496"/>
              <a:gd name="connsiteY279" fmla="*/ 582282 h 585398"/>
              <a:gd name="connsiteX280" fmla="*/ 321007 w 624496"/>
              <a:gd name="connsiteY280" fmla="*/ 572626 h 585398"/>
              <a:gd name="connsiteX281" fmla="*/ 330663 w 624496"/>
              <a:gd name="connsiteY281" fmla="*/ 565296 h 585398"/>
              <a:gd name="connsiteX282" fmla="*/ 331041 w 624496"/>
              <a:gd name="connsiteY282" fmla="*/ 565356 h 585398"/>
              <a:gd name="connsiteX283" fmla="*/ 599748 w 624496"/>
              <a:gd name="connsiteY283" fmla="*/ 370934 h 585398"/>
              <a:gd name="connsiteX284" fmla="*/ 585730 w 624496"/>
              <a:gd name="connsiteY284" fmla="*/ 246183 h 585398"/>
              <a:gd name="connsiteX285" fmla="*/ 581168 w 624496"/>
              <a:gd name="connsiteY285" fmla="*/ 257727 h 585398"/>
              <a:gd name="connsiteX286" fmla="*/ 570043 w 624496"/>
              <a:gd name="connsiteY286" fmla="*/ 262547 h 585398"/>
              <a:gd name="connsiteX287" fmla="*/ 565223 w 624496"/>
              <a:gd name="connsiteY287" fmla="*/ 251422 h 585398"/>
              <a:gd name="connsiteX288" fmla="*/ 576948 w 624496"/>
              <a:gd name="connsiteY288" fmla="*/ 221771 h 585398"/>
              <a:gd name="connsiteX289" fmla="*/ 581301 w 624496"/>
              <a:gd name="connsiteY289" fmla="*/ 216256 h 585398"/>
              <a:gd name="connsiteX290" fmla="*/ 581882 w 624496"/>
              <a:gd name="connsiteY290" fmla="*/ 216094 h 585398"/>
              <a:gd name="connsiteX291" fmla="*/ 581882 w 624496"/>
              <a:gd name="connsiteY291" fmla="*/ 216094 h 585398"/>
              <a:gd name="connsiteX292" fmla="*/ 582063 w 624496"/>
              <a:gd name="connsiteY292" fmla="*/ 216094 h 585398"/>
              <a:gd name="connsiteX293" fmla="*/ 584978 w 624496"/>
              <a:gd name="connsiteY293" fmla="*/ 215465 h 585398"/>
              <a:gd name="connsiteX294" fmla="*/ 586149 w 624496"/>
              <a:gd name="connsiteY294" fmla="*/ 215608 h 585398"/>
              <a:gd name="connsiteX295" fmla="*/ 588054 w 624496"/>
              <a:gd name="connsiteY295" fmla="*/ 215960 h 585398"/>
              <a:gd name="connsiteX296" fmla="*/ 588436 w 624496"/>
              <a:gd name="connsiteY296" fmla="*/ 216027 h 585398"/>
              <a:gd name="connsiteX297" fmla="*/ 619068 w 624496"/>
              <a:gd name="connsiteY297" fmla="*/ 228143 h 585398"/>
              <a:gd name="connsiteX298" fmla="*/ 623916 w 624496"/>
              <a:gd name="connsiteY298" fmla="*/ 239211 h 585398"/>
              <a:gd name="connsiteX299" fmla="*/ 188757 w 624496"/>
              <a:gd name="connsiteY299" fmla="*/ 446627 h 585398"/>
              <a:gd name="connsiteX300" fmla="*/ 178470 w 624496"/>
              <a:gd name="connsiteY300" fmla="*/ 453038 h 585398"/>
              <a:gd name="connsiteX301" fmla="*/ 175222 w 624496"/>
              <a:gd name="connsiteY301" fmla="*/ 467020 h 585398"/>
              <a:gd name="connsiteX302" fmla="*/ 133712 w 624496"/>
              <a:gd name="connsiteY302" fmla="*/ 332127 h 585398"/>
              <a:gd name="connsiteX303" fmla="*/ 136808 w 624496"/>
              <a:gd name="connsiteY303" fmla="*/ 330660 h 585398"/>
              <a:gd name="connsiteX304" fmla="*/ 137846 w 624496"/>
              <a:gd name="connsiteY304" fmla="*/ 331708 h 585398"/>
              <a:gd name="connsiteX305" fmla="*/ 156381 w 624496"/>
              <a:gd name="connsiteY305" fmla="*/ 331708 h 585398"/>
              <a:gd name="connsiteX306" fmla="*/ 173260 w 624496"/>
              <a:gd name="connsiteY306" fmla="*/ 314830 h 585398"/>
              <a:gd name="connsiteX307" fmla="*/ 173260 w 624496"/>
              <a:gd name="connsiteY307" fmla="*/ 296294 h 585398"/>
              <a:gd name="connsiteX308" fmla="*/ 172231 w 624496"/>
              <a:gd name="connsiteY308" fmla="*/ 295266 h 585398"/>
              <a:gd name="connsiteX309" fmla="*/ 178537 w 624496"/>
              <a:gd name="connsiteY309" fmla="*/ 280026 h 585398"/>
              <a:gd name="connsiteX310" fmla="*/ 180003 w 624496"/>
              <a:gd name="connsiteY310" fmla="*/ 280025 h 585398"/>
              <a:gd name="connsiteX311" fmla="*/ 193119 w 624496"/>
              <a:gd name="connsiteY311" fmla="*/ 266929 h 585398"/>
              <a:gd name="connsiteX312" fmla="*/ 193119 w 624496"/>
              <a:gd name="connsiteY312" fmla="*/ 243116 h 585398"/>
              <a:gd name="connsiteX313" fmla="*/ 180003 w 624496"/>
              <a:gd name="connsiteY313" fmla="*/ 230000 h 585398"/>
              <a:gd name="connsiteX314" fmla="*/ 178537 w 624496"/>
              <a:gd name="connsiteY314" fmla="*/ 230000 h 585398"/>
              <a:gd name="connsiteX315" fmla="*/ 172231 w 624496"/>
              <a:gd name="connsiteY315" fmla="*/ 214760 h 585398"/>
              <a:gd name="connsiteX316" fmla="*/ 173279 w 624496"/>
              <a:gd name="connsiteY316" fmla="*/ 213712 h 585398"/>
              <a:gd name="connsiteX317" fmla="*/ 176003 w 624496"/>
              <a:gd name="connsiteY317" fmla="*/ 199320 h 585398"/>
              <a:gd name="connsiteX318" fmla="*/ 361207 w 624496"/>
              <a:gd name="connsiteY318" fmla="*/ 99165 h 585398"/>
              <a:gd name="connsiteX319" fmla="*/ 369518 w 624496"/>
              <a:gd name="connsiteY319" fmla="*/ 90330 h 585398"/>
              <a:gd name="connsiteX320" fmla="*/ 360683 w 624496"/>
              <a:gd name="connsiteY320" fmla="*/ 82020 h 585398"/>
              <a:gd name="connsiteX321" fmla="*/ 164268 w 624496"/>
              <a:gd name="connsiteY321" fmla="*/ 186166 h 585398"/>
              <a:gd name="connsiteX322" fmla="*/ 156401 w 624496"/>
              <a:gd name="connsiteY322" fmla="*/ 178308 h 585398"/>
              <a:gd name="connsiteX323" fmla="*/ 147133 w 624496"/>
              <a:gd name="connsiteY323" fmla="*/ 174498 h 585398"/>
              <a:gd name="connsiteX324" fmla="*/ 147133 w 624496"/>
              <a:gd name="connsiteY324" fmla="*/ 174498 h 585398"/>
              <a:gd name="connsiteX325" fmla="*/ 137855 w 624496"/>
              <a:gd name="connsiteY325" fmla="*/ 178308 h 585398"/>
              <a:gd name="connsiteX326" fmla="*/ 136827 w 624496"/>
              <a:gd name="connsiteY326" fmla="*/ 179346 h 585398"/>
              <a:gd name="connsiteX327" fmla="*/ 121587 w 624496"/>
              <a:gd name="connsiteY327" fmla="*/ 173031 h 585398"/>
              <a:gd name="connsiteX328" fmla="*/ 121587 w 624496"/>
              <a:gd name="connsiteY328" fmla="*/ 171555 h 585398"/>
              <a:gd name="connsiteX329" fmla="*/ 108499 w 624496"/>
              <a:gd name="connsiteY329" fmla="*/ 158410 h 585398"/>
              <a:gd name="connsiteX330" fmla="*/ 108471 w 624496"/>
              <a:gd name="connsiteY330" fmla="*/ 158410 h 585398"/>
              <a:gd name="connsiteX331" fmla="*/ 84611 w 624496"/>
              <a:gd name="connsiteY331" fmla="*/ 158410 h 585398"/>
              <a:gd name="connsiteX332" fmla="*/ 71495 w 624496"/>
              <a:gd name="connsiteY332" fmla="*/ 171507 h 585398"/>
              <a:gd name="connsiteX333" fmla="*/ 71495 w 624496"/>
              <a:gd name="connsiteY333" fmla="*/ 172984 h 585398"/>
              <a:gd name="connsiteX334" fmla="*/ 56255 w 624496"/>
              <a:gd name="connsiteY334" fmla="*/ 179299 h 585398"/>
              <a:gd name="connsiteX335" fmla="*/ 55235 w 624496"/>
              <a:gd name="connsiteY335" fmla="*/ 178279 h 585398"/>
              <a:gd name="connsiteX336" fmla="*/ 45949 w 624496"/>
              <a:gd name="connsiteY336" fmla="*/ 174469 h 585398"/>
              <a:gd name="connsiteX337" fmla="*/ 45949 w 624496"/>
              <a:gd name="connsiteY337" fmla="*/ 174469 h 585398"/>
              <a:gd name="connsiteX338" fmla="*/ 36700 w 624496"/>
              <a:gd name="connsiteY338" fmla="*/ 178279 h 585398"/>
              <a:gd name="connsiteX339" fmla="*/ 19841 w 624496"/>
              <a:gd name="connsiteY339" fmla="*/ 195158 h 585398"/>
              <a:gd name="connsiteX340" fmla="*/ 19841 w 624496"/>
              <a:gd name="connsiteY340" fmla="*/ 213693 h 585398"/>
              <a:gd name="connsiteX341" fmla="*/ 20879 w 624496"/>
              <a:gd name="connsiteY341" fmla="*/ 214722 h 585398"/>
              <a:gd name="connsiteX342" fmla="*/ 14573 w 624496"/>
              <a:gd name="connsiteY342" fmla="*/ 229962 h 585398"/>
              <a:gd name="connsiteX343" fmla="*/ 13097 w 624496"/>
              <a:gd name="connsiteY343" fmla="*/ 229962 h 585398"/>
              <a:gd name="connsiteX344" fmla="*/ 0 w 624496"/>
              <a:gd name="connsiteY344" fmla="*/ 243078 h 585398"/>
              <a:gd name="connsiteX345" fmla="*/ 0 w 624496"/>
              <a:gd name="connsiteY345" fmla="*/ 266891 h 585398"/>
              <a:gd name="connsiteX346" fmla="*/ 13097 w 624496"/>
              <a:gd name="connsiteY346" fmla="*/ 279987 h 585398"/>
              <a:gd name="connsiteX347" fmla="*/ 14564 w 624496"/>
              <a:gd name="connsiteY347" fmla="*/ 279987 h 585398"/>
              <a:gd name="connsiteX348" fmla="*/ 20879 w 624496"/>
              <a:gd name="connsiteY348" fmla="*/ 295227 h 585398"/>
              <a:gd name="connsiteX349" fmla="*/ 19850 w 624496"/>
              <a:gd name="connsiteY349" fmla="*/ 296256 h 585398"/>
              <a:gd name="connsiteX350" fmla="*/ 19840 w 624496"/>
              <a:gd name="connsiteY350" fmla="*/ 314791 h 585398"/>
              <a:gd name="connsiteX351" fmla="*/ 19850 w 624496"/>
              <a:gd name="connsiteY351" fmla="*/ 314801 h 585398"/>
              <a:gd name="connsiteX352" fmla="*/ 36728 w 624496"/>
              <a:gd name="connsiteY352" fmla="*/ 331765 h 585398"/>
              <a:gd name="connsiteX353" fmla="*/ 55245 w 624496"/>
              <a:gd name="connsiteY353" fmla="*/ 331765 h 585398"/>
              <a:gd name="connsiteX354" fmla="*/ 56274 w 624496"/>
              <a:gd name="connsiteY354" fmla="*/ 330727 h 585398"/>
              <a:gd name="connsiteX355" fmla="*/ 71514 w 624496"/>
              <a:gd name="connsiteY355" fmla="*/ 337042 h 585398"/>
              <a:gd name="connsiteX356" fmla="*/ 71514 w 624496"/>
              <a:gd name="connsiteY356" fmla="*/ 338433 h 585398"/>
              <a:gd name="connsiteX357" fmla="*/ 84611 w 624496"/>
              <a:gd name="connsiteY357" fmla="*/ 351530 h 585398"/>
              <a:gd name="connsiteX358" fmla="*/ 108423 w 624496"/>
              <a:gd name="connsiteY358" fmla="*/ 351530 h 585398"/>
              <a:gd name="connsiteX359" fmla="*/ 116815 w 624496"/>
              <a:gd name="connsiteY359" fmla="*/ 348415 h 585398"/>
              <a:gd name="connsiteX360" fmla="*/ 158839 w 624496"/>
              <a:gd name="connsiteY360" fmla="*/ 473497 h 585398"/>
              <a:gd name="connsiteX361" fmla="*/ 149219 w 624496"/>
              <a:gd name="connsiteY361" fmla="*/ 471268 h 585398"/>
              <a:gd name="connsiteX362" fmla="*/ 138927 w 624496"/>
              <a:gd name="connsiteY362" fmla="*/ 477684 h 585398"/>
              <a:gd name="connsiteX363" fmla="*/ 145342 w 624496"/>
              <a:gd name="connsiteY363" fmla="*/ 487975 h 585398"/>
              <a:gd name="connsiteX364" fmla="*/ 177432 w 624496"/>
              <a:gd name="connsiteY364" fmla="*/ 495424 h 585398"/>
              <a:gd name="connsiteX365" fmla="*/ 179337 w 624496"/>
              <a:gd name="connsiteY365" fmla="*/ 495643 h 585398"/>
              <a:gd name="connsiteX366" fmla="*/ 179394 w 624496"/>
              <a:gd name="connsiteY366" fmla="*/ 495643 h 585398"/>
              <a:gd name="connsiteX367" fmla="*/ 179661 w 624496"/>
              <a:gd name="connsiteY367" fmla="*/ 495643 h 585398"/>
              <a:gd name="connsiteX368" fmla="*/ 181899 w 624496"/>
              <a:gd name="connsiteY368" fmla="*/ 495271 h 585398"/>
              <a:gd name="connsiteX369" fmla="*/ 182947 w 624496"/>
              <a:gd name="connsiteY369" fmla="*/ 494805 h 585398"/>
              <a:gd name="connsiteX370" fmla="*/ 183899 w 624496"/>
              <a:gd name="connsiteY370" fmla="*/ 494395 h 585398"/>
              <a:gd name="connsiteX371" fmla="*/ 184185 w 624496"/>
              <a:gd name="connsiteY371" fmla="*/ 494128 h 585398"/>
              <a:gd name="connsiteX372" fmla="*/ 184823 w 624496"/>
              <a:gd name="connsiteY372" fmla="*/ 493776 h 585398"/>
              <a:gd name="connsiteX373" fmla="*/ 185699 w 624496"/>
              <a:gd name="connsiteY373" fmla="*/ 492709 h 585398"/>
              <a:gd name="connsiteX374" fmla="*/ 186509 w 624496"/>
              <a:gd name="connsiteY374" fmla="*/ 491757 h 585398"/>
              <a:gd name="connsiteX375" fmla="*/ 187461 w 624496"/>
              <a:gd name="connsiteY375" fmla="*/ 489737 h 585398"/>
              <a:gd name="connsiteX376" fmla="*/ 187747 w 624496"/>
              <a:gd name="connsiteY376" fmla="*/ 489099 h 585398"/>
              <a:gd name="connsiteX377" fmla="*/ 195196 w 624496"/>
              <a:gd name="connsiteY377" fmla="*/ 457010 h 585398"/>
              <a:gd name="connsiteX378" fmla="*/ 188886 w 624496"/>
              <a:gd name="connsiteY378" fmla="*/ 446658 h 585398"/>
              <a:gd name="connsiteX379" fmla="*/ 188757 w 624496"/>
              <a:gd name="connsiteY379" fmla="*/ 446627 h 585398"/>
              <a:gd name="connsiteX380" fmla="*/ 104432 w 624496"/>
              <a:gd name="connsiteY380" fmla="*/ 330346 h 585398"/>
              <a:gd name="connsiteX381" fmla="*/ 104432 w 624496"/>
              <a:gd name="connsiteY381" fmla="*/ 334385 h 585398"/>
              <a:gd name="connsiteX382" fmla="*/ 88659 w 624496"/>
              <a:gd name="connsiteY382" fmla="*/ 334385 h 585398"/>
              <a:gd name="connsiteX383" fmla="*/ 88659 w 624496"/>
              <a:gd name="connsiteY383" fmla="*/ 330346 h 585398"/>
              <a:gd name="connsiteX384" fmla="*/ 81905 w 624496"/>
              <a:gd name="connsiteY384" fmla="*/ 321974 h 585398"/>
              <a:gd name="connsiteX385" fmla="*/ 59531 w 624496"/>
              <a:gd name="connsiteY385" fmla="*/ 312706 h 585398"/>
              <a:gd name="connsiteX386" fmla="*/ 48825 w 624496"/>
              <a:gd name="connsiteY386" fmla="*/ 313858 h 585398"/>
              <a:gd name="connsiteX387" fmla="*/ 45968 w 624496"/>
              <a:gd name="connsiteY387" fmla="*/ 316716 h 585398"/>
              <a:gd name="connsiteX388" fmla="*/ 34814 w 624496"/>
              <a:gd name="connsiteY388" fmla="*/ 305562 h 585398"/>
              <a:gd name="connsiteX389" fmla="*/ 37671 w 624496"/>
              <a:gd name="connsiteY389" fmla="*/ 302705 h 585398"/>
              <a:gd name="connsiteX390" fmla="*/ 38824 w 624496"/>
              <a:gd name="connsiteY390" fmla="*/ 292008 h 585398"/>
              <a:gd name="connsiteX391" fmla="*/ 29547 w 624496"/>
              <a:gd name="connsiteY391" fmla="*/ 269615 h 585398"/>
              <a:gd name="connsiteX392" fmla="*/ 21174 w 624496"/>
              <a:gd name="connsiteY392" fmla="*/ 262871 h 585398"/>
              <a:gd name="connsiteX393" fmla="*/ 17135 w 624496"/>
              <a:gd name="connsiteY393" fmla="*/ 262871 h 585398"/>
              <a:gd name="connsiteX394" fmla="*/ 17135 w 624496"/>
              <a:gd name="connsiteY394" fmla="*/ 247098 h 585398"/>
              <a:gd name="connsiteX395" fmla="*/ 21174 w 624496"/>
              <a:gd name="connsiteY395" fmla="*/ 247098 h 585398"/>
              <a:gd name="connsiteX396" fmla="*/ 29556 w 624496"/>
              <a:gd name="connsiteY396" fmla="*/ 240325 h 585398"/>
              <a:gd name="connsiteX397" fmla="*/ 38833 w 624496"/>
              <a:gd name="connsiteY397" fmla="*/ 217951 h 585398"/>
              <a:gd name="connsiteX398" fmla="*/ 37681 w 624496"/>
              <a:gd name="connsiteY398" fmla="*/ 207254 h 585398"/>
              <a:gd name="connsiteX399" fmla="*/ 34823 w 624496"/>
              <a:gd name="connsiteY399" fmla="*/ 204397 h 585398"/>
              <a:gd name="connsiteX400" fmla="*/ 45968 w 624496"/>
              <a:gd name="connsiteY400" fmla="*/ 193253 h 585398"/>
              <a:gd name="connsiteX401" fmla="*/ 48825 w 624496"/>
              <a:gd name="connsiteY401" fmla="*/ 196110 h 585398"/>
              <a:gd name="connsiteX402" fmla="*/ 59522 w 624496"/>
              <a:gd name="connsiteY402" fmla="*/ 197253 h 585398"/>
              <a:gd name="connsiteX403" fmla="*/ 81886 w 624496"/>
              <a:gd name="connsiteY403" fmla="*/ 187985 h 585398"/>
              <a:gd name="connsiteX404" fmla="*/ 88649 w 624496"/>
              <a:gd name="connsiteY404" fmla="*/ 179613 h 585398"/>
              <a:gd name="connsiteX405" fmla="*/ 88649 w 624496"/>
              <a:gd name="connsiteY405" fmla="*/ 175555 h 585398"/>
              <a:gd name="connsiteX406" fmla="*/ 104423 w 624496"/>
              <a:gd name="connsiteY406" fmla="*/ 175555 h 585398"/>
              <a:gd name="connsiteX407" fmla="*/ 104423 w 624496"/>
              <a:gd name="connsiteY407" fmla="*/ 179603 h 585398"/>
              <a:gd name="connsiteX408" fmla="*/ 111176 w 624496"/>
              <a:gd name="connsiteY408" fmla="*/ 187976 h 585398"/>
              <a:gd name="connsiteX409" fmla="*/ 133550 w 624496"/>
              <a:gd name="connsiteY409" fmla="*/ 197244 h 585398"/>
              <a:gd name="connsiteX410" fmla="*/ 144256 w 624496"/>
              <a:gd name="connsiteY410" fmla="*/ 196101 h 585398"/>
              <a:gd name="connsiteX411" fmla="*/ 147114 w 624496"/>
              <a:gd name="connsiteY411" fmla="*/ 193243 h 585398"/>
              <a:gd name="connsiteX412" fmla="*/ 158267 w 624496"/>
              <a:gd name="connsiteY412" fmla="*/ 204387 h 585398"/>
              <a:gd name="connsiteX413" fmla="*/ 155410 w 624496"/>
              <a:gd name="connsiteY413" fmla="*/ 207245 h 585398"/>
              <a:gd name="connsiteX414" fmla="*/ 154267 w 624496"/>
              <a:gd name="connsiteY414" fmla="*/ 217932 h 585398"/>
              <a:gd name="connsiteX415" fmla="*/ 163525 w 624496"/>
              <a:gd name="connsiteY415" fmla="*/ 240325 h 585398"/>
              <a:gd name="connsiteX416" fmla="*/ 171907 w 624496"/>
              <a:gd name="connsiteY416" fmla="*/ 247079 h 585398"/>
              <a:gd name="connsiteX417" fmla="*/ 175955 w 624496"/>
              <a:gd name="connsiteY417" fmla="*/ 247079 h 585398"/>
              <a:gd name="connsiteX418" fmla="*/ 175955 w 624496"/>
              <a:gd name="connsiteY418" fmla="*/ 262852 h 585398"/>
              <a:gd name="connsiteX419" fmla="*/ 171907 w 624496"/>
              <a:gd name="connsiteY419" fmla="*/ 262852 h 585398"/>
              <a:gd name="connsiteX420" fmla="*/ 163525 w 624496"/>
              <a:gd name="connsiteY420" fmla="*/ 269605 h 585398"/>
              <a:gd name="connsiteX421" fmla="*/ 154257 w 624496"/>
              <a:gd name="connsiteY421" fmla="*/ 291979 h 585398"/>
              <a:gd name="connsiteX422" fmla="*/ 155410 w 624496"/>
              <a:gd name="connsiteY422" fmla="*/ 302685 h 585398"/>
              <a:gd name="connsiteX423" fmla="*/ 158267 w 624496"/>
              <a:gd name="connsiteY423" fmla="*/ 305543 h 585398"/>
              <a:gd name="connsiteX424" fmla="*/ 147123 w 624496"/>
              <a:gd name="connsiteY424" fmla="*/ 316706 h 585398"/>
              <a:gd name="connsiteX425" fmla="*/ 144266 w 624496"/>
              <a:gd name="connsiteY425" fmla="*/ 313849 h 585398"/>
              <a:gd name="connsiteX426" fmla="*/ 133560 w 624496"/>
              <a:gd name="connsiteY426" fmla="*/ 312706 h 585398"/>
              <a:gd name="connsiteX427" fmla="*/ 121996 w 624496"/>
              <a:gd name="connsiteY427" fmla="*/ 318592 h 585398"/>
              <a:gd name="connsiteX428" fmla="*/ 121825 w 624496"/>
              <a:gd name="connsiteY428" fmla="*/ 318649 h 585398"/>
              <a:gd name="connsiteX429" fmla="*/ 111195 w 624496"/>
              <a:gd name="connsiteY429" fmla="*/ 321974 h 585398"/>
              <a:gd name="connsiteX430" fmla="*/ 104432 w 624496"/>
              <a:gd name="connsiteY430" fmla="*/ 330346 h 585398"/>
              <a:gd name="connsiteX431" fmla="*/ 150695 w 624496"/>
              <a:gd name="connsiteY431" fmla="*/ 254994 h 585398"/>
              <a:gd name="connsiteX432" fmla="*/ 96564 w 624496"/>
              <a:gd name="connsiteY432" fmla="*/ 200825 h 585398"/>
              <a:gd name="connsiteX433" fmla="*/ 42396 w 624496"/>
              <a:gd name="connsiteY433" fmla="*/ 254956 h 585398"/>
              <a:gd name="connsiteX434" fmla="*/ 96526 w 624496"/>
              <a:gd name="connsiteY434" fmla="*/ 309124 h 585398"/>
              <a:gd name="connsiteX435" fmla="*/ 96545 w 624496"/>
              <a:gd name="connsiteY435" fmla="*/ 309124 h 585398"/>
              <a:gd name="connsiteX436" fmla="*/ 150695 w 624496"/>
              <a:gd name="connsiteY436" fmla="*/ 254994 h 585398"/>
              <a:gd name="connsiteX437" fmla="*/ 96545 w 624496"/>
              <a:gd name="connsiteY437" fmla="*/ 291979 h 585398"/>
              <a:gd name="connsiteX438" fmla="*/ 59541 w 624496"/>
              <a:gd name="connsiteY438" fmla="*/ 254975 h 585398"/>
              <a:gd name="connsiteX439" fmla="*/ 96545 w 624496"/>
              <a:gd name="connsiteY439" fmla="*/ 217970 h 585398"/>
              <a:gd name="connsiteX440" fmla="*/ 133550 w 624496"/>
              <a:gd name="connsiteY440" fmla="*/ 254975 h 585398"/>
              <a:gd name="connsiteX441" fmla="*/ 133550 w 624496"/>
              <a:gd name="connsiteY441" fmla="*/ 254994 h 585398"/>
              <a:gd name="connsiteX442" fmla="*/ 96545 w 624496"/>
              <a:gd name="connsiteY442" fmla="*/ 291979 h 58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</a:cxnLst>
            <a:rect l="l" t="t" r="r" b="b"/>
            <a:pathLst>
              <a:path w="624496" h="585398">
                <a:moveTo>
                  <a:pt x="327250" y="497681"/>
                </a:moveTo>
                <a:cubicBezTo>
                  <a:pt x="327256" y="507328"/>
                  <a:pt x="335072" y="515149"/>
                  <a:pt x="344719" y="515160"/>
                </a:cubicBezTo>
                <a:lnTo>
                  <a:pt x="391601" y="515160"/>
                </a:lnTo>
                <a:cubicBezTo>
                  <a:pt x="401250" y="515149"/>
                  <a:pt x="409069" y="507330"/>
                  <a:pt x="409080" y="497681"/>
                </a:cubicBezTo>
                <a:lnTo>
                  <a:pt x="409080" y="488556"/>
                </a:lnTo>
                <a:cubicBezTo>
                  <a:pt x="422986" y="484902"/>
                  <a:pt x="436329" y="479372"/>
                  <a:pt x="448742" y="472116"/>
                </a:cubicBezTo>
                <a:lnTo>
                  <a:pt x="455209" y="478584"/>
                </a:lnTo>
                <a:cubicBezTo>
                  <a:pt x="462041" y="485393"/>
                  <a:pt x="473095" y="485393"/>
                  <a:pt x="479927" y="478584"/>
                </a:cubicBezTo>
                <a:lnTo>
                  <a:pt x="513083" y="445427"/>
                </a:lnTo>
                <a:cubicBezTo>
                  <a:pt x="519886" y="438596"/>
                  <a:pt x="519886" y="427550"/>
                  <a:pt x="513083" y="420719"/>
                </a:cubicBezTo>
                <a:lnTo>
                  <a:pt x="506568" y="414252"/>
                </a:lnTo>
                <a:cubicBezTo>
                  <a:pt x="513832" y="401852"/>
                  <a:pt x="519375" y="388522"/>
                  <a:pt x="523046" y="374628"/>
                </a:cubicBezTo>
                <a:lnTo>
                  <a:pt x="532181" y="374628"/>
                </a:lnTo>
                <a:cubicBezTo>
                  <a:pt x="541829" y="374617"/>
                  <a:pt x="549649" y="366798"/>
                  <a:pt x="549659" y="357149"/>
                </a:cubicBezTo>
                <a:lnTo>
                  <a:pt x="549659" y="310229"/>
                </a:lnTo>
                <a:cubicBezTo>
                  <a:pt x="549670" y="300566"/>
                  <a:pt x="541844" y="292723"/>
                  <a:pt x="532181" y="292713"/>
                </a:cubicBezTo>
                <a:lnTo>
                  <a:pt x="523046" y="292713"/>
                </a:lnTo>
                <a:cubicBezTo>
                  <a:pt x="519392" y="278809"/>
                  <a:pt x="513865" y="265466"/>
                  <a:pt x="506616" y="253051"/>
                </a:cubicBezTo>
                <a:lnTo>
                  <a:pt x="513074" y="246602"/>
                </a:lnTo>
                <a:cubicBezTo>
                  <a:pt x="519912" y="239775"/>
                  <a:pt x="519921" y="228696"/>
                  <a:pt x="513094" y="221857"/>
                </a:cubicBezTo>
                <a:cubicBezTo>
                  <a:pt x="513087" y="221851"/>
                  <a:pt x="513080" y="221844"/>
                  <a:pt x="513074" y="221837"/>
                </a:cubicBezTo>
                <a:lnTo>
                  <a:pt x="479927" y="188690"/>
                </a:lnTo>
                <a:cubicBezTo>
                  <a:pt x="473003" y="182107"/>
                  <a:pt x="462133" y="182107"/>
                  <a:pt x="455209" y="188690"/>
                </a:cubicBezTo>
                <a:lnTo>
                  <a:pt x="448742" y="195158"/>
                </a:lnTo>
                <a:cubicBezTo>
                  <a:pt x="436333" y="187903"/>
                  <a:pt x="422992" y="182375"/>
                  <a:pt x="409089" y="178727"/>
                </a:cubicBezTo>
                <a:lnTo>
                  <a:pt x="409089" y="169602"/>
                </a:lnTo>
                <a:cubicBezTo>
                  <a:pt x="409079" y="159947"/>
                  <a:pt x="401257" y="152121"/>
                  <a:pt x="391601" y="152105"/>
                </a:cubicBezTo>
                <a:lnTo>
                  <a:pt x="344729" y="152105"/>
                </a:lnTo>
                <a:cubicBezTo>
                  <a:pt x="335075" y="152121"/>
                  <a:pt x="327256" y="159948"/>
                  <a:pt x="327250" y="169602"/>
                </a:cubicBezTo>
                <a:lnTo>
                  <a:pt x="327250" y="178727"/>
                </a:lnTo>
                <a:cubicBezTo>
                  <a:pt x="313345" y="182377"/>
                  <a:pt x="300001" y="187905"/>
                  <a:pt x="287588" y="195158"/>
                </a:cubicBezTo>
                <a:lnTo>
                  <a:pt x="281121" y="188700"/>
                </a:lnTo>
                <a:cubicBezTo>
                  <a:pt x="274293" y="181880"/>
                  <a:pt x="263231" y="181880"/>
                  <a:pt x="256403" y="188700"/>
                </a:cubicBezTo>
                <a:lnTo>
                  <a:pt x="223256" y="221847"/>
                </a:lnTo>
                <a:cubicBezTo>
                  <a:pt x="216418" y="228674"/>
                  <a:pt x="216409" y="239753"/>
                  <a:pt x="223237" y="246592"/>
                </a:cubicBezTo>
                <a:cubicBezTo>
                  <a:pt x="223243" y="246599"/>
                  <a:pt x="223250" y="246605"/>
                  <a:pt x="223256" y="246612"/>
                </a:cubicBezTo>
                <a:lnTo>
                  <a:pt x="229714" y="253060"/>
                </a:lnTo>
                <a:cubicBezTo>
                  <a:pt x="222471" y="265475"/>
                  <a:pt x="216944" y="278814"/>
                  <a:pt x="213284" y="292713"/>
                </a:cubicBezTo>
                <a:lnTo>
                  <a:pt x="204149" y="292713"/>
                </a:lnTo>
                <a:cubicBezTo>
                  <a:pt x="194501" y="292723"/>
                  <a:pt x="186681" y="300542"/>
                  <a:pt x="186671" y="310191"/>
                </a:cubicBezTo>
                <a:lnTo>
                  <a:pt x="186671" y="357073"/>
                </a:lnTo>
                <a:cubicBezTo>
                  <a:pt x="186639" y="366737"/>
                  <a:pt x="194448" y="374596"/>
                  <a:pt x="204111" y="374628"/>
                </a:cubicBezTo>
                <a:cubicBezTo>
                  <a:pt x="204124" y="374628"/>
                  <a:pt x="204137" y="374628"/>
                  <a:pt x="204149" y="374628"/>
                </a:cubicBezTo>
                <a:lnTo>
                  <a:pt x="213284" y="374628"/>
                </a:lnTo>
                <a:cubicBezTo>
                  <a:pt x="216943" y="388530"/>
                  <a:pt x="222470" y="401872"/>
                  <a:pt x="229714" y="414290"/>
                </a:cubicBezTo>
                <a:lnTo>
                  <a:pt x="223256" y="420748"/>
                </a:lnTo>
                <a:cubicBezTo>
                  <a:pt x="216426" y="427590"/>
                  <a:pt x="216426" y="438671"/>
                  <a:pt x="223256" y="445513"/>
                </a:cubicBezTo>
                <a:lnTo>
                  <a:pt x="256413" y="478660"/>
                </a:lnTo>
                <a:cubicBezTo>
                  <a:pt x="263246" y="485458"/>
                  <a:pt x="274288" y="485458"/>
                  <a:pt x="281121" y="478660"/>
                </a:cubicBezTo>
                <a:lnTo>
                  <a:pt x="287588" y="472192"/>
                </a:lnTo>
                <a:cubicBezTo>
                  <a:pt x="300002" y="479446"/>
                  <a:pt x="313345" y="484977"/>
                  <a:pt x="327250" y="488633"/>
                </a:cubicBezTo>
                <a:close/>
                <a:moveTo>
                  <a:pt x="290932" y="454076"/>
                </a:moveTo>
                <a:cubicBezTo>
                  <a:pt x="287541" y="451902"/>
                  <a:pt x="283094" y="452381"/>
                  <a:pt x="280245" y="455228"/>
                </a:cubicBezTo>
                <a:lnTo>
                  <a:pt x="268519" y="466468"/>
                </a:lnTo>
                <a:lnTo>
                  <a:pt x="235382" y="432826"/>
                </a:lnTo>
                <a:lnTo>
                  <a:pt x="246612" y="421596"/>
                </a:lnTo>
                <a:cubicBezTo>
                  <a:pt x="249464" y="418745"/>
                  <a:pt x="249944" y="414292"/>
                  <a:pt x="247764" y="410899"/>
                </a:cubicBezTo>
                <a:cubicBezTo>
                  <a:pt x="238573" y="396626"/>
                  <a:pt x="232020" y="380817"/>
                  <a:pt x="228419" y="364226"/>
                </a:cubicBezTo>
                <a:cubicBezTo>
                  <a:pt x="227563" y="360283"/>
                  <a:pt x="224072" y="357471"/>
                  <a:pt x="220037" y="357473"/>
                </a:cubicBezTo>
                <a:lnTo>
                  <a:pt x="203845" y="357140"/>
                </a:lnTo>
                <a:lnTo>
                  <a:pt x="204149" y="309858"/>
                </a:lnTo>
                <a:lnTo>
                  <a:pt x="220037" y="309858"/>
                </a:lnTo>
                <a:cubicBezTo>
                  <a:pt x="224072" y="309860"/>
                  <a:pt x="227563" y="307048"/>
                  <a:pt x="228419" y="303105"/>
                </a:cubicBezTo>
                <a:cubicBezTo>
                  <a:pt x="232020" y="286514"/>
                  <a:pt x="238573" y="270705"/>
                  <a:pt x="247764" y="256432"/>
                </a:cubicBezTo>
                <a:cubicBezTo>
                  <a:pt x="249944" y="253039"/>
                  <a:pt x="249464" y="248586"/>
                  <a:pt x="246612" y="245735"/>
                </a:cubicBezTo>
                <a:lnTo>
                  <a:pt x="235382" y="234020"/>
                </a:lnTo>
                <a:lnTo>
                  <a:pt x="269005" y="200873"/>
                </a:lnTo>
                <a:lnTo>
                  <a:pt x="280245" y="212112"/>
                </a:lnTo>
                <a:cubicBezTo>
                  <a:pt x="283096" y="214956"/>
                  <a:pt x="287543" y="215432"/>
                  <a:pt x="290932" y="213255"/>
                </a:cubicBezTo>
                <a:cubicBezTo>
                  <a:pt x="305205" y="204066"/>
                  <a:pt x="321014" y="197516"/>
                  <a:pt x="337604" y="193919"/>
                </a:cubicBezTo>
                <a:cubicBezTo>
                  <a:pt x="341544" y="193064"/>
                  <a:pt x="344355" y="189579"/>
                  <a:pt x="344357" y="185547"/>
                </a:cubicBezTo>
                <a:lnTo>
                  <a:pt x="344691" y="169355"/>
                </a:lnTo>
                <a:lnTo>
                  <a:pt x="391906" y="169707"/>
                </a:lnTo>
                <a:lnTo>
                  <a:pt x="391906" y="185557"/>
                </a:lnTo>
                <a:cubicBezTo>
                  <a:pt x="391908" y="189588"/>
                  <a:pt x="394720" y="193073"/>
                  <a:pt x="398659" y="193929"/>
                </a:cubicBezTo>
                <a:cubicBezTo>
                  <a:pt x="415251" y="197522"/>
                  <a:pt x="431060" y="204072"/>
                  <a:pt x="445332" y="213265"/>
                </a:cubicBezTo>
                <a:cubicBezTo>
                  <a:pt x="448723" y="215447"/>
                  <a:pt x="453175" y="214971"/>
                  <a:pt x="456028" y="212122"/>
                </a:cubicBezTo>
                <a:lnTo>
                  <a:pt x="467754" y="200882"/>
                </a:lnTo>
                <a:lnTo>
                  <a:pt x="500901" y="234515"/>
                </a:lnTo>
                <a:lnTo>
                  <a:pt x="489661" y="245745"/>
                </a:lnTo>
                <a:cubicBezTo>
                  <a:pt x="486812" y="248598"/>
                  <a:pt x="486336" y="253051"/>
                  <a:pt x="488518" y="256442"/>
                </a:cubicBezTo>
                <a:cubicBezTo>
                  <a:pt x="497707" y="270716"/>
                  <a:pt x="504260" y="286524"/>
                  <a:pt x="507863" y="303114"/>
                </a:cubicBezTo>
                <a:cubicBezTo>
                  <a:pt x="508719" y="307054"/>
                  <a:pt x="512204" y="309865"/>
                  <a:pt x="516236" y="309867"/>
                </a:cubicBezTo>
                <a:lnTo>
                  <a:pt x="532428" y="310201"/>
                </a:lnTo>
                <a:lnTo>
                  <a:pt x="532181" y="357483"/>
                </a:lnTo>
                <a:lnTo>
                  <a:pt x="516293" y="357483"/>
                </a:lnTo>
                <a:cubicBezTo>
                  <a:pt x="512264" y="357484"/>
                  <a:pt x="508780" y="360291"/>
                  <a:pt x="507921" y="364226"/>
                </a:cubicBezTo>
                <a:cubicBezTo>
                  <a:pt x="504313" y="380816"/>
                  <a:pt x="497757" y="396624"/>
                  <a:pt x="488566" y="410899"/>
                </a:cubicBezTo>
                <a:cubicBezTo>
                  <a:pt x="486384" y="414290"/>
                  <a:pt x="486860" y="418743"/>
                  <a:pt x="489709" y="421596"/>
                </a:cubicBezTo>
                <a:lnTo>
                  <a:pt x="500958" y="433321"/>
                </a:lnTo>
                <a:lnTo>
                  <a:pt x="467325" y="466468"/>
                </a:lnTo>
                <a:lnTo>
                  <a:pt x="456086" y="455228"/>
                </a:lnTo>
                <a:cubicBezTo>
                  <a:pt x="453235" y="452376"/>
                  <a:pt x="448782" y="451896"/>
                  <a:pt x="445389" y="454076"/>
                </a:cubicBezTo>
                <a:cubicBezTo>
                  <a:pt x="431116" y="463268"/>
                  <a:pt x="415307" y="469820"/>
                  <a:pt x="398716" y="473421"/>
                </a:cubicBezTo>
                <a:cubicBezTo>
                  <a:pt x="394773" y="474277"/>
                  <a:pt x="391961" y="477768"/>
                  <a:pt x="391963" y="481803"/>
                </a:cubicBezTo>
                <a:lnTo>
                  <a:pt x="391630" y="497996"/>
                </a:lnTo>
                <a:lnTo>
                  <a:pt x="344424" y="497653"/>
                </a:lnTo>
                <a:lnTo>
                  <a:pt x="344424" y="481803"/>
                </a:lnTo>
                <a:cubicBezTo>
                  <a:pt x="344426" y="477768"/>
                  <a:pt x="341614" y="474277"/>
                  <a:pt x="337671" y="473421"/>
                </a:cubicBezTo>
                <a:cubicBezTo>
                  <a:pt x="321058" y="469826"/>
                  <a:pt x="305226" y="463273"/>
                  <a:pt x="290932" y="454076"/>
                </a:cubicBezTo>
                <a:close/>
                <a:moveTo>
                  <a:pt x="447456" y="415414"/>
                </a:moveTo>
                <a:cubicBezTo>
                  <a:pt x="447942" y="414947"/>
                  <a:pt x="448408" y="414518"/>
                  <a:pt x="448932" y="414042"/>
                </a:cubicBezTo>
                <a:cubicBezTo>
                  <a:pt x="449266" y="413709"/>
                  <a:pt x="449637" y="413414"/>
                  <a:pt x="449971" y="413090"/>
                </a:cubicBezTo>
                <a:cubicBezTo>
                  <a:pt x="450159" y="412849"/>
                  <a:pt x="450334" y="412598"/>
                  <a:pt x="450494" y="412337"/>
                </a:cubicBezTo>
                <a:cubicBezTo>
                  <a:pt x="494058" y="366871"/>
                  <a:pt x="492516" y="294697"/>
                  <a:pt x="447049" y="251134"/>
                </a:cubicBezTo>
                <a:cubicBezTo>
                  <a:pt x="401582" y="207570"/>
                  <a:pt x="329409" y="209112"/>
                  <a:pt x="285845" y="254579"/>
                </a:cubicBezTo>
                <a:cubicBezTo>
                  <a:pt x="243592" y="298678"/>
                  <a:pt x="243592" y="368239"/>
                  <a:pt x="285845" y="412337"/>
                </a:cubicBezTo>
                <a:cubicBezTo>
                  <a:pt x="286006" y="412595"/>
                  <a:pt x="286181" y="412843"/>
                  <a:pt x="286369" y="413080"/>
                </a:cubicBezTo>
                <a:cubicBezTo>
                  <a:pt x="286693" y="413423"/>
                  <a:pt x="287055" y="413709"/>
                  <a:pt x="287388" y="414033"/>
                </a:cubicBezTo>
                <a:cubicBezTo>
                  <a:pt x="287893" y="414547"/>
                  <a:pt x="288446" y="414985"/>
                  <a:pt x="288969" y="415509"/>
                </a:cubicBezTo>
                <a:cubicBezTo>
                  <a:pt x="333088" y="458445"/>
                  <a:pt x="403384" y="458407"/>
                  <a:pt x="447456" y="415423"/>
                </a:cubicBezTo>
                <a:close/>
                <a:moveTo>
                  <a:pt x="358607" y="430044"/>
                </a:moveTo>
                <a:cubicBezTo>
                  <a:pt x="357873" y="429978"/>
                  <a:pt x="357159" y="429835"/>
                  <a:pt x="356435" y="429749"/>
                </a:cubicBezTo>
                <a:cubicBezTo>
                  <a:pt x="353968" y="429454"/>
                  <a:pt x="351520" y="429111"/>
                  <a:pt x="349120" y="428635"/>
                </a:cubicBezTo>
                <a:cubicBezTo>
                  <a:pt x="348482" y="428501"/>
                  <a:pt x="347853" y="428330"/>
                  <a:pt x="347215" y="428187"/>
                </a:cubicBezTo>
                <a:cubicBezTo>
                  <a:pt x="344729" y="427634"/>
                  <a:pt x="342252" y="427025"/>
                  <a:pt x="339842" y="426282"/>
                </a:cubicBezTo>
                <a:cubicBezTo>
                  <a:pt x="339357" y="426139"/>
                  <a:pt x="338890" y="425968"/>
                  <a:pt x="338414" y="425806"/>
                </a:cubicBezTo>
                <a:cubicBezTo>
                  <a:pt x="335871" y="424986"/>
                  <a:pt x="333365" y="424082"/>
                  <a:pt x="330918" y="423062"/>
                </a:cubicBezTo>
                <a:cubicBezTo>
                  <a:pt x="330546" y="422910"/>
                  <a:pt x="330184" y="422739"/>
                  <a:pt x="329813" y="422577"/>
                </a:cubicBezTo>
                <a:cubicBezTo>
                  <a:pt x="327317" y="421500"/>
                  <a:pt x="324869" y="420329"/>
                  <a:pt x="322488" y="419043"/>
                </a:cubicBezTo>
                <a:lnTo>
                  <a:pt x="321431" y="418462"/>
                </a:lnTo>
                <a:cubicBezTo>
                  <a:pt x="319119" y="417192"/>
                  <a:pt x="316865" y="415820"/>
                  <a:pt x="314668" y="414347"/>
                </a:cubicBezTo>
                <a:lnTo>
                  <a:pt x="313373" y="413461"/>
                </a:lnTo>
                <a:cubicBezTo>
                  <a:pt x="311347" y="412064"/>
                  <a:pt x="309375" y="410591"/>
                  <a:pt x="307457" y="409042"/>
                </a:cubicBezTo>
                <a:lnTo>
                  <a:pt x="305791" y="407661"/>
                </a:lnTo>
                <a:cubicBezTo>
                  <a:pt x="304962" y="406965"/>
                  <a:pt x="304200" y="406213"/>
                  <a:pt x="303400" y="405489"/>
                </a:cubicBezTo>
                <a:cubicBezTo>
                  <a:pt x="326426" y="369717"/>
                  <a:pt x="374091" y="359385"/>
                  <a:pt x="409862" y="382411"/>
                </a:cubicBezTo>
                <a:cubicBezTo>
                  <a:pt x="419115" y="388367"/>
                  <a:pt x="426984" y="396236"/>
                  <a:pt x="432940" y="405489"/>
                </a:cubicBezTo>
                <a:cubicBezTo>
                  <a:pt x="432140" y="406213"/>
                  <a:pt x="431359" y="406975"/>
                  <a:pt x="430530" y="407680"/>
                </a:cubicBezTo>
                <a:cubicBezTo>
                  <a:pt x="429990" y="408137"/>
                  <a:pt x="429447" y="408584"/>
                  <a:pt x="428901" y="409023"/>
                </a:cubicBezTo>
                <a:cubicBezTo>
                  <a:pt x="426996" y="410575"/>
                  <a:pt x="424996" y="412071"/>
                  <a:pt x="422958" y="413471"/>
                </a:cubicBezTo>
                <a:lnTo>
                  <a:pt x="421691" y="414338"/>
                </a:lnTo>
                <a:cubicBezTo>
                  <a:pt x="419487" y="415804"/>
                  <a:pt x="417224" y="417182"/>
                  <a:pt x="414900" y="418471"/>
                </a:cubicBezTo>
                <a:lnTo>
                  <a:pt x="413861" y="419043"/>
                </a:lnTo>
                <a:cubicBezTo>
                  <a:pt x="411474" y="420313"/>
                  <a:pt x="409026" y="421494"/>
                  <a:pt x="406517" y="422586"/>
                </a:cubicBezTo>
                <a:lnTo>
                  <a:pt x="405432" y="423062"/>
                </a:lnTo>
                <a:cubicBezTo>
                  <a:pt x="402984" y="424082"/>
                  <a:pt x="400469" y="424967"/>
                  <a:pt x="397926" y="425815"/>
                </a:cubicBezTo>
                <a:cubicBezTo>
                  <a:pt x="397450" y="425968"/>
                  <a:pt x="396973" y="426139"/>
                  <a:pt x="396507" y="426282"/>
                </a:cubicBezTo>
                <a:cubicBezTo>
                  <a:pt x="394087" y="427025"/>
                  <a:pt x="391611" y="427634"/>
                  <a:pt x="389115" y="428187"/>
                </a:cubicBezTo>
                <a:cubicBezTo>
                  <a:pt x="388487" y="428330"/>
                  <a:pt x="387858" y="428501"/>
                  <a:pt x="387210" y="428635"/>
                </a:cubicBezTo>
                <a:cubicBezTo>
                  <a:pt x="384810" y="429111"/>
                  <a:pt x="382362" y="429454"/>
                  <a:pt x="379895" y="429749"/>
                </a:cubicBezTo>
                <a:cubicBezTo>
                  <a:pt x="379171" y="429835"/>
                  <a:pt x="378457" y="429978"/>
                  <a:pt x="377733" y="430044"/>
                </a:cubicBezTo>
                <a:cubicBezTo>
                  <a:pt x="374580" y="430359"/>
                  <a:pt x="371389" y="430530"/>
                  <a:pt x="368208" y="430530"/>
                </a:cubicBezTo>
                <a:cubicBezTo>
                  <a:pt x="365027" y="430530"/>
                  <a:pt x="361788" y="430359"/>
                  <a:pt x="358607" y="430044"/>
                </a:cubicBezTo>
                <a:close/>
                <a:moveTo>
                  <a:pt x="368132" y="236811"/>
                </a:moveTo>
                <a:cubicBezTo>
                  <a:pt x="421531" y="236718"/>
                  <a:pt x="464895" y="279933"/>
                  <a:pt x="464987" y="333332"/>
                </a:cubicBezTo>
                <a:cubicBezTo>
                  <a:pt x="465024" y="354774"/>
                  <a:pt x="457932" y="375620"/>
                  <a:pt x="444827" y="392592"/>
                </a:cubicBezTo>
                <a:cubicBezTo>
                  <a:pt x="414685" y="350245"/>
                  <a:pt x="355921" y="340351"/>
                  <a:pt x="313574" y="370493"/>
                </a:cubicBezTo>
                <a:cubicBezTo>
                  <a:pt x="305027" y="376576"/>
                  <a:pt x="297558" y="384045"/>
                  <a:pt x="291475" y="392592"/>
                </a:cubicBezTo>
                <a:cubicBezTo>
                  <a:pt x="258838" y="350326"/>
                  <a:pt x="266644" y="289607"/>
                  <a:pt x="308910" y="256970"/>
                </a:cubicBezTo>
                <a:cubicBezTo>
                  <a:pt x="325881" y="243865"/>
                  <a:pt x="346728" y="236774"/>
                  <a:pt x="368170" y="236811"/>
                </a:cubicBezTo>
                <a:close/>
                <a:moveTo>
                  <a:pt x="368132" y="344986"/>
                </a:moveTo>
                <a:cubicBezTo>
                  <a:pt x="392677" y="344986"/>
                  <a:pt x="412575" y="325088"/>
                  <a:pt x="412575" y="300542"/>
                </a:cubicBezTo>
                <a:cubicBezTo>
                  <a:pt x="412575" y="275997"/>
                  <a:pt x="392677" y="256099"/>
                  <a:pt x="368132" y="256099"/>
                </a:cubicBezTo>
                <a:cubicBezTo>
                  <a:pt x="343586" y="256099"/>
                  <a:pt x="323688" y="275997"/>
                  <a:pt x="323688" y="300542"/>
                </a:cubicBezTo>
                <a:cubicBezTo>
                  <a:pt x="323714" y="325092"/>
                  <a:pt x="343620" y="344981"/>
                  <a:pt x="368170" y="344986"/>
                </a:cubicBezTo>
                <a:close/>
                <a:moveTo>
                  <a:pt x="368132" y="273244"/>
                </a:moveTo>
                <a:cubicBezTo>
                  <a:pt x="383208" y="273244"/>
                  <a:pt x="395430" y="285466"/>
                  <a:pt x="395430" y="300542"/>
                </a:cubicBezTo>
                <a:cubicBezTo>
                  <a:pt x="395430" y="315619"/>
                  <a:pt x="383208" y="327841"/>
                  <a:pt x="368132" y="327841"/>
                </a:cubicBezTo>
                <a:cubicBezTo>
                  <a:pt x="353055" y="327841"/>
                  <a:pt x="340833" y="315619"/>
                  <a:pt x="340833" y="300542"/>
                </a:cubicBezTo>
                <a:cubicBezTo>
                  <a:pt x="340849" y="285457"/>
                  <a:pt x="353085" y="273238"/>
                  <a:pt x="368170" y="273244"/>
                </a:cubicBezTo>
                <a:close/>
                <a:moveTo>
                  <a:pt x="423548" y="121577"/>
                </a:moveTo>
                <a:lnTo>
                  <a:pt x="425015" y="121577"/>
                </a:lnTo>
                <a:cubicBezTo>
                  <a:pt x="426619" y="126849"/>
                  <a:pt x="428730" y="131953"/>
                  <a:pt x="431321" y="136817"/>
                </a:cubicBezTo>
                <a:lnTo>
                  <a:pt x="430273" y="137874"/>
                </a:lnTo>
                <a:cubicBezTo>
                  <a:pt x="425183" y="142997"/>
                  <a:pt x="425183" y="151268"/>
                  <a:pt x="430273" y="156391"/>
                </a:cubicBezTo>
                <a:lnTo>
                  <a:pt x="447142" y="173260"/>
                </a:lnTo>
                <a:cubicBezTo>
                  <a:pt x="452329" y="178201"/>
                  <a:pt x="460481" y="178201"/>
                  <a:pt x="465668" y="173260"/>
                </a:cubicBezTo>
                <a:lnTo>
                  <a:pt x="466706" y="172222"/>
                </a:lnTo>
                <a:cubicBezTo>
                  <a:pt x="471570" y="174813"/>
                  <a:pt x="476674" y="176928"/>
                  <a:pt x="481946" y="178537"/>
                </a:cubicBezTo>
                <a:lnTo>
                  <a:pt x="481946" y="179994"/>
                </a:lnTo>
                <a:cubicBezTo>
                  <a:pt x="481962" y="187243"/>
                  <a:pt x="487851" y="193107"/>
                  <a:pt x="495100" y="193091"/>
                </a:cubicBezTo>
                <a:cubicBezTo>
                  <a:pt x="495113" y="193091"/>
                  <a:pt x="495125" y="193091"/>
                  <a:pt x="495138" y="193091"/>
                </a:cubicBezTo>
                <a:lnTo>
                  <a:pt x="518951" y="193091"/>
                </a:lnTo>
                <a:cubicBezTo>
                  <a:pt x="526185" y="193080"/>
                  <a:pt x="532047" y="187219"/>
                  <a:pt x="532057" y="179984"/>
                </a:cubicBezTo>
                <a:lnTo>
                  <a:pt x="532057" y="178527"/>
                </a:lnTo>
                <a:cubicBezTo>
                  <a:pt x="537329" y="176919"/>
                  <a:pt x="542433" y="174804"/>
                  <a:pt x="547297" y="172212"/>
                </a:cubicBezTo>
                <a:lnTo>
                  <a:pt x="548326" y="173241"/>
                </a:lnTo>
                <a:cubicBezTo>
                  <a:pt x="550780" y="175695"/>
                  <a:pt x="554113" y="177066"/>
                  <a:pt x="557584" y="177051"/>
                </a:cubicBezTo>
                <a:lnTo>
                  <a:pt x="557584" y="177051"/>
                </a:lnTo>
                <a:cubicBezTo>
                  <a:pt x="561058" y="177068"/>
                  <a:pt x="564394" y="175696"/>
                  <a:pt x="566852" y="173241"/>
                </a:cubicBezTo>
                <a:lnTo>
                  <a:pt x="583721" y="156381"/>
                </a:lnTo>
                <a:cubicBezTo>
                  <a:pt x="588833" y="151264"/>
                  <a:pt x="588833" y="142973"/>
                  <a:pt x="583721" y="137855"/>
                </a:cubicBezTo>
                <a:lnTo>
                  <a:pt x="582692" y="136817"/>
                </a:lnTo>
                <a:cubicBezTo>
                  <a:pt x="585287" y="131954"/>
                  <a:pt x="587402" y="126850"/>
                  <a:pt x="589007" y="121577"/>
                </a:cubicBezTo>
                <a:lnTo>
                  <a:pt x="590464" y="121577"/>
                </a:lnTo>
                <a:cubicBezTo>
                  <a:pt x="597701" y="121572"/>
                  <a:pt x="603565" y="115707"/>
                  <a:pt x="603571" y="108471"/>
                </a:cubicBezTo>
                <a:lnTo>
                  <a:pt x="603571" y="84658"/>
                </a:lnTo>
                <a:cubicBezTo>
                  <a:pt x="603560" y="77424"/>
                  <a:pt x="597698" y="71562"/>
                  <a:pt x="590464" y="71552"/>
                </a:cubicBezTo>
                <a:lnTo>
                  <a:pt x="589007" y="71552"/>
                </a:lnTo>
                <a:cubicBezTo>
                  <a:pt x="587402" y="66279"/>
                  <a:pt x="585287" y="61175"/>
                  <a:pt x="582692" y="56312"/>
                </a:cubicBezTo>
                <a:lnTo>
                  <a:pt x="583721" y="55235"/>
                </a:lnTo>
                <a:cubicBezTo>
                  <a:pt x="588834" y="50127"/>
                  <a:pt x="588838" y="41840"/>
                  <a:pt x="583729" y="36727"/>
                </a:cubicBezTo>
                <a:cubicBezTo>
                  <a:pt x="583726" y="36724"/>
                  <a:pt x="583723" y="36722"/>
                  <a:pt x="583721" y="36719"/>
                </a:cubicBezTo>
                <a:lnTo>
                  <a:pt x="566861" y="19850"/>
                </a:lnTo>
                <a:cubicBezTo>
                  <a:pt x="561678" y="14900"/>
                  <a:pt x="553518" y="14900"/>
                  <a:pt x="548335" y="19850"/>
                </a:cubicBezTo>
                <a:lnTo>
                  <a:pt x="547297" y="20888"/>
                </a:lnTo>
                <a:cubicBezTo>
                  <a:pt x="542433" y="18296"/>
                  <a:pt x="537329" y="16182"/>
                  <a:pt x="532057" y="14573"/>
                </a:cubicBezTo>
                <a:lnTo>
                  <a:pt x="532057" y="13116"/>
                </a:lnTo>
                <a:cubicBezTo>
                  <a:pt x="532052" y="5878"/>
                  <a:pt x="526188" y="11"/>
                  <a:pt x="518951" y="0"/>
                </a:cubicBezTo>
                <a:lnTo>
                  <a:pt x="495138" y="0"/>
                </a:lnTo>
                <a:cubicBezTo>
                  <a:pt x="487902" y="5"/>
                  <a:pt x="482037" y="5870"/>
                  <a:pt x="482032" y="13106"/>
                </a:cubicBezTo>
                <a:lnTo>
                  <a:pt x="482032" y="14583"/>
                </a:lnTo>
                <a:cubicBezTo>
                  <a:pt x="476760" y="16191"/>
                  <a:pt x="471656" y="18306"/>
                  <a:pt x="466792" y="20898"/>
                </a:cubicBezTo>
                <a:lnTo>
                  <a:pt x="465753" y="19869"/>
                </a:lnTo>
                <a:cubicBezTo>
                  <a:pt x="460570" y="14919"/>
                  <a:pt x="452411" y="14919"/>
                  <a:pt x="447227" y="19869"/>
                </a:cubicBezTo>
                <a:lnTo>
                  <a:pt x="430368" y="36728"/>
                </a:lnTo>
                <a:cubicBezTo>
                  <a:pt x="425255" y="41849"/>
                  <a:pt x="425255" y="50143"/>
                  <a:pt x="430368" y="55264"/>
                </a:cubicBezTo>
                <a:lnTo>
                  <a:pt x="431406" y="56293"/>
                </a:lnTo>
                <a:cubicBezTo>
                  <a:pt x="428811" y="61156"/>
                  <a:pt x="426696" y="66260"/>
                  <a:pt x="425091" y="71533"/>
                </a:cubicBezTo>
                <a:lnTo>
                  <a:pt x="423624" y="71533"/>
                </a:lnTo>
                <a:cubicBezTo>
                  <a:pt x="416390" y="71543"/>
                  <a:pt x="410529" y="77405"/>
                  <a:pt x="410518" y="84639"/>
                </a:cubicBezTo>
                <a:lnTo>
                  <a:pt x="410518" y="108452"/>
                </a:lnTo>
                <a:cubicBezTo>
                  <a:pt x="410523" y="115676"/>
                  <a:pt x="416362" y="121540"/>
                  <a:pt x="423586" y="121577"/>
                </a:cubicBezTo>
                <a:close/>
                <a:moveTo>
                  <a:pt x="427587" y="88659"/>
                </a:moveTo>
                <a:lnTo>
                  <a:pt x="431635" y="88659"/>
                </a:lnTo>
                <a:cubicBezTo>
                  <a:pt x="435664" y="88657"/>
                  <a:pt x="439148" y="85851"/>
                  <a:pt x="440007" y="81915"/>
                </a:cubicBezTo>
                <a:cubicBezTo>
                  <a:pt x="441735" y="73959"/>
                  <a:pt x="444877" y="66377"/>
                  <a:pt x="449285" y="59531"/>
                </a:cubicBezTo>
                <a:cubicBezTo>
                  <a:pt x="451464" y="56138"/>
                  <a:pt x="450984" y="51685"/>
                  <a:pt x="448132" y="48835"/>
                </a:cubicBezTo>
                <a:lnTo>
                  <a:pt x="445275" y="45977"/>
                </a:lnTo>
                <a:lnTo>
                  <a:pt x="456429" y="34823"/>
                </a:lnTo>
                <a:lnTo>
                  <a:pt x="459286" y="37681"/>
                </a:lnTo>
                <a:cubicBezTo>
                  <a:pt x="462135" y="40528"/>
                  <a:pt x="466582" y="41008"/>
                  <a:pt x="469973" y="38833"/>
                </a:cubicBezTo>
                <a:cubicBezTo>
                  <a:pt x="476823" y="34428"/>
                  <a:pt x="484407" y="31285"/>
                  <a:pt x="492366" y="29556"/>
                </a:cubicBezTo>
                <a:cubicBezTo>
                  <a:pt x="496302" y="28697"/>
                  <a:pt x="499109" y="25212"/>
                  <a:pt x="499110" y="21184"/>
                </a:cubicBezTo>
                <a:lnTo>
                  <a:pt x="499110" y="17135"/>
                </a:lnTo>
                <a:lnTo>
                  <a:pt x="514883" y="17135"/>
                </a:lnTo>
                <a:lnTo>
                  <a:pt x="514883" y="21184"/>
                </a:lnTo>
                <a:cubicBezTo>
                  <a:pt x="514885" y="25212"/>
                  <a:pt x="517691" y="28697"/>
                  <a:pt x="521627" y="29556"/>
                </a:cubicBezTo>
                <a:cubicBezTo>
                  <a:pt x="529584" y="31281"/>
                  <a:pt x="537166" y="34424"/>
                  <a:pt x="544011" y="38833"/>
                </a:cubicBezTo>
                <a:cubicBezTo>
                  <a:pt x="547402" y="41008"/>
                  <a:pt x="551849" y="40528"/>
                  <a:pt x="554698" y="37681"/>
                </a:cubicBezTo>
                <a:lnTo>
                  <a:pt x="557555" y="34823"/>
                </a:lnTo>
                <a:lnTo>
                  <a:pt x="568757" y="46015"/>
                </a:lnTo>
                <a:lnTo>
                  <a:pt x="565899" y="48873"/>
                </a:lnTo>
                <a:cubicBezTo>
                  <a:pt x="563047" y="51723"/>
                  <a:pt x="562567" y="56177"/>
                  <a:pt x="564747" y="59569"/>
                </a:cubicBezTo>
                <a:cubicBezTo>
                  <a:pt x="569154" y="66410"/>
                  <a:pt x="572294" y="73990"/>
                  <a:pt x="574015" y="81944"/>
                </a:cubicBezTo>
                <a:cubicBezTo>
                  <a:pt x="574871" y="85887"/>
                  <a:pt x="578361" y="88699"/>
                  <a:pt x="582397" y="88697"/>
                </a:cubicBezTo>
                <a:lnTo>
                  <a:pt x="586445" y="88697"/>
                </a:lnTo>
                <a:lnTo>
                  <a:pt x="586445" y="104470"/>
                </a:lnTo>
                <a:lnTo>
                  <a:pt x="582397" y="104470"/>
                </a:lnTo>
                <a:cubicBezTo>
                  <a:pt x="578361" y="104468"/>
                  <a:pt x="574871" y="107280"/>
                  <a:pt x="574015" y="111223"/>
                </a:cubicBezTo>
                <a:cubicBezTo>
                  <a:pt x="572293" y="119180"/>
                  <a:pt x="569154" y="126762"/>
                  <a:pt x="564747" y="133607"/>
                </a:cubicBezTo>
                <a:cubicBezTo>
                  <a:pt x="562573" y="136998"/>
                  <a:pt x="563052" y="141445"/>
                  <a:pt x="565899" y="144294"/>
                </a:cubicBezTo>
                <a:lnTo>
                  <a:pt x="568757" y="147152"/>
                </a:lnTo>
                <a:lnTo>
                  <a:pt x="557603" y="158306"/>
                </a:lnTo>
                <a:lnTo>
                  <a:pt x="554746" y="155448"/>
                </a:lnTo>
                <a:cubicBezTo>
                  <a:pt x="551896" y="152601"/>
                  <a:pt x="547449" y="152121"/>
                  <a:pt x="544059" y="154296"/>
                </a:cubicBezTo>
                <a:cubicBezTo>
                  <a:pt x="537214" y="158705"/>
                  <a:pt x="529632" y="161848"/>
                  <a:pt x="521675" y="163573"/>
                </a:cubicBezTo>
                <a:cubicBezTo>
                  <a:pt x="517739" y="164432"/>
                  <a:pt x="514932" y="167917"/>
                  <a:pt x="514931" y="171945"/>
                </a:cubicBezTo>
                <a:lnTo>
                  <a:pt x="514931" y="175984"/>
                </a:lnTo>
                <a:lnTo>
                  <a:pt x="499148" y="175984"/>
                </a:lnTo>
                <a:lnTo>
                  <a:pt x="499148" y="171945"/>
                </a:lnTo>
                <a:cubicBezTo>
                  <a:pt x="499147" y="167917"/>
                  <a:pt x="496340" y="164432"/>
                  <a:pt x="492404" y="163573"/>
                </a:cubicBezTo>
                <a:cubicBezTo>
                  <a:pt x="484446" y="161843"/>
                  <a:pt x="476861" y="158701"/>
                  <a:pt x="470011" y="154295"/>
                </a:cubicBezTo>
                <a:cubicBezTo>
                  <a:pt x="466620" y="152121"/>
                  <a:pt x="462173" y="152601"/>
                  <a:pt x="459324" y="155448"/>
                </a:cubicBezTo>
                <a:lnTo>
                  <a:pt x="456467" y="158306"/>
                </a:lnTo>
                <a:lnTo>
                  <a:pt x="445303" y="147152"/>
                </a:lnTo>
                <a:lnTo>
                  <a:pt x="448161" y="144294"/>
                </a:lnTo>
                <a:cubicBezTo>
                  <a:pt x="451010" y="141441"/>
                  <a:pt x="451486" y="136988"/>
                  <a:pt x="449304" y="133598"/>
                </a:cubicBezTo>
                <a:cubicBezTo>
                  <a:pt x="444897" y="126756"/>
                  <a:pt x="441758" y="119177"/>
                  <a:pt x="440036" y="111223"/>
                </a:cubicBezTo>
                <a:cubicBezTo>
                  <a:pt x="439177" y="107287"/>
                  <a:pt x="435692" y="104481"/>
                  <a:pt x="431663" y="104480"/>
                </a:cubicBezTo>
                <a:lnTo>
                  <a:pt x="427615" y="104480"/>
                </a:lnTo>
                <a:close/>
                <a:moveTo>
                  <a:pt x="506997" y="150686"/>
                </a:moveTo>
                <a:cubicBezTo>
                  <a:pt x="536897" y="150686"/>
                  <a:pt x="561137" y="126446"/>
                  <a:pt x="561137" y="96545"/>
                </a:cubicBezTo>
                <a:cubicBezTo>
                  <a:pt x="561137" y="66645"/>
                  <a:pt x="536897" y="42405"/>
                  <a:pt x="506997" y="42405"/>
                </a:cubicBezTo>
                <a:cubicBezTo>
                  <a:pt x="477096" y="42405"/>
                  <a:pt x="452857" y="66645"/>
                  <a:pt x="452857" y="96545"/>
                </a:cubicBezTo>
                <a:cubicBezTo>
                  <a:pt x="452857" y="96549"/>
                  <a:pt x="452857" y="96552"/>
                  <a:pt x="452857" y="96555"/>
                </a:cubicBezTo>
                <a:cubicBezTo>
                  <a:pt x="452893" y="126454"/>
                  <a:pt x="477136" y="150675"/>
                  <a:pt x="507035" y="150686"/>
                </a:cubicBezTo>
                <a:close/>
                <a:moveTo>
                  <a:pt x="506997" y="59550"/>
                </a:moveTo>
                <a:cubicBezTo>
                  <a:pt x="527434" y="59550"/>
                  <a:pt x="544001" y="76118"/>
                  <a:pt x="544001" y="96555"/>
                </a:cubicBezTo>
                <a:cubicBezTo>
                  <a:pt x="544001" y="116992"/>
                  <a:pt x="527434" y="133560"/>
                  <a:pt x="506997" y="133560"/>
                </a:cubicBezTo>
                <a:cubicBezTo>
                  <a:pt x="486560" y="133560"/>
                  <a:pt x="469992" y="116992"/>
                  <a:pt x="469992" y="96555"/>
                </a:cubicBezTo>
                <a:cubicBezTo>
                  <a:pt x="470008" y="76110"/>
                  <a:pt x="486589" y="59545"/>
                  <a:pt x="507035" y="59550"/>
                </a:cubicBezTo>
                <a:close/>
                <a:moveTo>
                  <a:pt x="623916" y="239211"/>
                </a:moveTo>
                <a:cubicBezTo>
                  <a:pt x="622175" y="243614"/>
                  <a:pt x="617195" y="245772"/>
                  <a:pt x="612792" y="244031"/>
                </a:cubicBezTo>
                <a:cubicBezTo>
                  <a:pt x="612792" y="244031"/>
                  <a:pt x="612791" y="244031"/>
                  <a:pt x="612791" y="244031"/>
                </a:cubicBezTo>
                <a:lnTo>
                  <a:pt x="601551" y="239582"/>
                </a:lnTo>
                <a:cubicBezTo>
                  <a:pt x="653584" y="368429"/>
                  <a:pt x="591313" y="515061"/>
                  <a:pt x="462466" y="567093"/>
                </a:cubicBezTo>
                <a:cubicBezTo>
                  <a:pt x="432308" y="579272"/>
                  <a:pt x="400075" y="585488"/>
                  <a:pt x="367551" y="585397"/>
                </a:cubicBezTo>
                <a:cubicBezTo>
                  <a:pt x="354417" y="585399"/>
                  <a:pt x="341305" y="584358"/>
                  <a:pt x="328336" y="582282"/>
                </a:cubicBezTo>
                <a:cubicBezTo>
                  <a:pt x="323646" y="581640"/>
                  <a:pt x="320364" y="577316"/>
                  <a:pt x="321007" y="572626"/>
                </a:cubicBezTo>
                <a:cubicBezTo>
                  <a:pt x="321649" y="567935"/>
                  <a:pt x="325973" y="564653"/>
                  <a:pt x="330663" y="565296"/>
                </a:cubicBezTo>
                <a:cubicBezTo>
                  <a:pt x="330790" y="565313"/>
                  <a:pt x="330916" y="565333"/>
                  <a:pt x="331041" y="565356"/>
                </a:cubicBezTo>
                <a:cubicBezTo>
                  <a:pt x="458931" y="585870"/>
                  <a:pt x="579235" y="498824"/>
                  <a:pt x="599748" y="370934"/>
                </a:cubicBezTo>
                <a:cubicBezTo>
                  <a:pt x="606499" y="328849"/>
                  <a:pt x="601652" y="285720"/>
                  <a:pt x="585730" y="246183"/>
                </a:cubicBezTo>
                <a:lnTo>
                  <a:pt x="581168" y="257727"/>
                </a:lnTo>
                <a:cubicBezTo>
                  <a:pt x="579427" y="262131"/>
                  <a:pt x="574446" y="264288"/>
                  <a:pt x="570043" y="262547"/>
                </a:cubicBezTo>
                <a:cubicBezTo>
                  <a:pt x="565640" y="260806"/>
                  <a:pt x="563482" y="255825"/>
                  <a:pt x="565223" y="251422"/>
                </a:cubicBezTo>
                <a:lnTo>
                  <a:pt x="576948" y="221771"/>
                </a:lnTo>
                <a:cubicBezTo>
                  <a:pt x="577531" y="219388"/>
                  <a:pt x="579119" y="217376"/>
                  <a:pt x="581301" y="216256"/>
                </a:cubicBezTo>
                <a:cubicBezTo>
                  <a:pt x="581492" y="216160"/>
                  <a:pt x="581692" y="216170"/>
                  <a:pt x="581882" y="216094"/>
                </a:cubicBezTo>
                <a:lnTo>
                  <a:pt x="581882" y="216094"/>
                </a:lnTo>
                <a:cubicBezTo>
                  <a:pt x="581943" y="216089"/>
                  <a:pt x="582003" y="216089"/>
                  <a:pt x="582063" y="216094"/>
                </a:cubicBezTo>
                <a:cubicBezTo>
                  <a:pt x="582991" y="215715"/>
                  <a:pt x="583977" y="215503"/>
                  <a:pt x="584978" y="215465"/>
                </a:cubicBezTo>
                <a:cubicBezTo>
                  <a:pt x="585371" y="215484"/>
                  <a:pt x="585763" y="215532"/>
                  <a:pt x="586149" y="215608"/>
                </a:cubicBezTo>
                <a:cubicBezTo>
                  <a:pt x="586796" y="215653"/>
                  <a:pt x="587435" y="215771"/>
                  <a:pt x="588054" y="215960"/>
                </a:cubicBezTo>
                <a:cubicBezTo>
                  <a:pt x="588178" y="215960"/>
                  <a:pt x="588312" y="215960"/>
                  <a:pt x="588436" y="216027"/>
                </a:cubicBezTo>
                <a:lnTo>
                  <a:pt x="619068" y="228143"/>
                </a:lnTo>
                <a:cubicBezTo>
                  <a:pt x="623451" y="229872"/>
                  <a:pt x="625617" y="234816"/>
                  <a:pt x="623916" y="239211"/>
                </a:cubicBezTo>
                <a:close/>
                <a:moveTo>
                  <a:pt x="188757" y="446627"/>
                </a:moveTo>
                <a:cubicBezTo>
                  <a:pt x="184146" y="445558"/>
                  <a:pt x="179541" y="448427"/>
                  <a:pt x="178470" y="453038"/>
                </a:cubicBezTo>
                <a:lnTo>
                  <a:pt x="175222" y="467020"/>
                </a:lnTo>
                <a:cubicBezTo>
                  <a:pt x="147892" y="427371"/>
                  <a:pt x="133402" y="380282"/>
                  <a:pt x="133712" y="332127"/>
                </a:cubicBezTo>
                <a:cubicBezTo>
                  <a:pt x="134741" y="331632"/>
                  <a:pt x="135798" y="331175"/>
                  <a:pt x="136808" y="330660"/>
                </a:cubicBezTo>
                <a:lnTo>
                  <a:pt x="137846" y="331708"/>
                </a:lnTo>
                <a:cubicBezTo>
                  <a:pt x="143038" y="336645"/>
                  <a:pt x="151189" y="336645"/>
                  <a:pt x="156381" y="331708"/>
                </a:cubicBezTo>
                <a:lnTo>
                  <a:pt x="173260" y="314830"/>
                </a:lnTo>
                <a:cubicBezTo>
                  <a:pt x="178357" y="309703"/>
                  <a:pt x="178357" y="301421"/>
                  <a:pt x="173260" y="296294"/>
                </a:cubicBezTo>
                <a:lnTo>
                  <a:pt x="172231" y="295266"/>
                </a:lnTo>
                <a:cubicBezTo>
                  <a:pt x="174827" y="290404"/>
                  <a:pt x="176939" y="285300"/>
                  <a:pt x="178537" y="280026"/>
                </a:cubicBezTo>
                <a:lnTo>
                  <a:pt x="180003" y="280025"/>
                </a:lnTo>
                <a:cubicBezTo>
                  <a:pt x="187238" y="280020"/>
                  <a:pt x="193104" y="274163"/>
                  <a:pt x="193119" y="266929"/>
                </a:cubicBezTo>
                <a:lnTo>
                  <a:pt x="193119" y="243116"/>
                </a:lnTo>
                <a:cubicBezTo>
                  <a:pt x="193109" y="235877"/>
                  <a:pt x="187243" y="230011"/>
                  <a:pt x="180003" y="230000"/>
                </a:cubicBezTo>
                <a:lnTo>
                  <a:pt x="178537" y="230000"/>
                </a:lnTo>
                <a:cubicBezTo>
                  <a:pt x="176936" y="224727"/>
                  <a:pt x="174824" y="219623"/>
                  <a:pt x="172231" y="214760"/>
                </a:cubicBezTo>
                <a:lnTo>
                  <a:pt x="173279" y="213712"/>
                </a:lnTo>
                <a:cubicBezTo>
                  <a:pt x="177038" y="209920"/>
                  <a:pt x="178116" y="204224"/>
                  <a:pt x="176003" y="199320"/>
                </a:cubicBezTo>
                <a:cubicBezTo>
                  <a:pt x="218478" y="138585"/>
                  <a:pt x="287128" y="101460"/>
                  <a:pt x="361207" y="99165"/>
                </a:cubicBezTo>
                <a:cubicBezTo>
                  <a:pt x="365942" y="99020"/>
                  <a:pt x="369662" y="95065"/>
                  <a:pt x="369518" y="90330"/>
                </a:cubicBezTo>
                <a:cubicBezTo>
                  <a:pt x="369373" y="85596"/>
                  <a:pt x="365418" y="81875"/>
                  <a:pt x="360683" y="82020"/>
                </a:cubicBezTo>
                <a:cubicBezTo>
                  <a:pt x="282613" y="84432"/>
                  <a:pt x="210070" y="122896"/>
                  <a:pt x="164268" y="186166"/>
                </a:cubicBezTo>
                <a:lnTo>
                  <a:pt x="156401" y="178308"/>
                </a:lnTo>
                <a:cubicBezTo>
                  <a:pt x="153945" y="175850"/>
                  <a:pt x="150607" y="174478"/>
                  <a:pt x="147133" y="174498"/>
                </a:cubicBezTo>
                <a:lnTo>
                  <a:pt x="147133" y="174498"/>
                </a:lnTo>
                <a:cubicBezTo>
                  <a:pt x="143656" y="174480"/>
                  <a:pt x="140316" y="175852"/>
                  <a:pt x="137855" y="178308"/>
                </a:cubicBezTo>
                <a:lnTo>
                  <a:pt x="136827" y="179346"/>
                </a:lnTo>
                <a:cubicBezTo>
                  <a:pt x="131965" y="176749"/>
                  <a:pt x="126860" y="174634"/>
                  <a:pt x="121587" y="173031"/>
                </a:cubicBezTo>
                <a:lnTo>
                  <a:pt x="121587" y="171555"/>
                </a:lnTo>
                <a:cubicBezTo>
                  <a:pt x="121602" y="164311"/>
                  <a:pt x="115743" y="158426"/>
                  <a:pt x="108499" y="158410"/>
                </a:cubicBezTo>
                <a:cubicBezTo>
                  <a:pt x="108490" y="158410"/>
                  <a:pt x="108480" y="158410"/>
                  <a:pt x="108471" y="158410"/>
                </a:cubicBezTo>
                <a:lnTo>
                  <a:pt x="84611" y="158410"/>
                </a:lnTo>
                <a:cubicBezTo>
                  <a:pt x="77376" y="158416"/>
                  <a:pt x="71510" y="164273"/>
                  <a:pt x="71495" y="171507"/>
                </a:cubicBezTo>
                <a:lnTo>
                  <a:pt x="71495" y="172984"/>
                </a:lnTo>
                <a:cubicBezTo>
                  <a:pt x="66220" y="174584"/>
                  <a:pt x="61116" y="176699"/>
                  <a:pt x="56255" y="179299"/>
                </a:cubicBezTo>
                <a:lnTo>
                  <a:pt x="55235" y="178279"/>
                </a:lnTo>
                <a:cubicBezTo>
                  <a:pt x="52774" y="175819"/>
                  <a:pt x="49429" y="174447"/>
                  <a:pt x="45949" y="174469"/>
                </a:cubicBezTo>
                <a:lnTo>
                  <a:pt x="45949" y="174469"/>
                </a:lnTo>
                <a:cubicBezTo>
                  <a:pt x="42481" y="174454"/>
                  <a:pt x="39151" y="175826"/>
                  <a:pt x="36700" y="178279"/>
                </a:cubicBezTo>
                <a:lnTo>
                  <a:pt x="19841" y="195158"/>
                </a:lnTo>
                <a:cubicBezTo>
                  <a:pt x="14764" y="200293"/>
                  <a:pt x="14764" y="208558"/>
                  <a:pt x="19841" y="213693"/>
                </a:cubicBezTo>
                <a:lnTo>
                  <a:pt x="20879" y="214722"/>
                </a:lnTo>
                <a:cubicBezTo>
                  <a:pt x="18286" y="219585"/>
                  <a:pt x="16174" y="224689"/>
                  <a:pt x="14573" y="229962"/>
                </a:cubicBezTo>
                <a:lnTo>
                  <a:pt x="13097" y="229962"/>
                </a:lnTo>
                <a:cubicBezTo>
                  <a:pt x="5863" y="229978"/>
                  <a:pt x="5" y="235844"/>
                  <a:pt x="0" y="243078"/>
                </a:cubicBezTo>
                <a:lnTo>
                  <a:pt x="0" y="266891"/>
                </a:lnTo>
                <a:cubicBezTo>
                  <a:pt x="11" y="274119"/>
                  <a:pt x="5868" y="279977"/>
                  <a:pt x="13097" y="279987"/>
                </a:cubicBezTo>
                <a:lnTo>
                  <a:pt x="14564" y="279987"/>
                </a:lnTo>
                <a:cubicBezTo>
                  <a:pt x="16170" y="285260"/>
                  <a:pt x="18285" y="290364"/>
                  <a:pt x="20879" y="295227"/>
                </a:cubicBezTo>
                <a:lnTo>
                  <a:pt x="19850" y="296256"/>
                </a:lnTo>
                <a:cubicBezTo>
                  <a:pt x="14729" y="301372"/>
                  <a:pt x="14725" y="309670"/>
                  <a:pt x="19840" y="314791"/>
                </a:cubicBezTo>
                <a:cubicBezTo>
                  <a:pt x="19843" y="314795"/>
                  <a:pt x="19847" y="314798"/>
                  <a:pt x="19850" y="314801"/>
                </a:cubicBezTo>
                <a:lnTo>
                  <a:pt x="36728" y="331765"/>
                </a:lnTo>
                <a:cubicBezTo>
                  <a:pt x="41855" y="336845"/>
                  <a:pt x="50118" y="336845"/>
                  <a:pt x="55245" y="331765"/>
                </a:cubicBezTo>
                <a:lnTo>
                  <a:pt x="56274" y="330727"/>
                </a:lnTo>
                <a:cubicBezTo>
                  <a:pt x="61136" y="333322"/>
                  <a:pt x="66241" y="335437"/>
                  <a:pt x="71514" y="337042"/>
                </a:cubicBezTo>
                <a:lnTo>
                  <a:pt x="71514" y="338433"/>
                </a:lnTo>
                <a:cubicBezTo>
                  <a:pt x="71524" y="345662"/>
                  <a:pt x="77382" y="351519"/>
                  <a:pt x="84611" y="351530"/>
                </a:cubicBezTo>
                <a:lnTo>
                  <a:pt x="108423" y="351530"/>
                </a:lnTo>
                <a:cubicBezTo>
                  <a:pt x="111501" y="351517"/>
                  <a:pt x="114474" y="350413"/>
                  <a:pt x="116815" y="348415"/>
                </a:cubicBezTo>
                <a:cubicBezTo>
                  <a:pt x="119475" y="393100"/>
                  <a:pt x="133979" y="436271"/>
                  <a:pt x="158839" y="473497"/>
                </a:cubicBezTo>
                <a:lnTo>
                  <a:pt x="149219" y="471268"/>
                </a:lnTo>
                <a:cubicBezTo>
                  <a:pt x="144605" y="470198"/>
                  <a:pt x="139997" y="473070"/>
                  <a:pt x="138927" y="477684"/>
                </a:cubicBezTo>
                <a:cubicBezTo>
                  <a:pt x="137856" y="482297"/>
                  <a:pt x="140729" y="486905"/>
                  <a:pt x="145342" y="487975"/>
                </a:cubicBezTo>
                <a:lnTo>
                  <a:pt x="177432" y="495424"/>
                </a:lnTo>
                <a:cubicBezTo>
                  <a:pt x="178057" y="495564"/>
                  <a:pt x="178696" y="495638"/>
                  <a:pt x="179337" y="495643"/>
                </a:cubicBezTo>
                <a:lnTo>
                  <a:pt x="179394" y="495643"/>
                </a:lnTo>
                <a:cubicBezTo>
                  <a:pt x="179480" y="495643"/>
                  <a:pt x="179565" y="495643"/>
                  <a:pt x="179661" y="495643"/>
                </a:cubicBezTo>
                <a:cubicBezTo>
                  <a:pt x="180420" y="495620"/>
                  <a:pt x="181173" y="495495"/>
                  <a:pt x="181899" y="495271"/>
                </a:cubicBezTo>
                <a:cubicBezTo>
                  <a:pt x="182257" y="495138"/>
                  <a:pt x="182607" y="494982"/>
                  <a:pt x="182947" y="494805"/>
                </a:cubicBezTo>
                <a:cubicBezTo>
                  <a:pt x="183272" y="494687"/>
                  <a:pt x="183590" y="494550"/>
                  <a:pt x="183899" y="494395"/>
                </a:cubicBezTo>
                <a:cubicBezTo>
                  <a:pt x="184013" y="494328"/>
                  <a:pt x="184071" y="494205"/>
                  <a:pt x="184185" y="494128"/>
                </a:cubicBezTo>
                <a:cubicBezTo>
                  <a:pt x="184299" y="494052"/>
                  <a:pt x="184623" y="493928"/>
                  <a:pt x="184823" y="493776"/>
                </a:cubicBezTo>
                <a:cubicBezTo>
                  <a:pt x="185141" y="493443"/>
                  <a:pt x="185434" y="493086"/>
                  <a:pt x="185699" y="492709"/>
                </a:cubicBezTo>
                <a:cubicBezTo>
                  <a:pt x="185992" y="492411"/>
                  <a:pt x="186262" y="492093"/>
                  <a:pt x="186509" y="491757"/>
                </a:cubicBezTo>
                <a:cubicBezTo>
                  <a:pt x="186919" y="491131"/>
                  <a:pt x="187240" y="490452"/>
                  <a:pt x="187461" y="489737"/>
                </a:cubicBezTo>
                <a:cubicBezTo>
                  <a:pt x="187569" y="489530"/>
                  <a:pt x="187664" y="489317"/>
                  <a:pt x="187747" y="489099"/>
                </a:cubicBezTo>
                <a:lnTo>
                  <a:pt x="195196" y="457010"/>
                </a:lnTo>
                <a:cubicBezTo>
                  <a:pt x="196312" y="452409"/>
                  <a:pt x="193487" y="447774"/>
                  <a:pt x="188886" y="446658"/>
                </a:cubicBezTo>
                <a:cubicBezTo>
                  <a:pt x="188843" y="446647"/>
                  <a:pt x="188800" y="446637"/>
                  <a:pt x="188757" y="446627"/>
                </a:cubicBezTo>
                <a:close/>
                <a:moveTo>
                  <a:pt x="104432" y="330346"/>
                </a:moveTo>
                <a:lnTo>
                  <a:pt x="104432" y="334385"/>
                </a:lnTo>
                <a:lnTo>
                  <a:pt x="88659" y="334385"/>
                </a:lnTo>
                <a:lnTo>
                  <a:pt x="88659" y="330346"/>
                </a:lnTo>
                <a:cubicBezTo>
                  <a:pt x="88656" y="326314"/>
                  <a:pt x="85845" y="322829"/>
                  <a:pt x="81905" y="321974"/>
                </a:cubicBezTo>
                <a:cubicBezTo>
                  <a:pt x="73954" y="320246"/>
                  <a:pt x="66376" y="317107"/>
                  <a:pt x="59531" y="312706"/>
                </a:cubicBezTo>
                <a:cubicBezTo>
                  <a:pt x="56136" y="310521"/>
                  <a:pt x="51677" y="311001"/>
                  <a:pt x="48825" y="313858"/>
                </a:cubicBezTo>
                <a:lnTo>
                  <a:pt x="45968" y="316716"/>
                </a:lnTo>
                <a:lnTo>
                  <a:pt x="34814" y="305562"/>
                </a:lnTo>
                <a:lnTo>
                  <a:pt x="37671" y="302705"/>
                </a:lnTo>
                <a:cubicBezTo>
                  <a:pt x="40524" y="299854"/>
                  <a:pt x="41003" y="295401"/>
                  <a:pt x="38824" y="292008"/>
                </a:cubicBezTo>
                <a:cubicBezTo>
                  <a:pt x="34415" y="285160"/>
                  <a:pt x="31272" y="277575"/>
                  <a:pt x="29547" y="269615"/>
                </a:cubicBezTo>
                <a:cubicBezTo>
                  <a:pt x="28687" y="265679"/>
                  <a:pt x="25203" y="262872"/>
                  <a:pt x="21174" y="262871"/>
                </a:cubicBezTo>
                <a:lnTo>
                  <a:pt x="17135" y="262871"/>
                </a:lnTo>
                <a:lnTo>
                  <a:pt x="17135" y="247098"/>
                </a:lnTo>
                <a:lnTo>
                  <a:pt x="21174" y="247098"/>
                </a:lnTo>
                <a:cubicBezTo>
                  <a:pt x="25215" y="247098"/>
                  <a:pt x="28707" y="244276"/>
                  <a:pt x="29556" y="240325"/>
                </a:cubicBezTo>
                <a:cubicBezTo>
                  <a:pt x="31286" y="232372"/>
                  <a:pt x="34428" y="224794"/>
                  <a:pt x="38833" y="217951"/>
                </a:cubicBezTo>
                <a:cubicBezTo>
                  <a:pt x="41013" y="214558"/>
                  <a:pt x="40533" y="210105"/>
                  <a:pt x="37681" y="207254"/>
                </a:cubicBezTo>
                <a:lnTo>
                  <a:pt x="34823" y="204397"/>
                </a:lnTo>
                <a:lnTo>
                  <a:pt x="45968" y="193253"/>
                </a:lnTo>
                <a:lnTo>
                  <a:pt x="48825" y="196110"/>
                </a:lnTo>
                <a:cubicBezTo>
                  <a:pt x="51678" y="198959"/>
                  <a:pt x="56131" y="199435"/>
                  <a:pt x="59522" y="197253"/>
                </a:cubicBezTo>
                <a:cubicBezTo>
                  <a:pt x="66360" y="192847"/>
                  <a:pt x="73936" y="189707"/>
                  <a:pt x="81886" y="187985"/>
                </a:cubicBezTo>
                <a:cubicBezTo>
                  <a:pt x="85830" y="187134"/>
                  <a:pt x="88646" y="183647"/>
                  <a:pt x="88649" y="179613"/>
                </a:cubicBezTo>
                <a:lnTo>
                  <a:pt x="88649" y="175555"/>
                </a:lnTo>
                <a:lnTo>
                  <a:pt x="104423" y="175555"/>
                </a:lnTo>
                <a:lnTo>
                  <a:pt x="104423" y="179603"/>
                </a:lnTo>
                <a:cubicBezTo>
                  <a:pt x="104425" y="183635"/>
                  <a:pt x="107236" y="187120"/>
                  <a:pt x="111176" y="187976"/>
                </a:cubicBezTo>
                <a:cubicBezTo>
                  <a:pt x="119127" y="189704"/>
                  <a:pt x="126705" y="192843"/>
                  <a:pt x="133550" y="197244"/>
                </a:cubicBezTo>
                <a:cubicBezTo>
                  <a:pt x="136943" y="199431"/>
                  <a:pt x="141402" y="198955"/>
                  <a:pt x="144256" y="196101"/>
                </a:cubicBezTo>
                <a:lnTo>
                  <a:pt x="147114" y="193243"/>
                </a:lnTo>
                <a:lnTo>
                  <a:pt x="158267" y="204387"/>
                </a:lnTo>
                <a:lnTo>
                  <a:pt x="155410" y="207245"/>
                </a:lnTo>
                <a:cubicBezTo>
                  <a:pt x="152566" y="210097"/>
                  <a:pt x="152090" y="214543"/>
                  <a:pt x="154267" y="217932"/>
                </a:cubicBezTo>
                <a:cubicBezTo>
                  <a:pt x="158666" y="224783"/>
                  <a:pt x="161802" y="232368"/>
                  <a:pt x="163525" y="240325"/>
                </a:cubicBezTo>
                <a:cubicBezTo>
                  <a:pt x="164382" y="244269"/>
                  <a:pt x="167872" y="247081"/>
                  <a:pt x="171907" y="247079"/>
                </a:cubicBezTo>
                <a:lnTo>
                  <a:pt x="175955" y="247079"/>
                </a:lnTo>
                <a:lnTo>
                  <a:pt x="175955" y="262852"/>
                </a:lnTo>
                <a:lnTo>
                  <a:pt x="171907" y="262852"/>
                </a:lnTo>
                <a:cubicBezTo>
                  <a:pt x="167872" y="262850"/>
                  <a:pt x="164382" y="265662"/>
                  <a:pt x="163525" y="269605"/>
                </a:cubicBezTo>
                <a:cubicBezTo>
                  <a:pt x="161807" y="277560"/>
                  <a:pt x="158668" y="285140"/>
                  <a:pt x="154257" y="291979"/>
                </a:cubicBezTo>
                <a:cubicBezTo>
                  <a:pt x="152073" y="295374"/>
                  <a:pt x="152553" y="299833"/>
                  <a:pt x="155410" y="302685"/>
                </a:cubicBezTo>
                <a:lnTo>
                  <a:pt x="158267" y="305543"/>
                </a:lnTo>
                <a:lnTo>
                  <a:pt x="147123" y="316706"/>
                </a:lnTo>
                <a:lnTo>
                  <a:pt x="144266" y="313849"/>
                </a:lnTo>
                <a:cubicBezTo>
                  <a:pt x="141411" y="310995"/>
                  <a:pt x="136952" y="310519"/>
                  <a:pt x="133560" y="312706"/>
                </a:cubicBezTo>
                <a:cubicBezTo>
                  <a:pt x="129900" y="315030"/>
                  <a:pt x="126028" y="317001"/>
                  <a:pt x="121996" y="318592"/>
                </a:cubicBezTo>
                <a:lnTo>
                  <a:pt x="121825" y="318649"/>
                </a:lnTo>
                <a:cubicBezTo>
                  <a:pt x="118377" y="320041"/>
                  <a:pt x="114822" y="321153"/>
                  <a:pt x="111195" y="321974"/>
                </a:cubicBezTo>
                <a:cubicBezTo>
                  <a:pt x="107251" y="322825"/>
                  <a:pt x="104435" y="326312"/>
                  <a:pt x="104432" y="330346"/>
                </a:cubicBezTo>
                <a:close/>
                <a:moveTo>
                  <a:pt x="150695" y="254994"/>
                </a:moveTo>
                <a:cubicBezTo>
                  <a:pt x="150706" y="225088"/>
                  <a:pt x="126470" y="200836"/>
                  <a:pt x="96564" y="200825"/>
                </a:cubicBezTo>
                <a:cubicBezTo>
                  <a:pt x="66658" y="200815"/>
                  <a:pt x="42406" y="225050"/>
                  <a:pt x="42396" y="254956"/>
                </a:cubicBezTo>
                <a:cubicBezTo>
                  <a:pt x="42385" y="284862"/>
                  <a:pt x="66620" y="309114"/>
                  <a:pt x="96526" y="309124"/>
                </a:cubicBezTo>
                <a:cubicBezTo>
                  <a:pt x="96533" y="309124"/>
                  <a:pt x="96539" y="309124"/>
                  <a:pt x="96545" y="309124"/>
                </a:cubicBezTo>
                <a:cubicBezTo>
                  <a:pt x="126427" y="309082"/>
                  <a:pt x="150643" y="284875"/>
                  <a:pt x="150695" y="254994"/>
                </a:cubicBezTo>
                <a:close/>
                <a:moveTo>
                  <a:pt x="96545" y="291979"/>
                </a:moveTo>
                <a:cubicBezTo>
                  <a:pt x="76108" y="291979"/>
                  <a:pt x="59541" y="275412"/>
                  <a:pt x="59541" y="254975"/>
                </a:cubicBezTo>
                <a:cubicBezTo>
                  <a:pt x="59541" y="234538"/>
                  <a:pt x="76108" y="217970"/>
                  <a:pt x="96545" y="217970"/>
                </a:cubicBezTo>
                <a:cubicBezTo>
                  <a:pt x="116983" y="217970"/>
                  <a:pt x="133550" y="234538"/>
                  <a:pt x="133550" y="254975"/>
                </a:cubicBezTo>
                <a:cubicBezTo>
                  <a:pt x="133550" y="254981"/>
                  <a:pt x="133550" y="254987"/>
                  <a:pt x="133550" y="254994"/>
                </a:cubicBezTo>
                <a:cubicBezTo>
                  <a:pt x="133519" y="275415"/>
                  <a:pt x="116966" y="291958"/>
                  <a:pt x="96545" y="291979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8ED3503-F7BF-DC2A-59A7-F02A5462D6B8}"/>
              </a:ext>
            </a:extLst>
          </p:cNvPr>
          <p:cNvSpPr/>
          <p:nvPr/>
        </p:nvSpPr>
        <p:spPr>
          <a:xfrm>
            <a:off x="640863" y="4750959"/>
            <a:ext cx="275330" cy="275354"/>
          </a:xfrm>
          <a:custGeom>
            <a:avLst/>
            <a:gdLst>
              <a:gd name="connsiteX0" fmla="*/ 367757 w 857213"/>
              <a:gd name="connsiteY0" fmla="*/ 380667 h 857292"/>
              <a:gd name="connsiteX1" fmla="*/ 385914 w 857213"/>
              <a:gd name="connsiteY1" fmla="*/ 398823 h 857292"/>
              <a:gd name="connsiteX2" fmla="*/ 367757 w 857213"/>
              <a:gd name="connsiteY2" fmla="*/ 416980 h 857292"/>
              <a:gd name="connsiteX3" fmla="*/ 349601 w 857213"/>
              <a:gd name="connsiteY3" fmla="*/ 398823 h 857292"/>
              <a:gd name="connsiteX4" fmla="*/ 367757 w 857213"/>
              <a:gd name="connsiteY4" fmla="*/ 380667 h 857292"/>
              <a:gd name="connsiteX5" fmla="*/ 428628 w 857213"/>
              <a:gd name="connsiteY5" fmla="*/ 380667 h 857292"/>
              <a:gd name="connsiteX6" fmla="*/ 446784 w 857213"/>
              <a:gd name="connsiteY6" fmla="*/ 398823 h 857292"/>
              <a:gd name="connsiteX7" fmla="*/ 428628 w 857213"/>
              <a:gd name="connsiteY7" fmla="*/ 416980 h 857292"/>
              <a:gd name="connsiteX8" fmla="*/ 410471 w 857213"/>
              <a:gd name="connsiteY8" fmla="*/ 398823 h 857292"/>
              <a:gd name="connsiteX9" fmla="*/ 428628 w 857213"/>
              <a:gd name="connsiteY9" fmla="*/ 380667 h 857292"/>
              <a:gd name="connsiteX10" fmla="*/ 489498 w 857213"/>
              <a:gd name="connsiteY10" fmla="*/ 380667 h 857292"/>
              <a:gd name="connsiteX11" fmla="*/ 507655 w 857213"/>
              <a:gd name="connsiteY11" fmla="*/ 398823 h 857292"/>
              <a:gd name="connsiteX12" fmla="*/ 489498 w 857213"/>
              <a:gd name="connsiteY12" fmla="*/ 416980 h 857292"/>
              <a:gd name="connsiteX13" fmla="*/ 471342 w 857213"/>
              <a:gd name="connsiteY13" fmla="*/ 398823 h 857292"/>
              <a:gd name="connsiteX14" fmla="*/ 489498 w 857213"/>
              <a:gd name="connsiteY14" fmla="*/ 380667 h 857292"/>
              <a:gd name="connsiteX15" fmla="*/ 327611 w 857213"/>
              <a:gd name="connsiteY15" fmla="*/ 480975 h 857292"/>
              <a:gd name="connsiteX16" fmla="*/ 355256 w 857213"/>
              <a:gd name="connsiteY16" fmla="*/ 480975 h 857292"/>
              <a:gd name="connsiteX17" fmla="*/ 355256 w 857213"/>
              <a:gd name="connsiteY17" fmla="*/ 481012 h 857292"/>
              <a:gd name="connsiteX18" fmla="*/ 364185 w 857213"/>
              <a:gd name="connsiteY18" fmla="*/ 486779 h 857292"/>
              <a:gd name="connsiteX19" fmla="*/ 382156 w 857213"/>
              <a:gd name="connsiteY19" fmla="*/ 526628 h 857292"/>
              <a:gd name="connsiteX20" fmla="*/ 399867 w 857213"/>
              <a:gd name="connsiteY20" fmla="*/ 487300 h 857292"/>
              <a:gd name="connsiteX21" fmla="*/ 409057 w 857213"/>
              <a:gd name="connsiteY21" fmla="*/ 480975 h 857292"/>
              <a:gd name="connsiteX22" fmla="*/ 529644 w 857213"/>
              <a:gd name="connsiteY22" fmla="*/ 480975 h 857292"/>
              <a:gd name="connsiteX23" fmla="*/ 547689 w 857213"/>
              <a:gd name="connsiteY23" fmla="*/ 462930 h 857292"/>
              <a:gd name="connsiteX24" fmla="*/ 547689 w 857213"/>
              <a:gd name="connsiteY24" fmla="*/ 334714 h 857292"/>
              <a:gd name="connsiteX25" fmla="*/ 529644 w 857213"/>
              <a:gd name="connsiteY25" fmla="*/ 316669 h 857292"/>
              <a:gd name="connsiteX26" fmla="*/ 327571 w 857213"/>
              <a:gd name="connsiteY26" fmla="*/ 316669 h 857292"/>
              <a:gd name="connsiteX27" fmla="*/ 309526 w 857213"/>
              <a:gd name="connsiteY27" fmla="*/ 334714 h 857292"/>
              <a:gd name="connsiteX28" fmla="*/ 309526 w 857213"/>
              <a:gd name="connsiteY28" fmla="*/ 462930 h 857292"/>
              <a:gd name="connsiteX29" fmla="*/ 327571 w 857213"/>
              <a:gd name="connsiteY29" fmla="*/ 480975 h 857292"/>
              <a:gd name="connsiteX30" fmla="*/ 348931 w 857213"/>
              <a:gd name="connsiteY30" fmla="*/ 500620 h 857292"/>
              <a:gd name="connsiteX31" fmla="*/ 373228 w 857213"/>
              <a:gd name="connsiteY31" fmla="*/ 554495 h 857292"/>
              <a:gd name="connsiteX32" fmla="*/ 391087 w 857213"/>
              <a:gd name="connsiteY32" fmla="*/ 554495 h 857292"/>
              <a:gd name="connsiteX33" fmla="*/ 415383 w 857213"/>
              <a:gd name="connsiteY33" fmla="*/ 500620 h 857292"/>
              <a:gd name="connsiteX34" fmla="*/ 529683 w 857213"/>
              <a:gd name="connsiteY34" fmla="*/ 500620 h 857292"/>
              <a:gd name="connsiteX35" fmla="*/ 567374 w 857213"/>
              <a:gd name="connsiteY35" fmla="*/ 462930 h 857292"/>
              <a:gd name="connsiteX36" fmla="*/ 567374 w 857213"/>
              <a:gd name="connsiteY36" fmla="*/ 334714 h 857292"/>
              <a:gd name="connsiteX37" fmla="*/ 529683 w 857213"/>
              <a:gd name="connsiteY37" fmla="*/ 297023 h 857292"/>
              <a:gd name="connsiteX38" fmla="*/ 327610 w 857213"/>
              <a:gd name="connsiteY38" fmla="*/ 297023 h 857292"/>
              <a:gd name="connsiteX39" fmla="*/ 289920 w 857213"/>
              <a:gd name="connsiteY39" fmla="*/ 334714 h 857292"/>
              <a:gd name="connsiteX40" fmla="*/ 289920 w 857213"/>
              <a:gd name="connsiteY40" fmla="*/ 462930 h 857292"/>
              <a:gd name="connsiteX41" fmla="*/ 327610 w 857213"/>
              <a:gd name="connsiteY41" fmla="*/ 500620 h 857292"/>
              <a:gd name="connsiteX42" fmla="*/ 160698 w 857213"/>
              <a:gd name="connsiteY42" fmla="*/ 36572 h 857292"/>
              <a:gd name="connsiteX43" fmla="*/ 79103 w 857213"/>
              <a:gd name="connsiteY43" fmla="*/ 36572 h 857292"/>
              <a:gd name="connsiteX44" fmla="*/ 79103 w 857213"/>
              <a:gd name="connsiteY44" fmla="*/ 118166 h 857292"/>
              <a:gd name="connsiteX45" fmla="*/ 160698 w 857213"/>
              <a:gd name="connsiteY45" fmla="*/ 118166 h 857292"/>
              <a:gd name="connsiteX46" fmla="*/ 160698 w 857213"/>
              <a:gd name="connsiteY46" fmla="*/ 36572 h 857292"/>
              <a:gd name="connsiteX47" fmla="*/ 145294 w 857213"/>
              <a:gd name="connsiteY47" fmla="*/ 165645 h 857292"/>
              <a:gd name="connsiteX48" fmla="*/ 94507 w 857213"/>
              <a:gd name="connsiteY48" fmla="*/ 165645 h 857292"/>
              <a:gd name="connsiteX49" fmla="*/ 19609 w 857213"/>
              <a:gd name="connsiteY49" fmla="*/ 240543 h 857292"/>
              <a:gd name="connsiteX50" fmla="*/ 19609 w 857213"/>
              <a:gd name="connsiteY50" fmla="*/ 315441 h 857292"/>
              <a:gd name="connsiteX51" fmla="*/ 220196 w 857213"/>
              <a:gd name="connsiteY51" fmla="*/ 315441 h 857292"/>
              <a:gd name="connsiteX52" fmla="*/ 220196 w 857213"/>
              <a:gd name="connsiteY52" fmla="*/ 240543 h 857292"/>
              <a:gd name="connsiteX53" fmla="*/ 145298 w 857213"/>
              <a:gd name="connsiteY53" fmla="*/ 165645 h 857292"/>
              <a:gd name="connsiteX54" fmla="*/ 154633 w 857213"/>
              <a:gd name="connsiteY54" fmla="*/ 146483 h 857292"/>
              <a:gd name="connsiteX55" fmla="*/ 239800 w 857213"/>
              <a:gd name="connsiteY55" fmla="*/ 240543 h 857292"/>
              <a:gd name="connsiteX56" fmla="*/ 239800 w 857213"/>
              <a:gd name="connsiteY56" fmla="*/ 325263 h 857292"/>
              <a:gd name="connsiteX57" fmla="*/ 229978 w 857213"/>
              <a:gd name="connsiteY57" fmla="*/ 335085 h 857292"/>
              <a:gd name="connsiteX58" fmla="*/ 9827 w 857213"/>
              <a:gd name="connsiteY58" fmla="*/ 335048 h 857292"/>
              <a:gd name="connsiteX59" fmla="*/ 4 w 857213"/>
              <a:gd name="connsiteY59" fmla="*/ 325226 h 857292"/>
              <a:gd name="connsiteX60" fmla="*/ 4 w 857213"/>
              <a:gd name="connsiteY60" fmla="*/ 240506 h 857292"/>
              <a:gd name="connsiteX61" fmla="*/ 85171 w 857213"/>
              <a:gd name="connsiteY61" fmla="*/ 146446 h 857292"/>
              <a:gd name="connsiteX62" fmla="*/ 65228 w 857213"/>
              <a:gd name="connsiteY62" fmla="*/ 22659 h 857292"/>
              <a:gd name="connsiteX63" fmla="*/ 174575 w 857213"/>
              <a:gd name="connsiteY63" fmla="*/ 22659 h 857292"/>
              <a:gd name="connsiteX64" fmla="*/ 154631 w 857213"/>
              <a:gd name="connsiteY64" fmla="*/ 146446 h 857292"/>
              <a:gd name="connsiteX65" fmla="*/ 778111 w 857213"/>
              <a:gd name="connsiteY65" fmla="*/ 36574 h 857292"/>
              <a:gd name="connsiteX66" fmla="*/ 696516 w 857213"/>
              <a:gd name="connsiteY66" fmla="*/ 36574 h 857292"/>
              <a:gd name="connsiteX67" fmla="*/ 696516 w 857213"/>
              <a:gd name="connsiteY67" fmla="*/ 118169 h 857292"/>
              <a:gd name="connsiteX68" fmla="*/ 778111 w 857213"/>
              <a:gd name="connsiteY68" fmla="*/ 118169 h 857292"/>
              <a:gd name="connsiteX69" fmla="*/ 778111 w 857213"/>
              <a:gd name="connsiteY69" fmla="*/ 36574 h 857292"/>
              <a:gd name="connsiteX70" fmla="*/ 762707 w 857213"/>
              <a:gd name="connsiteY70" fmla="*/ 165648 h 857292"/>
              <a:gd name="connsiteX71" fmla="*/ 711920 w 857213"/>
              <a:gd name="connsiteY71" fmla="*/ 165648 h 857292"/>
              <a:gd name="connsiteX72" fmla="*/ 637022 w 857213"/>
              <a:gd name="connsiteY72" fmla="*/ 240546 h 857292"/>
              <a:gd name="connsiteX73" fmla="*/ 637022 w 857213"/>
              <a:gd name="connsiteY73" fmla="*/ 315444 h 857292"/>
              <a:gd name="connsiteX74" fmla="*/ 837609 w 857213"/>
              <a:gd name="connsiteY74" fmla="*/ 315444 h 857292"/>
              <a:gd name="connsiteX75" fmla="*/ 837609 w 857213"/>
              <a:gd name="connsiteY75" fmla="*/ 240546 h 857292"/>
              <a:gd name="connsiteX76" fmla="*/ 762711 w 857213"/>
              <a:gd name="connsiteY76" fmla="*/ 165648 h 857292"/>
              <a:gd name="connsiteX77" fmla="*/ 772046 w 857213"/>
              <a:gd name="connsiteY77" fmla="*/ 146486 h 857292"/>
              <a:gd name="connsiteX78" fmla="*/ 857213 w 857213"/>
              <a:gd name="connsiteY78" fmla="*/ 240546 h 857292"/>
              <a:gd name="connsiteX79" fmla="*/ 857213 w 857213"/>
              <a:gd name="connsiteY79" fmla="*/ 325266 h 857292"/>
              <a:gd name="connsiteX80" fmla="*/ 847391 w 857213"/>
              <a:gd name="connsiteY80" fmla="*/ 335088 h 857292"/>
              <a:gd name="connsiteX81" fmla="*/ 627202 w 857213"/>
              <a:gd name="connsiteY81" fmla="*/ 335088 h 857292"/>
              <a:gd name="connsiteX82" fmla="*/ 617379 w 857213"/>
              <a:gd name="connsiteY82" fmla="*/ 325266 h 857292"/>
              <a:gd name="connsiteX83" fmla="*/ 617379 w 857213"/>
              <a:gd name="connsiteY83" fmla="*/ 240546 h 857292"/>
              <a:gd name="connsiteX84" fmla="*/ 702546 w 857213"/>
              <a:gd name="connsiteY84" fmla="*/ 146486 h 857292"/>
              <a:gd name="connsiteX85" fmla="*/ 682603 w 857213"/>
              <a:gd name="connsiteY85" fmla="*/ 22699 h 857292"/>
              <a:gd name="connsiteX86" fmla="*/ 791950 w 857213"/>
              <a:gd name="connsiteY86" fmla="*/ 22699 h 857292"/>
              <a:gd name="connsiteX87" fmla="*/ 772006 w 857213"/>
              <a:gd name="connsiteY87" fmla="*/ 146486 h 857292"/>
              <a:gd name="connsiteX88" fmla="*/ 160694 w 857213"/>
              <a:gd name="connsiteY88" fmla="*/ 558776 h 857292"/>
              <a:gd name="connsiteX89" fmla="*/ 79099 w 857213"/>
              <a:gd name="connsiteY89" fmla="*/ 558776 h 857292"/>
              <a:gd name="connsiteX90" fmla="*/ 79099 w 857213"/>
              <a:gd name="connsiteY90" fmla="*/ 640371 h 857292"/>
              <a:gd name="connsiteX91" fmla="*/ 160694 w 857213"/>
              <a:gd name="connsiteY91" fmla="*/ 640371 h 857292"/>
              <a:gd name="connsiteX92" fmla="*/ 160694 w 857213"/>
              <a:gd name="connsiteY92" fmla="*/ 558776 h 857292"/>
              <a:gd name="connsiteX93" fmla="*/ 145290 w 857213"/>
              <a:gd name="connsiteY93" fmla="*/ 687849 h 857292"/>
              <a:gd name="connsiteX94" fmla="*/ 94503 w 857213"/>
              <a:gd name="connsiteY94" fmla="*/ 687849 h 857292"/>
              <a:gd name="connsiteX95" fmla="*/ 19605 w 857213"/>
              <a:gd name="connsiteY95" fmla="*/ 762747 h 857292"/>
              <a:gd name="connsiteX96" fmla="*/ 19605 w 857213"/>
              <a:gd name="connsiteY96" fmla="*/ 837645 h 857292"/>
              <a:gd name="connsiteX97" fmla="*/ 220192 w 857213"/>
              <a:gd name="connsiteY97" fmla="*/ 837645 h 857292"/>
              <a:gd name="connsiteX98" fmla="*/ 220192 w 857213"/>
              <a:gd name="connsiteY98" fmla="*/ 762747 h 857292"/>
              <a:gd name="connsiteX99" fmla="*/ 145294 w 857213"/>
              <a:gd name="connsiteY99" fmla="*/ 687849 h 857292"/>
              <a:gd name="connsiteX100" fmla="*/ 154629 w 857213"/>
              <a:gd name="connsiteY100" fmla="*/ 668688 h 857292"/>
              <a:gd name="connsiteX101" fmla="*/ 239796 w 857213"/>
              <a:gd name="connsiteY101" fmla="*/ 762747 h 857292"/>
              <a:gd name="connsiteX102" fmla="*/ 239796 w 857213"/>
              <a:gd name="connsiteY102" fmla="*/ 847467 h 857292"/>
              <a:gd name="connsiteX103" fmla="*/ 229974 w 857213"/>
              <a:gd name="connsiteY103" fmla="*/ 857289 h 857292"/>
              <a:gd name="connsiteX104" fmla="*/ 9822 w 857213"/>
              <a:gd name="connsiteY104" fmla="*/ 857289 h 857292"/>
              <a:gd name="connsiteX105" fmla="*/ 0 w 857213"/>
              <a:gd name="connsiteY105" fmla="*/ 847467 h 857292"/>
              <a:gd name="connsiteX106" fmla="*/ 0 w 857213"/>
              <a:gd name="connsiteY106" fmla="*/ 762747 h 857292"/>
              <a:gd name="connsiteX107" fmla="*/ 85167 w 857213"/>
              <a:gd name="connsiteY107" fmla="*/ 668688 h 857292"/>
              <a:gd name="connsiteX108" fmla="*/ 65223 w 857213"/>
              <a:gd name="connsiteY108" fmla="*/ 544901 h 857292"/>
              <a:gd name="connsiteX109" fmla="*/ 174570 w 857213"/>
              <a:gd name="connsiteY109" fmla="*/ 544901 h 857292"/>
              <a:gd name="connsiteX110" fmla="*/ 154627 w 857213"/>
              <a:gd name="connsiteY110" fmla="*/ 668688 h 857292"/>
              <a:gd name="connsiteX111" fmla="*/ 778107 w 857213"/>
              <a:gd name="connsiteY111" fmla="*/ 558779 h 857292"/>
              <a:gd name="connsiteX112" fmla="*/ 696512 w 857213"/>
              <a:gd name="connsiteY112" fmla="*/ 558779 h 857292"/>
              <a:gd name="connsiteX113" fmla="*/ 696512 w 857213"/>
              <a:gd name="connsiteY113" fmla="*/ 640374 h 857292"/>
              <a:gd name="connsiteX114" fmla="*/ 778107 w 857213"/>
              <a:gd name="connsiteY114" fmla="*/ 640374 h 857292"/>
              <a:gd name="connsiteX115" fmla="*/ 778107 w 857213"/>
              <a:gd name="connsiteY115" fmla="*/ 558779 h 857292"/>
              <a:gd name="connsiteX116" fmla="*/ 762703 w 857213"/>
              <a:gd name="connsiteY116" fmla="*/ 687852 h 857292"/>
              <a:gd name="connsiteX117" fmla="*/ 711916 w 857213"/>
              <a:gd name="connsiteY117" fmla="*/ 687852 h 857292"/>
              <a:gd name="connsiteX118" fmla="*/ 637018 w 857213"/>
              <a:gd name="connsiteY118" fmla="*/ 762750 h 857292"/>
              <a:gd name="connsiteX119" fmla="*/ 637018 w 857213"/>
              <a:gd name="connsiteY119" fmla="*/ 837648 h 857292"/>
              <a:gd name="connsiteX120" fmla="*/ 837605 w 857213"/>
              <a:gd name="connsiteY120" fmla="*/ 837648 h 857292"/>
              <a:gd name="connsiteX121" fmla="*/ 837605 w 857213"/>
              <a:gd name="connsiteY121" fmla="*/ 762750 h 857292"/>
              <a:gd name="connsiteX122" fmla="*/ 762707 w 857213"/>
              <a:gd name="connsiteY122" fmla="*/ 687852 h 857292"/>
              <a:gd name="connsiteX123" fmla="*/ 772042 w 857213"/>
              <a:gd name="connsiteY123" fmla="*/ 668691 h 857292"/>
              <a:gd name="connsiteX124" fmla="*/ 857209 w 857213"/>
              <a:gd name="connsiteY124" fmla="*/ 762750 h 857292"/>
              <a:gd name="connsiteX125" fmla="*/ 857209 w 857213"/>
              <a:gd name="connsiteY125" fmla="*/ 847470 h 857292"/>
              <a:gd name="connsiteX126" fmla="*/ 847387 w 857213"/>
              <a:gd name="connsiteY126" fmla="*/ 857292 h 857292"/>
              <a:gd name="connsiteX127" fmla="*/ 627197 w 857213"/>
              <a:gd name="connsiteY127" fmla="*/ 857292 h 857292"/>
              <a:gd name="connsiteX128" fmla="*/ 617375 w 857213"/>
              <a:gd name="connsiteY128" fmla="*/ 847470 h 857292"/>
              <a:gd name="connsiteX129" fmla="*/ 617375 w 857213"/>
              <a:gd name="connsiteY129" fmla="*/ 762750 h 857292"/>
              <a:gd name="connsiteX130" fmla="*/ 702542 w 857213"/>
              <a:gd name="connsiteY130" fmla="*/ 668691 h 857292"/>
              <a:gd name="connsiteX131" fmla="*/ 682598 w 857213"/>
              <a:gd name="connsiteY131" fmla="*/ 544904 h 857292"/>
              <a:gd name="connsiteX132" fmla="*/ 791945 w 857213"/>
              <a:gd name="connsiteY132" fmla="*/ 544904 h 857292"/>
              <a:gd name="connsiteX133" fmla="*/ 772002 w 857213"/>
              <a:gd name="connsiteY133" fmla="*/ 668691 h 857292"/>
              <a:gd name="connsiteX134" fmla="*/ 581656 w 857213"/>
              <a:gd name="connsiteY134" fmla="*/ 713339 h 857292"/>
              <a:gd name="connsiteX135" fmla="*/ 594939 w 857213"/>
              <a:gd name="connsiteY135" fmla="*/ 717320 h 857292"/>
              <a:gd name="connsiteX136" fmla="*/ 590958 w 857213"/>
              <a:gd name="connsiteY136" fmla="*/ 730603 h 857292"/>
              <a:gd name="connsiteX137" fmla="*/ 266289 w 857213"/>
              <a:gd name="connsiteY137" fmla="*/ 730603 h 857292"/>
              <a:gd name="connsiteX138" fmla="*/ 262307 w 857213"/>
              <a:gd name="connsiteY138" fmla="*/ 717320 h 857292"/>
              <a:gd name="connsiteX139" fmla="*/ 275590 w 857213"/>
              <a:gd name="connsiteY139" fmla="*/ 713339 h 857292"/>
              <a:gd name="connsiteX140" fmla="*/ 581695 w 857213"/>
              <a:gd name="connsiteY140" fmla="*/ 713339 h 857292"/>
              <a:gd name="connsiteX141" fmla="*/ 749049 w 857213"/>
              <a:gd name="connsiteY141" fmla="*/ 386774 h 857292"/>
              <a:gd name="connsiteX142" fmla="*/ 757532 w 857213"/>
              <a:gd name="connsiteY142" fmla="*/ 375836 h 857292"/>
              <a:gd name="connsiteX143" fmla="*/ 768470 w 857213"/>
              <a:gd name="connsiteY143" fmla="*/ 384319 h 857292"/>
              <a:gd name="connsiteX144" fmla="*/ 768470 w 857213"/>
              <a:gd name="connsiteY144" fmla="*/ 473021 h 857292"/>
              <a:gd name="connsiteX145" fmla="*/ 757532 w 857213"/>
              <a:gd name="connsiteY145" fmla="*/ 481504 h 857292"/>
              <a:gd name="connsiteX146" fmla="*/ 749049 w 857213"/>
              <a:gd name="connsiteY146" fmla="*/ 470565 h 857292"/>
              <a:gd name="connsiteX147" fmla="*/ 749049 w 857213"/>
              <a:gd name="connsiteY147" fmla="*/ 386775 h 857292"/>
              <a:gd name="connsiteX148" fmla="*/ 275513 w 857213"/>
              <a:gd name="connsiteY148" fmla="*/ 144001 h 857292"/>
              <a:gd name="connsiteX149" fmla="*/ 262231 w 857213"/>
              <a:gd name="connsiteY149" fmla="*/ 140020 h 857292"/>
              <a:gd name="connsiteX150" fmla="*/ 266212 w 857213"/>
              <a:gd name="connsiteY150" fmla="*/ 126737 h 857292"/>
              <a:gd name="connsiteX151" fmla="*/ 590881 w 857213"/>
              <a:gd name="connsiteY151" fmla="*/ 126737 h 857292"/>
              <a:gd name="connsiteX152" fmla="*/ 594862 w 857213"/>
              <a:gd name="connsiteY152" fmla="*/ 140020 h 857292"/>
              <a:gd name="connsiteX153" fmla="*/ 581579 w 857213"/>
              <a:gd name="connsiteY153" fmla="*/ 144001 h 857292"/>
              <a:gd name="connsiteX154" fmla="*/ 275475 w 857213"/>
              <a:gd name="connsiteY154" fmla="*/ 144001 h 857292"/>
              <a:gd name="connsiteX155" fmla="*/ 108121 w 857213"/>
              <a:gd name="connsiteY155" fmla="*/ 470566 h 857292"/>
              <a:gd name="connsiteX156" fmla="*/ 99638 w 857213"/>
              <a:gd name="connsiteY156" fmla="*/ 481504 h 857292"/>
              <a:gd name="connsiteX157" fmla="*/ 88699 w 857213"/>
              <a:gd name="connsiteY157" fmla="*/ 473021 h 857292"/>
              <a:gd name="connsiteX158" fmla="*/ 88699 w 857213"/>
              <a:gd name="connsiteY158" fmla="*/ 384320 h 857292"/>
              <a:gd name="connsiteX159" fmla="*/ 99638 w 857213"/>
              <a:gd name="connsiteY159" fmla="*/ 375836 h 857292"/>
              <a:gd name="connsiteX160" fmla="*/ 108121 w 857213"/>
              <a:gd name="connsiteY160" fmla="*/ 386775 h 857292"/>
              <a:gd name="connsiteX161" fmla="*/ 108121 w 857213"/>
              <a:gd name="connsiteY161" fmla="*/ 470565 h 857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857213" h="857292">
                <a:moveTo>
                  <a:pt x="367757" y="380667"/>
                </a:moveTo>
                <a:cubicBezTo>
                  <a:pt x="377803" y="380667"/>
                  <a:pt x="385914" y="388815"/>
                  <a:pt x="385914" y="398823"/>
                </a:cubicBezTo>
                <a:cubicBezTo>
                  <a:pt x="385914" y="408870"/>
                  <a:pt x="377766" y="416980"/>
                  <a:pt x="367757" y="416980"/>
                </a:cubicBezTo>
                <a:cubicBezTo>
                  <a:pt x="357711" y="416980"/>
                  <a:pt x="349601" y="408832"/>
                  <a:pt x="349601" y="398823"/>
                </a:cubicBezTo>
                <a:cubicBezTo>
                  <a:pt x="349601" y="388777"/>
                  <a:pt x="357749" y="380667"/>
                  <a:pt x="367757" y="380667"/>
                </a:cubicBezTo>
                <a:close/>
                <a:moveTo>
                  <a:pt x="428628" y="380667"/>
                </a:moveTo>
                <a:cubicBezTo>
                  <a:pt x="438674" y="380667"/>
                  <a:pt x="446784" y="388815"/>
                  <a:pt x="446784" y="398823"/>
                </a:cubicBezTo>
                <a:cubicBezTo>
                  <a:pt x="446784" y="408870"/>
                  <a:pt x="438636" y="416980"/>
                  <a:pt x="428628" y="416980"/>
                </a:cubicBezTo>
                <a:cubicBezTo>
                  <a:pt x="418582" y="416980"/>
                  <a:pt x="410471" y="408832"/>
                  <a:pt x="410471" y="398823"/>
                </a:cubicBezTo>
                <a:cubicBezTo>
                  <a:pt x="410471" y="388777"/>
                  <a:pt x="418620" y="380667"/>
                  <a:pt x="428628" y="380667"/>
                </a:cubicBezTo>
                <a:close/>
                <a:moveTo>
                  <a:pt x="489498" y="380667"/>
                </a:moveTo>
                <a:cubicBezTo>
                  <a:pt x="499544" y="380667"/>
                  <a:pt x="507655" y="388815"/>
                  <a:pt x="507655" y="398823"/>
                </a:cubicBezTo>
                <a:cubicBezTo>
                  <a:pt x="507655" y="408870"/>
                  <a:pt x="499506" y="416980"/>
                  <a:pt x="489498" y="416980"/>
                </a:cubicBezTo>
                <a:cubicBezTo>
                  <a:pt x="479452" y="416980"/>
                  <a:pt x="471342" y="408832"/>
                  <a:pt x="471342" y="398823"/>
                </a:cubicBezTo>
                <a:cubicBezTo>
                  <a:pt x="471342" y="388777"/>
                  <a:pt x="479490" y="380667"/>
                  <a:pt x="489498" y="380667"/>
                </a:cubicBezTo>
                <a:close/>
                <a:moveTo>
                  <a:pt x="327611" y="480975"/>
                </a:moveTo>
                <a:lnTo>
                  <a:pt x="355256" y="480975"/>
                </a:lnTo>
                <a:lnTo>
                  <a:pt x="355256" y="481012"/>
                </a:lnTo>
                <a:cubicBezTo>
                  <a:pt x="358976" y="481012"/>
                  <a:pt x="362548" y="483170"/>
                  <a:pt x="364185" y="486779"/>
                </a:cubicBezTo>
                <a:lnTo>
                  <a:pt x="382156" y="526628"/>
                </a:lnTo>
                <a:lnTo>
                  <a:pt x="399867" y="487300"/>
                </a:lnTo>
                <a:cubicBezTo>
                  <a:pt x="401281" y="483579"/>
                  <a:pt x="404853" y="480975"/>
                  <a:pt x="409057" y="480975"/>
                </a:cubicBezTo>
                <a:lnTo>
                  <a:pt x="529644" y="480975"/>
                </a:lnTo>
                <a:cubicBezTo>
                  <a:pt x="539541" y="480975"/>
                  <a:pt x="547689" y="472827"/>
                  <a:pt x="547689" y="462930"/>
                </a:cubicBezTo>
                <a:lnTo>
                  <a:pt x="547689" y="334714"/>
                </a:lnTo>
                <a:cubicBezTo>
                  <a:pt x="547689" y="324816"/>
                  <a:pt x="539540" y="316669"/>
                  <a:pt x="529644" y="316669"/>
                </a:cubicBezTo>
                <a:lnTo>
                  <a:pt x="327571" y="316669"/>
                </a:lnTo>
                <a:cubicBezTo>
                  <a:pt x="317673" y="316669"/>
                  <a:pt x="309526" y="324817"/>
                  <a:pt x="309526" y="334714"/>
                </a:cubicBezTo>
                <a:lnTo>
                  <a:pt x="309526" y="462930"/>
                </a:lnTo>
                <a:cubicBezTo>
                  <a:pt x="309526" y="472827"/>
                  <a:pt x="317674" y="480975"/>
                  <a:pt x="327571" y="480975"/>
                </a:cubicBezTo>
                <a:close/>
                <a:moveTo>
                  <a:pt x="348931" y="500620"/>
                </a:moveTo>
                <a:lnTo>
                  <a:pt x="373228" y="554495"/>
                </a:lnTo>
                <a:cubicBezTo>
                  <a:pt x="376613" y="561974"/>
                  <a:pt x="387552" y="562309"/>
                  <a:pt x="391087" y="554495"/>
                </a:cubicBezTo>
                <a:lnTo>
                  <a:pt x="415383" y="500620"/>
                </a:lnTo>
                <a:lnTo>
                  <a:pt x="529683" y="500620"/>
                </a:lnTo>
                <a:cubicBezTo>
                  <a:pt x="550445" y="500620"/>
                  <a:pt x="567374" y="483691"/>
                  <a:pt x="567374" y="462930"/>
                </a:cubicBezTo>
                <a:lnTo>
                  <a:pt x="567374" y="334714"/>
                </a:lnTo>
                <a:cubicBezTo>
                  <a:pt x="567374" y="313952"/>
                  <a:pt x="550445" y="297023"/>
                  <a:pt x="529683" y="297023"/>
                </a:cubicBezTo>
                <a:lnTo>
                  <a:pt x="327610" y="297023"/>
                </a:lnTo>
                <a:cubicBezTo>
                  <a:pt x="306849" y="297023"/>
                  <a:pt x="289920" y="313952"/>
                  <a:pt x="289920" y="334714"/>
                </a:cubicBezTo>
                <a:lnTo>
                  <a:pt x="289920" y="462930"/>
                </a:lnTo>
                <a:cubicBezTo>
                  <a:pt x="289920" y="483691"/>
                  <a:pt x="306849" y="500620"/>
                  <a:pt x="327610" y="500620"/>
                </a:cubicBezTo>
                <a:close/>
                <a:moveTo>
                  <a:pt x="160698" y="36572"/>
                </a:moveTo>
                <a:cubicBezTo>
                  <a:pt x="138188" y="14061"/>
                  <a:pt x="101651" y="14061"/>
                  <a:pt x="79103" y="36572"/>
                </a:cubicBezTo>
                <a:cubicBezTo>
                  <a:pt x="56593" y="59082"/>
                  <a:pt x="56593" y="95619"/>
                  <a:pt x="79103" y="118166"/>
                </a:cubicBezTo>
                <a:cubicBezTo>
                  <a:pt x="101614" y="140677"/>
                  <a:pt x="138151" y="140677"/>
                  <a:pt x="160698" y="118166"/>
                </a:cubicBezTo>
                <a:cubicBezTo>
                  <a:pt x="183209" y="95656"/>
                  <a:pt x="183209" y="59119"/>
                  <a:pt x="160698" y="36572"/>
                </a:cubicBezTo>
                <a:close/>
                <a:moveTo>
                  <a:pt x="145294" y="165645"/>
                </a:moveTo>
                <a:lnTo>
                  <a:pt x="94507" y="165645"/>
                </a:lnTo>
                <a:cubicBezTo>
                  <a:pt x="53319" y="165645"/>
                  <a:pt x="19609" y="199355"/>
                  <a:pt x="19609" y="240543"/>
                </a:cubicBezTo>
                <a:lnTo>
                  <a:pt x="19609" y="315441"/>
                </a:lnTo>
                <a:lnTo>
                  <a:pt x="220196" y="315441"/>
                </a:lnTo>
                <a:lnTo>
                  <a:pt x="220196" y="240543"/>
                </a:lnTo>
                <a:cubicBezTo>
                  <a:pt x="220196" y="199355"/>
                  <a:pt x="186486" y="165645"/>
                  <a:pt x="145298" y="165645"/>
                </a:cubicBezTo>
                <a:close/>
                <a:moveTo>
                  <a:pt x="154633" y="146483"/>
                </a:moveTo>
                <a:cubicBezTo>
                  <a:pt x="202481" y="151246"/>
                  <a:pt x="239800" y="191913"/>
                  <a:pt x="239800" y="240543"/>
                </a:cubicBezTo>
                <a:lnTo>
                  <a:pt x="239800" y="325263"/>
                </a:lnTo>
                <a:cubicBezTo>
                  <a:pt x="239800" y="330695"/>
                  <a:pt x="235410" y="335085"/>
                  <a:pt x="229978" y="335085"/>
                </a:cubicBezTo>
                <a:lnTo>
                  <a:pt x="9827" y="335048"/>
                </a:lnTo>
                <a:cubicBezTo>
                  <a:pt x="4394" y="335048"/>
                  <a:pt x="4" y="330657"/>
                  <a:pt x="4" y="325226"/>
                </a:cubicBezTo>
                <a:lnTo>
                  <a:pt x="4" y="240506"/>
                </a:lnTo>
                <a:cubicBezTo>
                  <a:pt x="4" y="191876"/>
                  <a:pt x="37323" y="151209"/>
                  <a:pt x="85171" y="146446"/>
                </a:cubicBezTo>
                <a:cubicBezTo>
                  <a:pt x="38290" y="122819"/>
                  <a:pt x="27873" y="60052"/>
                  <a:pt x="65228" y="22659"/>
                </a:cubicBezTo>
                <a:cubicBezTo>
                  <a:pt x="95440" y="-7553"/>
                  <a:pt x="144404" y="-7553"/>
                  <a:pt x="174575" y="22659"/>
                </a:cubicBezTo>
                <a:cubicBezTo>
                  <a:pt x="211931" y="60015"/>
                  <a:pt x="201512" y="122824"/>
                  <a:pt x="154631" y="146446"/>
                </a:cubicBezTo>
                <a:close/>
                <a:moveTo>
                  <a:pt x="778111" y="36574"/>
                </a:moveTo>
                <a:cubicBezTo>
                  <a:pt x="755601" y="14064"/>
                  <a:pt x="719064" y="14064"/>
                  <a:pt x="696516" y="36574"/>
                </a:cubicBezTo>
                <a:cubicBezTo>
                  <a:pt x="674006" y="59085"/>
                  <a:pt x="674006" y="95622"/>
                  <a:pt x="696516" y="118169"/>
                </a:cubicBezTo>
                <a:cubicBezTo>
                  <a:pt x="719027" y="140680"/>
                  <a:pt x="755601" y="140680"/>
                  <a:pt x="778111" y="118169"/>
                </a:cubicBezTo>
                <a:cubicBezTo>
                  <a:pt x="800622" y="95659"/>
                  <a:pt x="800622" y="59122"/>
                  <a:pt x="778111" y="36574"/>
                </a:cubicBezTo>
                <a:close/>
                <a:moveTo>
                  <a:pt x="762707" y="165648"/>
                </a:moveTo>
                <a:lnTo>
                  <a:pt x="711920" y="165648"/>
                </a:lnTo>
                <a:cubicBezTo>
                  <a:pt x="670732" y="165648"/>
                  <a:pt x="637022" y="199358"/>
                  <a:pt x="637022" y="240546"/>
                </a:cubicBezTo>
                <a:lnTo>
                  <a:pt x="637022" y="315444"/>
                </a:lnTo>
                <a:lnTo>
                  <a:pt x="837609" y="315444"/>
                </a:lnTo>
                <a:lnTo>
                  <a:pt x="837609" y="240546"/>
                </a:lnTo>
                <a:cubicBezTo>
                  <a:pt x="837609" y="199358"/>
                  <a:pt x="803899" y="165648"/>
                  <a:pt x="762711" y="165648"/>
                </a:cubicBezTo>
                <a:close/>
                <a:moveTo>
                  <a:pt x="772046" y="146486"/>
                </a:moveTo>
                <a:cubicBezTo>
                  <a:pt x="819894" y="151249"/>
                  <a:pt x="857213" y="191916"/>
                  <a:pt x="857213" y="240546"/>
                </a:cubicBezTo>
                <a:lnTo>
                  <a:pt x="857213" y="325266"/>
                </a:lnTo>
                <a:cubicBezTo>
                  <a:pt x="857213" y="330698"/>
                  <a:pt x="852823" y="335088"/>
                  <a:pt x="847391" y="335088"/>
                </a:cubicBezTo>
                <a:lnTo>
                  <a:pt x="627202" y="335088"/>
                </a:lnTo>
                <a:cubicBezTo>
                  <a:pt x="621769" y="335088"/>
                  <a:pt x="617379" y="330697"/>
                  <a:pt x="617379" y="325266"/>
                </a:cubicBezTo>
                <a:lnTo>
                  <a:pt x="617379" y="240546"/>
                </a:lnTo>
                <a:cubicBezTo>
                  <a:pt x="617379" y="191916"/>
                  <a:pt x="654698" y="151249"/>
                  <a:pt x="702546" y="146486"/>
                </a:cubicBezTo>
                <a:cubicBezTo>
                  <a:pt x="655665" y="122859"/>
                  <a:pt x="645248" y="60092"/>
                  <a:pt x="682603" y="22699"/>
                </a:cubicBezTo>
                <a:cubicBezTo>
                  <a:pt x="712815" y="-7513"/>
                  <a:pt x="761779" y="-7513"/>
                  <a:pt x="791950" y="22699"/>
                </a:cubicBezTo>
                <a:cubicBezTo>
                  <a:pt x="829306" y="60055"/>
                  <a:pt x="818887" y="122864"/>
                  <a:pt x="772006" y="146486"/>
                </a:cubicBezTo>
                <a:close/>
                <a:moveTo>
                  <a:pt x="160694" y="558776"/>
                </a:moveTo>
                <a:cubicBezTo>
                  <a:pt x="138183" y="536265"/>
                  <a:pt x="101646" y="536265"/>
                  <a:pt x="79099" y="558776"/>
                </a:cubicBezTo>
                <a:cubicBezTo>
                  <a:pt x="56588" y="581286"/>
                  <a:pt x="56588" y="617823"/>
                  <a:pt x="79099" y="640371"/>
                </a:cubicBezTo>
                <a:cubicBezTo>
                  <a:pt x="101609" y="662881"/>
                  <a:pt x="138146" y="662881"/>
                  <a:pt x="160694" y="640371"/>
                </a:cubicBezTo>
                <a:cubicBezTo>
                  <a:pt x="183204" y="617860"/>
                  <a:pt x="183204" y="581323"/>
                  <a:pt x="160694" y="558776"/>
                </a:cubicBezTo>
                <a:close/>
                <a:moveTo>
                  <a:pt x="145290" y="687849"/>
                </a:moveTo>
                <a:lnTo>
                  <a:pt x="94503" y="687849"/>
                </a:lnTo>
                <a:cubicBezTo>
                  <a:pt x="53315" y="687849"/>
                  <a:pt x="19605" y="721559"/>
                  <a:pt x="19605" y="762747"/>
                </a:cubicBezTo>
                <a:lnTo>
                  <a:pt x="19605" y="837645"/>
                </a:lnTo>
                <a:lnTo>
                  <a:pt x="220192" y="837645"/>
                </a:lnTo>
                <a:lnTo>
                  <a:pt x="220192" y="762747"/>
                </a:lnTo>
                <a:cubicBezTo>
                  <a:pt x="220192" y="721559"/>
                  <a:pt x="186482" y="687849"/>
                  <a:pt x="145294" y="687849"/>
                </a:cubicBezTo>
                <a:close/>
                <a:moveTo>
                  <a:pt x="154629" y="668688"/>
                </a:moveTo>
                <a:cubicBezTo>
                  <a:pt x="202477" y="673450"/>
                  <a:pt x="239796" y="714117"/>
                  <a:pt x="239796" y="762747"/>
                </a:cubicBezTo>
                <a:lnTo>
                  <a:pt x="239796" y="847467"/>
                </a:lnTo>
                <a:cubicBezTo>
                  <a:pt x="239796" y="852899"/>
                  <a:pt x="235405" y="857289"/>
                  <a:pt x="229974" y="857289"/>
                </a:cubicBezTo>
                <a:lnTo>
                  <a:pt x="9822" y="857289"/>
                </a:lnTo>
                <a:cubicBezTo>
                  <a:pt x="4390" y="857289"/>
                  <a:pt x="0" y="852899"/>
                  <a:pt x="0" y="847467"/>
                </a:cubicBezTo>
                <a:lnTo>
                  <a:pt x="0" y="762747"/>
                </a:lnTo>
                <a:cubicBezTo>
                  <a:pt x="0" y="714117"/>
                  <a:pt x="37319" y="673450"/>
                  <a:pt x="85167" y="668688"/>
                </a:cubicBezTo>
                <a:cubicBezTo>
                  <a:pt x="38286" y="645061"/>
                  <a:pt x="27868" y="582293"/>
                  <a:pt x="65223" y="544901"/>
                </a:cubicBezTo>
                <a:cubicBezTo>
                  <a:pt x="95436" y="514688"/>
                  <a:pt x="144400" y="514688"/>
                  <a:pt x="174570" y="544901"/>
                </a:cubicBezTo>
                <a:cubicBezTo>
                  <a:pt x="211926" y="582257"/>
                  <a:pt x="201508" y="645066"/>
                  <a:pt x="154627" y="668688"/>
                </a:cubicBezTo>
                <a:close/>
                <a:moveTo>
                  <a:pt x="778107" y="558779"/>
                </a:moveTo>
                <a:cubicBezTo>
                  <a:pt x="755596" y="536268"/>
                  <a:pt x="719059" y="536268"/>
                  <a:pt x="696512" y="558779"/>
                </a:cubicBezTo>
                <a:cubicBezTo>
                  <a:pt x="674001" y="581289"/>
                  <a:pt x="674001" y="617826"/>
                  <a:pt x="696512" y="640374"/>
                </a:cubicBezTo>
                <a:cubicBezTo>
                  <a:pt x="719022" y="662884"/>
                  <a:pt x="755596" y="662884"/>
                  <a:pt x="778107" y="640374"/>
                </a:cubicBezTo>
                <a:cubicBezTo>
                  <a:pt x="800617" y="617863"/>
                  <a:pt x="800617" y="581326"/>
                  <a:pt x="778107" y="558779"/>
                </a:cubicBezTo>
                <a:close/>
                <a:moveTo>
                  <a:pt x="762703" y="687852"/>
                </a:moveTo>
                <a:lnTo>
                  <a:pt x="711916" y="687852"/>
                </a:lnTo>
                <a:cubicBezTo>
                  <a:pt x="670728" y="687852"/>
                  <a:pt x="637018" y="721562"/>
                  <a:pt x="637018" y="762750"/>
                </a:cubicBezTo>
                <a:lnTo>
                  <a:pt x="637018" y="837648"/>
                </a:lnTo>
                <a:lnTo>
                  <a:pt x="837605" y="837648"/>
                </a:lnTo>
                <a:lnTo>
                  <a:pt x="837605" y="762750"/>
                </a:lnTo>
                <a:cubicBezTo>
                  <a:pt x="837605" y="721562"/>
                  <a:pt x="803895" y="687852"/>
                  <a:pt x="762707" y="687852"/>
                </a:cubicBezTo>
                <a:close/>
                <a:moveTo>
                  <a:pt x="772042" y="668691"/>
                </a:moveTo>
                <a:cubicBezTo>
                  <a:pt x="819890" y="673453"/>
                  <a:pt x="857209" y="714120"/>
                  <a:pt x="857209" y="762750"/>
                </a:cubicBezTo>
                <a:lnTo>
                  <a:pt x="857209" y="847470"/>
                </a:lnTo>
                <a:cubicBezTo>
                  <a:pt x="857209" y="852902"/>
                  <a:pt x="852818" y="857292"/>
                  <a:pt x="847387" y="857292"/>
                </a:cubicBezTo>
                <a:lnTo>
                  <a:pt x="627197" y="857292"/>
                </a:lnTo>
                <a:cubicBezTo>
                  <a:pt x="621765" y="857292"/>
                  <a:pt x="617375" y="852902"/>
                  <a:pt x="617375" y="847470"/>
                </a:cubicBezTo>
                <a:lnTo>
                  <a:pt x="617375" y="762750"/>
                </a:lnTo>
                <a:cubicBezTo>
                  <a:pt x="617375" y="714120"/>
                  <a:pt x="654694" y="673453"/>
                  <a:pt x="702542" y="668691"/>
                </a:cubicBezTo>
                <a:cubicBezTo>
                  <a:pt x="655661" y="645064"/>
                  <a:pt x="645243" y="582296"/>
                  <a:pt x="682598" y="544904"/>
                </a:cubicBezTo>
                <a:cubicBezTo>
                  <a:pt x="712811" y="514691"/>
                  <a:pt x="761775" y="514691"/>
                  <a:pt x="791945" y="544904"/>
                </a:cubicBezTo>
                <a:cubicBezTo>
                  <a:pt x="829301" y="582260"/>
                  <a:pt x="818883" y="645069"/>
                  <a:pt x="772002" y="668691"/>
                </a:cubicBezTo>
                <a:close/>
                <a:moveTo>
                  <a:pt x="581656" y="713339"/>
                </a:moveTo>
                <a:cubicBezTo>
                  <a:pt x="586419" y="710772"/>
                  <a:pt x="592372" y="712558"/>
                  <a:pt x="594939" y="717320"/>
                </a:cubicBezTo>
                <a:cubicBezTo>
                  <a:pt x="597506" y="722083"/>
                  <a:pt x="595720" y="728036"/>
                  <a:pt x="590958" y="730603"/>
                </a:cubicBezTo>
                <a:cubicBezTo>
                  <a:pt x="489755" y="785074"/>
                  <a:pt x="367492" y="785074"/>
                  <a:pt x="266289" y="730603"/>
                </a:cubicBezTo>
                <a:cubicBezTo>
                  <a:pt x="261526" y="728035"/>
                  <a:pt x="259740" y="722082"/>
                  <a:pt x="262307" y="717320"/>
                </a:cubicBezTo>
                <a:cubicBezTo>
                  <a:pt x="264875" y="712558"/>
                  <a:pt x="270828" y="710772"/>
                  <a:pt x="275590" y="713339"/>
                </a:cubicBezTo>
                <a:cubicBezTo>
                  <a:pt x="370878" y="764610"/>
                  <a:pt x="486445" y="764684"/>
                  <a:pt x="581695" y="713339"/>
                </a:cubicBezTo>
                <a:close/>
                <a:moveTo>
                  <a:pt x="749049" y="386774"/>
                </a:moveTo>
                <a:cubicBezTo>
                  <a:pt x="748379" y="381417"/>
                  <a:pt x="752174" y="376543"/>
                  <a:pt x="757532" y="375836"/>
                </a:cubicBezTo>
                <a:cubicBezTo>
                  <a:pt x="762890" y="375166"/>
                  <a:pt x="767764" y="378961"/>
                  <a:pt x="768470" y="384319"/>
                </a:cubicBezTo>
                <a:cubicBezTo>
                  <a:pt x="772303" y="414382"/>
                  <a:pt x="772303" y="442957"/>
                  <a:pt x="768470" y="473021"/>
                </a:cubicBezTo>
                <a:cubicBezTo>
                  <a:pt x="767801" y="478378"/>
                  <a:pt x="762889" y="482174"/>
                  <a:pt x="757532" y="481504"/>
                </a:cubicBezTo>
                <a:cubicBezTo>
                  <a:pt x="752174" y="480834"/>
                  <a:pt x="748379" y="475923"/>
                  <a:pt x="749049" y="470565"/>
                </a:cubicBezTo>
                <a:cubicBezTo>
                  <a:pt x="752583" y="443032"/>
                  <a:pt x="752620" y="414346"/>
                  <a:pt x="749049" y="386775"/>
                </a:cubicBezTo>
                <a:close/>
                <a:moveTo>
                  <a:pt x="275513" y="144001"/>
                </a:moveTo>
                <a:cubicBezTo>
                  <a:pt x="270751" y="146568"/>
                  <a:pt x="264798" y="144783"/>
                  <a:pt x="262231" y="140020"/>
                </a:cubicBezTo>
                <a:cubicBezTo>
                  <a:pt x="259664" y="135257"/>
                  <a:pt x="261449" y="129304"/>
                  <a:pt x="266212" y="126737"/>
                </a:cubicBezTo>
                <a:cubicBezTo>
                  <a:pt x="367415" y="72266"/>
                  <a:pt x="489678" y="72266"/>
                  <a:pt x="590881" y="126737"/>
                </a:cubicBezTo>
                <a:cubicBezTo>
                  <a:pt x="595643" y="129305"/>
                  <a:pt x="597429" y="135258"/>
                  <a:pt x="594862" y="140020"/>
                </a:cubicBezTo>
                <a:cubicBezTo>
                  <a:pt x="592295" y="144782"/>
                  <a:pt x="586342" y="146568"/>
                  <a:pt x="581579" y="144001"/>
                </a:cubicBezTo>
                <a:cubicBezTo>
                  <a:pt x="486291" y="92730"/>
                  <a:pt x="370725" y="92656"/>
                  <a:pt x="275475" y="144001"/>
                </a:cubicBezTo>
                <a:close/>
                <a:moveTo>
                  <a:pt x="108121" y="470566"/>
                </a:moveTo>
                <a:cubicBezTo>
                  <a:pt x="108791" y="475924"/>
                  <a:pt x="104996" y="480798"/>
                  <a:pt x="99638" y="481504"/>
                </a:cubicBezTo>
                <a:cubicBezTo>
                  <a:pt x="94280" y="482174"/>
                  <a:pt x="89406" y="478379"/>
                  <a:pt x="88699" y="473021"/>
                </a:cubicBezTo>
                <a:cubicBezTo>
                  <a:pt x="84867" y="442958"/>
                  <a:pt x="84867" y="414383"/>
                  <a:pt x="88699" y="384320"/>
                </a:cubicBezTo>
                <a:cubicBezTo>
                  <a:pt x="89369" y="378962"/>
                  <a:pt x="94280" y="375167"/>
                  <a:pt x="99638" y="375836"/>
                </a:cubicBezTo>
                <a:cubicBezTo>
                  <a:pt x="104995" y="376506"/>
                  <a:pt x="108791" y="381417"/>
                  <a:pt x="108121" y="386775"/>
                </a:cubicBezTo>
                <a:cubicBezTo>
                  <a:pt x="104586" y="414308"/>
                  <a:pt x="104549" y="442994"/>
                  <a:pt x="108121" y="470565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DE372E7-6ADC-17E0-E653-9369331E4FDD}"/>
              </a:ext>
            </a:extLst>
          </p:cNvPr>
          <p:cNvSpPr/>
          <p:nvPr/>
        </p:nvSpPr>
        <p:spPr>
          <a:xfrm>
            <a:off x="628607" y="5462134"/>
            <a:ext cx="276522" cy="276509"/>
          </a:xfrm>
          <a:custGeom>
            <a:avLst/>
            <a:gdLst>
              <a:gd name="connsiteX0" fmla="*/ 580389 w 859857"/>
              <a:gd name="connsiteY0" fmla="*/ 463495 h 859817"/>
              <a:gd name="connsiteX1" fmla="*/ 594862 w 859857"/>
              <a:gd name="connsiteY1" fmla="*/ 446157 h 859817"/>
              <a:gd name="connsiteX2" fmla="*/ 594862 w 859857"/>
              <a:gd name="connsiteY2" fmla="*/ 413675 h 859817"/>
              <a:gd name="connsiteX3" fmla="*/ 580389 w 859857"/>
              <a:gd name="connsiteY3" fmla="*/ 396336 h 859817"/>
              <a:gd name="connsiteX4" fmla="*/ 561749 w 859857"/>
              <a:gd name="connsiteY4" fmla="*/ 392913 h 859817"/>
              <a:gd name="connsiteX5" fmla="*/ 549284 w 859857"/>
              <a:gd name="connsiteY5" fmla="*/ 362775 h 859817"/>
              <a:gd name="connsiteX6" fmla="*/ 560037 w 859857"/>
              <a:gd name="connsiteY6" fmla="*/ 347223 h 859817"/>
              <a:gd name="connsiteX7" fmla="*/ 558028 w 859857"/>
              <a:gd name="connsiteY7" fmla="*/ 324749 h 859817"/>
              <a:gd name="connsiteX8" fmla="*/ 535033 w 859857"/>
              <a:gd name="connsiteY8" fmla="*/ 301755 h 859817"/>
              <a:gd name="connsiteX9" fmla="*/ 512560 w 859857"/>
              <a:gd name="connsiteY9" fmla="*/ 299746 h 859817"/>
              <a:gd name="connsiteX10" fmla="*/ 496971 w 859857"/>
              <a:gd name="connsiteY10" fmla="*/ 310499 h 859817"/>
              <a:gd name="connsiteX11" fmla="*/ 466908 w 859857"/>
              <a:gd name="connsiteY11" fmla="*/ 298034 h 859817"/>
              <a:gd name="connsiteX12" fmla="*/ 466871 w 859857"/>
              <a:gd name="connsiteY12" fmla="*/ 297997 h 859817"/>
              <a:gd name="connsiteX13" fmla="*/ 463485 w 859857"/>
              <a:gd name="connsiteY13" fmla="*/ 279431 h 859817"/>
              <a:gd name="connsiteX14" fmla="*/ 446146 w 859857"/>
              <a:gd name="connsiteY14" fmla="*/ 264958 h 859817"/>
              <a:gd name="connsiteX15" fmla="*/ 413664 w 859857"/>
              <a:gd name="connsiteY15" fmla="*/ 264958 h 859817"/>
              <a:gd name="connsiteX16" fmla="*/ 396326 w 859857"/>
              <a:gd name="connsiteY16" fmla="*/ 279431 h 859817"/>
              <a:gd name="connsiteX17" fmla="*/ 392903 w 859857"/>
              <a:gd name="connsiteY17" fmla="*/ 298071 h 859817"/>
              <a:gd name="connsiteX18" fmla="*/ 362765 w 859857"/>
              <a:gd name="connsiteY18" fmla="*/ 310536 h 859817"/>
              <a:gd name="connsiteX19" fmla="*/ 347212 w 859857"/>
              <a:gd name="connsiteY19" fmla="*/ 299783 h 859817"/>
              <a:gd name="connsiteX20" fmla="*/ 324739 w 859857"/>
              <a:gd name="connsiteY20" fmla="*/ 301792 h 859817"/>
              <a:gd name="connsiteX21" fmla="*/ 301745 w 859857"/>
              <a:gd name="connsiteY21" fmla="*/ 324786 h 859817"/>
              <a:gd name="connsiteX22" fmla="*/ 299736 w 859857"/>
              <a:gd name="connsiteY22" fmla="*/ 347260 h 859817"/>
              <a:gd name="connsiteX23" fmla="*/ 310488 w 859857"/>
              <a:gd name="connsiteY23" fmla="*/ 362849 h 859817"/>
              <a:gd name="connsiteX24" fmla="*/ 297950 w 859857"/>
              <a:gd name="connsiteY24" fmla="*/ 392987 h 859817"/>
              <a:gd name="connsiteX25" fmla="*/ 279383 w 859857"/>
              <a:gd name="connsiteY25" fmla="*/ 396373 h 859817"/>
              <a:gd name="connsiteX26" fmla="*/ 264910 w 859857"/>
              <a:gd name="connsiteY26" fmla="*/ 413712 h 859817"/>
              <a:gd name="connsiteX27" fmla="*/ 264910 w 859857"/>
              <a:gd name="connsiteY27" fmla="*/ 446194 h 859817"/>
              <a:gd name="connsiteX28" fmla="*/ 279383 w 859857"/>
              <a:gd name="connsiteY28" fmla="*/ 463532 h 859817"/>
              <a:gd name="connsiteX29" fmla="*/ 298024 w 859857"/>
              <a:gd name="connsiteY29" fmla="*/ 466955 h 859817"/>
              <a:gd name="connsiteX30" fmla="*/ 310488 w 859857"/>
              <a:gd name="connsiteY30" fmla="*/ 497093 h 859817"/>
              <a:gd name="connsiteX31" fmla="*/ 299736 w 859857"/>
              <a:gd name="connsiteY31" fmla="*/ 512646 h 859817"/>
              <a:gd name="connsiteX32" fmla="*/ 301745 w 859857"/>
              <a:gd name="connsiteY32" fmla="*/ 535119 h 859817"/>
              <a:gd name="connsiteX33" fmla="*/ 324739 w 859857"/>
              <a:gd name="connsiteY33" fmla="*/ 558076 h 859817"/>
              <a:gd name="connsiteX34" fmla="*/ 347212 w 859857"/>
              <a:gd name="connsiteY34" fmla="*/ 560085 h 859817"/>
              <a:gd name="connsiteX35" fmla="*/ 362802 w 859857"/>
              <a:gd name="connsiteY35" fmla="*/ 549333 h 859817"/>
              <a:gd name="connsiteX36" fmla="*/ 392940 w 859857"/>
              <a:gd name="connsiteY36" fmla="*/ 561871 h 859817"/>
              <a:gd name="connsiteX37" fmla="*/ 396326 w 859857"/>
              <a:gd name="connsiteY37" fmla="*/ 580437 h 859817"/>
              <a:gd name="connsiteX38" fmla="*/ 413664 w 859857"/>
              <a:gd name="connsiteY38" fmla="*/ 594911 h 859817"/>
              <a:gd name="connsiteX39" fmla="*/ 446146 w 859857"/>
              <a:gd name="connsiteY39" fmla="*/ 594911 h 859817"/>
              <a:gd name="connsiteX40" fmla="*/ 463485 w 859857"/>
              <a:gd name="connsiteY40" fmla="*/ 580437 h 859817"/>
              <a:gd name="connsiteX41" fmla="*/ 466908 w 859857"/>
              <a:gd name="connsiteY41" fmla="*/ 561797 h 859817"/>
              <a:gd name="connsiteX42" fmla="*/ 497046 w 859857"/>
              <a:gd name="connsiteY42" fmla="*/ 549333 h 859817"/>
              <a:gd name="connsiteX43" fmla="*/ 512598 w 859857"/>
              <a:gd name="connsiteY43" fmla="*/ 560085 h 859817"/>
              <a:gd name="connsiteX44" fmla="*/ 535072 w 859857"/>
              <a:gd name="connsiteY44" fmla="*/ 558076 h 859817"/>
              <a:gd name="connsiteX45" fmla="*/ 558066 w 859857"/>
              <a:gd name="connsiteY45" fmla="*/ 535082 h 859817"/>
              <a:gd name="connsiteX46" fmla="*/ 560075 w 859857"/>
              <a:gd name="connsiteY46" fmla="*/ 512608 h 859817"/>
              <a:gd name="connsiteX47" fmla="*/ 549322 w 859857"/>
              <a:gd name="connsiteY47" fmla="*/ 497019 h 859817"/>
              <a:gd name="connsiteX48" fmla="*/ 561861 w 859857"/>
              <a:gd name="connsiteY48" fmla="*/ 466881 h 859817"/>
              <a:gd name="connsiteX49" fmla="*/ 544893 w 859857"/>
              <a:gd name="connsiteY49" fmla="*/ 462193 h 859817"/>
              <a:gd name="connsiteX50" fmla="*/ 534029 w 859857"/>
              <a:gd name="connsiteY50" fmla="*/ 488387 h 859817"/>
              <a:gd name="connsiteX51" fmla="*/ 534885 w 859857"/>
              <a:gd name="connsiteY51" fmla="*/ 507064 h 859817"/>
              <a:gd name="connsiteX52" fmla="*/ 545638 w 859857"/>
              <a:gd name="connsiteY52" fmla="*/ 522654 h 859817"/>
              <a:gd name="connsiteX53" fmla="*/ 522569 w 859857"/>
              <a:gd name="connsiteY53" fmla="*/ 545648 h 859817"/>
              <a:gd name="connsiteX54" fmla="*/ 507054 w 859857"/>
              <a:gd name="connsiteY54" fmla="*/ 534895 h 859817"/>
              <a:gd name="connsiteX55" fmla="*/ 488376 w 859857"/>
              <a:gd name="connsiteY55" fmla="*/ 534040 h 859817"/>
              <a:gd name="connsiteX56" fmla="*/ 462182 w 859857"/>
              <a:gd name="connsiteY56" fmla="*/ 544904 h 859817"/>
              <a:gd name="connsiteX57" fmla="*/ 449606 w 859857"/>
              <a:gd name="connsiteY57" fmla="*/ 558707 h 859817"/>
              <a:gd name="connsiteX58" fmla="*/ 446183 w 859857"/>
              <a:gd name="connsiteY58" fmla="*/ 577348 h 859817"/>
              <a:gd name="connsiteX59" fmla="*/ 413627 w 859857"/>
              <a:gd name="connsiteY59" fmla="*/ 577311 h 859817"/>
              <a:gd name="connsiteX60" fmla="*/ 410241 w 859857"/>
              <a:gd name="connsiteY60" fmla="*/ 558744 h 859817"/>
              <a:gd name="connsiteX61" fmla="*/ 397665 w 859857"/>
              <a:gd name="connsiteY61" fmla="*/ 544941 h 859817"/>
              <a:gd name="connsiteX62" fmla="*/ 371471 w 859857"/>
              <a:gd name="connsiteY62" fmla="*/ 534077 h 859817"/>
              <a:gd name="connsiteX63" fmla="*/ 362802 w 859857"/>
              <a:gd name="connsiteY63" fmla="*/ 531807 h 859817"/>
              <a:gd name="connsiteX64" fmla="*/ 352793 w 859857"/>
              <a:gd name="connsiteY64" fmla="*/ 534970 h 859817"/>
              <a:gd name="connsiteX65" fmla="*/ 337167 w 859857"/>
              <a:gd name="connsiteY65" fmla="*/ 545722 h 859817"/>
              <a:gd name="connsiteX66" fmla="*/ 314172 w 859857"/>
              <a:gd name="connsiteY66" fmla="*/ 522654 h 859817"/>
              <a:gd name="connsiteX67" fmla="*/ 324925 w 859857"/>
              <a:gd name="connsiteY67" fmla="*/ 507101 h 859817"/>
              <a:gd name="connsiteX68" fmla="*/ 325781 w 859857"/>
              <a:gd name="connsiteY68" fmla="*/ 488424 h 859817"/>
              <a:gd name="connsiteX69" fmla="*/ 314917 w 859857"/>
              <a:gd name="connsiteY69" fmla="*/ 462230 h 859817"/>
              <a:gd name="connsiteX70" fmla="*/ 301113 w 859857"/>
              <a:gd name="connsiteY70" fmla="*/ 449654 h 859817"/>
              <a:gd name="connsiteX71" fmla="*/ 282473 w 859857"/>
              <a:gd name="connsiteY71" fmla="*/ 446231 h 859817"/>
              <a:gd name="connsiteX72" fmla="*/ 282510 w 859857"/>
              <a:gd name="connsiteY72" fmla="*/ 413675 h 859817"/>
              <a:gd name="connsiteX73" fmla="*/ 301076 w 859857"/>
              <a:gd name="connsiteY73" fmla="*/ 410289 h 859817"/>
              <a:gd name="connsiteX74" fmla="*/ 314880 w 859857"/>
              <a:gd name="connsiteY74" fmla="*/ 397713 h 859817"/>
              <a:gd name="connsiteX75" fmla="*/ 325744 w 859857"/>
              <a:gd name="connsiteY75" fmla="*/ 371519 h 859817"/>
              <a:gd name="connsiteX76" fmla="*/ 324888 w 859857"/>
              <a:gd name="connsiteY76" fmla="*/ 352842 h 859817"/>
              <a:gd name="connsiteX77" fmla="*/ 314135 w 859857"/>
              <a:gd name="connsiteY77" fmla="*/ 337215 h 859817"/>
              <a:gd name="connsiteX78" fmla="*/ 337204 w 859857"/>
              <a:gd name="connsiteY78" fmla="*/ 314221 h 859817"/>
              <a:gd name="connsiteX79" fmla="*/ 352756 w 859857"/>
              <a:gd name="connsiteY79" fmla="*/ 324973 h 859817"/>
              <a:gd name="connsiteX80" fmla="*/ 371434 w 859857"/>
              <a:gd name="connsiteY80" fmla="*/ 325829 h 859817"/>
              <a:gd name="connsiteX81" fmla="*/ 397628 w 859857"/>
              <a:gd name="connsiteY81" fmla="*/ 314965 h 859817"/>
              <a:gd name="connsiteX82" fmla="*/ 410203 w 859857"/>
              <a:gd name="connsiteY82" fmla="*/ 301161 h 859817"/>
              <a:gd name="connsiteX83" fmla="*/ 413626 w 859857"/>
              <a:gd name="connsiteY83" fmla="*/ 282521 h 859817"/>
              <a:gd name="connsiteX84" fmla="*/ 446183 w 859857"/>
              <a:gd name="connsiteY84" fmla="*/ 282558 h 859817"/>
              <a:gd name="connsiteX85" fmla="*/ 449569 w 859857"/>
              <a:gd name="connsiteY85" fmla="*/ 301124 h 859817"/>
              <a:gd name="connsiteX86" fmla="*/ 462145 w 859857"/>
              <a:gd name="connsiteY86" fmla="*/ 314928 h 859817"/>
              <a:gd name="connsiteX87" fmla="*/ 488338 w 859857"/>
              <a:gd name="connsiteY87" fmla="*/ 325792 h 859817"/>
              <a:gd name="connsiteX88" fmla="*/ 507016 w 859857"/>
              <a:gd name="connsiteY88" fmla="*/ 324936 h 859817"/>
              <a:gd name="connsiteX89" fmla="*/ 522643 w 859857"/>
              <a:gd name="connsiteY89" fmla="*/ 314183 h 859817"/>
              <a:gd name="connsiteX90" fmla="*/ 545637 w 859857"/>
              <a:gd name="connsiteY90" fmla="*/ 337252 h 859817"/>
              <a:gd name="connsiteX91" fmla="*/ 534884 w 859857"/>
              <a:gd name="connsiteY91" fmla="*/ 352804 h 859817"/>
              <a:gd name="connsiteX92" fmla="*/ 534028 w 859857"/>
              <a:gd name="connsiteY92" fmla="*/ 371482 h 859817"/>
              <a:gd name="connsiteX93" fmla="*/ 544893 w 859857"/>
              <a:gd name="connsiteY93" fmla="*/ 397676 h 859817"/>
              <a:gd name="connsiteX94" fmla="*/ 558696 w 859857"/>
              <a:gd name="connsiteY94" fmla="*/ 410252 h 859817"/>
              <a:gd name="connsiteX95" fmla="*/ 577337 w 859857"/>
              <a:gd name="connsiteY95" fmla="*/ 413675 h 859817"/>
              <a:gd name="connsiteX96" fmla="*/ 577299 w 859857"/>
              <a:gd name="connsiteY96" fmla="*/ 446231 h 859817"/>
              <a:gd name="connsiteX97" fmla="*/ 558733 w 859857"/>
              <a:gd name="connsiteY97" fmla="*/ 449617 h 859817"/>
              <a:gd name="connsiteX98" fmla="*/ 544893 w 859857"/>
              <a:gd name="connsiteY98" fmla="*/ 462193 h 859817"/>
              <a:gd name="connsiteX99" fmla="*/ 429926 w 859857"/>
              <a:gd name="connsiteY99" fmla="*/ 353284 h 859817"/>
              <a:gd name="connsiteX100" fmla="*/ 353317 w 859857"/>
              <a:gd name="connsiteY100" fmla="*/ 429894 h 859817"/>
              <a:gd name="connsiteX101" fmla="*/ 429926 w 859857"/>
              <a:gd name="connsiteY101" fmla="*/ 506503 h 859817"/>
              <a:gd name="connsiteX102" fmla="*/ 506536 w 859857"/>
              <a:gd name="connsiteY102" fmla="*/ 429894 h 859817"/>
              <a:gd name="connsiteX103" fmla="*/ 429926 w 859857"/>
              <a:gd name="connsiteY103" fmla="*/ 353284 h 859817"/>
              <a:gd name="connsiteX104" fmla="*/ 429926 w 859857"/>
              <a:gd name="connsiteY104" fmla="*/ 488977 h 859817"/>
              <a:gd name="connsiteX105" fmla="*/ 370842 w 859857"/>
              <a:gd name="connsiteY105" fmla="*/ 429893 h 859817"/>
              <a:gd name="connsiteX106" fmla="*/ 429926 w 859857"/>
              <a:gd name="connsiteY106" fmla="*/ 370808 h 859817"/>
              <a:gd name="connsiteX107" fmla="*/ 489011 w 859857"/>
              <a:gd name="connsiteY107" fmla="*/ 429893 h 859817"/>
              <a:gd name="connsiteX108" fmla="*/ 429926 w 859857"/>
              <a:gd name="connsiteY108" fmla="*/ 488977 h 859817"/>
              <a:gd name="connsiteX109" fmla="*/ 847169 w 859857"/>
              <a:gd name="connsiteY109" fmla="*/ 98338 h 859817"/>
              <a:gd name="connsiteX110" fmla="*/ 834593 w 859857"/>
              <a:gd name="connsiteY110" fmla="*/ 96068 h 859817"/>
              <a:gd name="connsiteX111" fmla="*/ 826110 w 859857"/>
              <a:gd name="connsiteY111" fmla="*/ 75568 h 859817"/>
              <a:gd name="connsiteX112" fmla="*/ 833403 w 859857"/>
              <a:gd name="connsiteY112" fmla="*/ 65038 h 859817"/>
              <a:gd name="connsiteX113" fmla="*/ 831654 w 859857"/>
              <a:gd name="connsiteY113" fmla="*/ 45392 h 859817"/>
              <a:gd name="connsiteX114" fmla="*/ 814464 w 859857"/>
              <a:gd name="connsiteY114" fmla="*/ 28203 h 859817"/>
              <a:gd name="connsiteX115" fmla="*/ 794819 w 859857"/>
              <a:gd name="connsiteY115" fmla="*/ 26417 h 859817"/>
              <a:gd name="connsiteX116" fmla="*/ 784289 w 859857"/>
              <a:gd name="connsiteY116" fmla="*/ 33709 h 859817"/>
              <a:gd name="connsiteX117" fmla="*/ 763788 w 859857"/>
              <a:gd name="connsiteY117" fmla="*/ 25226 h 859817"/>
              <a:gd name="connsiteX118" fmla="*/ 761519 w 859857"/>
              <a:gd name="connsiteY118" fmla="*/ 12650 h 859817"/>
              <a:gd name="connsiteX119" fmla="*/ 746376 w 859857"/>
              <a:gd name="connsiteY119" fmla="*/ 0 h 859817"/>
              <a:gd name="connsiteX120" fmla="*/ 722042 w 859857"/>
              <a:gd name="connsiteY120" fmla="*/ 37 h 859817"/>
              <a:gd name="connsiteX121" fmla="*/ 706899 w 859857"/>
              <a:gd name="connsiteY121" fmla="*/ 12687 h 859817"/>
              <a:gd name="connsiteX122" fmla="*/ 704630 w 859857"/>
              <a:gd name="connsiteY122" fmla="*/ 25263 h 859817"/>
              <a:gd name="connsiteX123" fmla="*/ 684129 w 859857"/>
              <a:gd name="connsiteY123" fmla="*/ 33746 h 859817"/>
              <a:gd name="connsiteX124" fmla="*/ 673599 w 859857"/>
              <a:gd name="connsiteY124" fmla="*/ 26454 h 859817"/>
              <a:gd name="connsiteX125" fmla="*/ 653954 w 859857"/>
              <a:gd name="connsiteY125" fmla="*/ 28203 h 859817"/>
              <a:gd name="connsiteX126" fmla="*/ 636764 w 859857"/>
              <a:gd name="connsiteY126" fmla="*/ 45392 h 859817"/>
              <a:gd name="connsiteX127" fmla="*/ 634978 w 859857"/>
              <a:gd name="connsiteY127" fmla="*/ 65038 h 859817"/>
              <a:gd name="connsiteX128" fmla="*/ 642271 w 859857"/>
              <a:gd name="connsiteY128" fmla="*/ 75530 h 859817"/>
              <a:gd name="connsiteX129" fmla="*/ 633788 w 859857"/>
              <a:gd name="connsiteY129" fmla="*/ 96031 h 859817"/>
              <a:gd name="connsiteX130" fmla="*/ 621212 w 859857"/>
              <a:gd name="connsiteY130" fmla="*/ 98301 h 859817"/>
              <a:gd name="connsiteX131" fmla="*/ 608562 w 859857"/>
              <a:gd name="connsiteY131" fmla="*/ 113443 h 859817"/>
              <a:gd name="connsiteX132" fmla="*/ 608562 w 859857"/>
              <a:gd name="connsiteY132" fmla="*/ 137740 h 859817"/>
              <a:gd name="connsiteX133" fmla="*/ 621212 w 859857"/>
              <a:gd name="connsiteY133" fmla="*/ 152883 h 859817"/>
              <a:gd name="connsiteX134" fmla="*/ 633788 w 859857"/>
              <a:gd name="connsiteY134" fmla="*/ 155152 h 859817"/>
              <a:gd name="connsiteX135" fmla="*/ 642308 w 859857"/>
              <a:gd name="connsiteY135" fmla="*/ 175653 h 859817"/>
              <a:gd name="connsiteX136" fmla="*/ 635016 w 859857"/>
              <a:gd name="connsiteY136" fmla="*/ 186183 h 859817"/>
              <a:gd name="connsiteX137" fmla="*/ 636764 w 859857"/>
              <a:gd name="connsiteY137" fmla="*/ 205828 h 859817"/>
              <a:gd name="connsiteX138" fmla="*/ 653954 w 859857"/>
              <a:gd name="connsiteY138" fmla="*/ 223018 h 859817"/>
              <a:gd name="connsiteX139" fmla="*/ 673599 w 859857"/>
              <a:gd name="connsiteY139" fmla="*/ 224767 h 859817"/>
              <a:gd name="connsiteX140" fmla="*/ 684092 w 859857"/>
              <a:gd name="connsiteY140" fmla="*/ 217474 h 859817"/>
              <a:gd name="connsiteX141" fmla="*/ 704593 w 859857"/>
              <a:gd name="connsiteY141" fmla="*/ 225957 h 859817"/>
              <a:gd name="connsiteX142" fmla="*/ 706862 w 859857"/>
              <a:gd name="connsiteY142" fmla="*/ 238533 h 859817"/>
              <a:gd name="connsiteX143" fmla="*/ 722005 w 859857"/>
              <a:gd name="connsiteY143" fmla="*/ 251183 h 859817"/>
              <a:gd name="connsiteX144" fmla="*/ 746302 w 859857"/>
              <a:gd name="connsiteY144" fmla="*/ 251183 h 859817"/>
              <a:gd name="connsiteX145" fmla="*/ 761444 w 859857"/>
              <a:gd name="connsiteY145" fmla="*/ 238533 h 859817"/>
              <a:gd name="connsiteX146" fmla="*/ 763714 w 859857"/>
              <a:gd name="connsiteY146" fmla="*/ 225957 h 859817"/>
              <a:gd name="connsiteX147" fmla="*/ 784215 w 859857"/>
              <a:gd name="connsiteY147" fmla="*/ 217474 h 859817"/>
              <a:gd name="connsiteX148" fmla="*/ 794744 w 859857"/>
              <a:gd name="connsiteY148" fmla="*/ 224767 h 859817"/>
              <a:gd name="connsiteX149" fmla="*/ 814390 w 859857"/>
              <a:gd name="connsiteY149" fmla="*/ 223018 h 859817"/>
              <a:gd name="connsiteX150" fmla="*/ 831580 w 859857"/>
              <a:gd name="connsiteY150" fmla="*/ 205828 h 859817"/>
              <a:gd name="connsiteX151" fmla="*/ 833366 w 859857"/>
              <a:gd name="connsiteY151" fmla="*/ 186183 h 859817"/>
              <a:gd name="connsiteX152" fmla="*/ 826073 w 859857"/>
              <a:gd name="connsiteY152" fmla="*/ 175690 h 859817"/>
              <a:gd name="connsiteX153" fmla="*/ 834556 w 859857"/>
              <a:gd name="connsiteY153" fmla="*/ 155189 h 859817"/>
              <a:gd name="connsiteX154" fmla="*/ 847132 w 859857"/>
              <a:gd name="connsiteY154" fmla="*/ 152920 h 859817"/>
              <a:gd name="connsiteX155" fmla="*/ 859782 w 859857"/>
              <a:gd name="connsiteY155" fmla="*/ 137777 h 859817"/>
              <a:gd name="connsiteX156" fmla="*/ 859782 w 859857"/>
              <a:gd name="connsiteY156" fmla="*/ 113481 h 859817"/>
              <a:gd name="connsiteX157" fmla="*/ 847169 w 859857"/>
              <a:gd name="connsiteY157" fmla="*/ 98338 h 859817"/>
              <a:gd name="connsiteX158" fmla="*/ 842258 w 859857"/>
              <a:gd name="connsiteY158" fmla="*/ 135991 h 859817"/>
              <a:gd name="connsiteX159" fmla="*/ 830129 w 859857"/>
              <a:gd name="connsiteY159" fmla="*/ 138186 h 859817"/>
              <a:gd name="connsiteX160" fmla="*/ 818074 w 859857"/>
              <a:gd name="connsiteY160" fmla="*/ 149162 h 859817"/>
              <a:gd name="connsiteX161" fmla="*/ 810149 w 859857"/>
              <a:gd name="connsiteY161" fmla="*/ 168286 h 859817"/>
              <a:gd name="connsiteX162" fmla="*/ 810893 w 859857"/>
              <a:gd name="connsiteY162" fmla="*/ 184583 h 859817"/>
              <a:gd name="connsiteX163" fmla="*/ 817925 w 859857"/>
              <a:gd name="connsiteY163" fmla="*/ 194703 h 859817"/>
              <a:gd name="connsiteX164" fmla="*/ 803302 w 859857"/>
              <a:gd name="connsiteY164" fmla="*/ 209326 h 859817"/>
              <a:gd name="connsiteX165" fmla="*/ 793182 w 859857"/>
              <a:gd name="connsiteY165" fmla="*/ 202294 h 859817"/>
              <a:gd name="connsiteX166" fmla="*/ 776886 w 859857"/>
              <a:gd name="connsiteY166" fmla="*/ 201549 h 859817"/>
              <a:gd name="connsiteX167" fmla="*/ 757761 w 859857"/>
              <a:gd name="connsiteY167" fmla="*/ 209475 h 859817"/>
              <a:gd name="connsiteX168" fmla="*/ 746786 w 859857"/>
              <a:gd name="connsiteY168" fmla="*/ 221529 h 859817"/>
              <a:gd name="connsiteX169" fmla="*/ 744590 w 859857"/>
              <a:gd name="connsiteY169" fmla="*/ 233658 h 859817"/>
              <a:gd name="connsiteX170" fmla="*/ 723903 w 859857"/>
              <a:gd name="connsiteY170" fmla="*/ 233658 h 859817"/>
              <a:gd name="connsiteX171" fmla="*/ 721708 w 859857"/>
              <a:gd name="connsiteY171" fmla="*/ 221529 h 859817"/>
              <a:gd name="connsiteX172" fmla="*/ 710732 w 859857"/>
              <a:gd name="connsiteY172" fmla="*/ 209475 h 859817"/>
              <a:gd name="connsiteX173" fmla="*/ 691608 w 859857"/>
              <a:gd name="connsiteY173" fmla="*/ 201549 h 859817"/>
              <a:gd name="connsiteX174" fmla="*/ 675312 w 859857"/>
              <a:gd name="connsiteY174" fmla="*/ 202294 h 859817"/>
              <a:gd name="connsiteX175" fmla="*/ 665191 w 859857"/>
              <a:gd name="connsiteY175" fmla="*/ 209326 h 859817"/>
              <a:gd name="connsiteX176" fmla="*/ 650568 w 859857"/>
              <a:gd name="connsiteY176" fmla="*/ 194703 h 859817"/>
              <a:gd name="connsiteX177" fmla="*/ 657601 w 859857"/>
              <a:gd name="connsiteY177" fmla="*/ 184583 h 859817"/>
              <a:gd name="connsiteX178" fmla="*/ 658345 w 859857"/>
              <a:gd name="connsiteY178" fmla="*/ 168286 h 859817"/>
              <a:gd name="connsiteX179" fmla="*/ 650420 w 859857"/>
              <a:gd name="connsiteY179" fmla="*/ 149199 h 859817"/>
              <a:gd name="connsiteX180" fmla="*/ 638365 w 859857"/>
              <a:gd name="connsiteY180" fmla="*/ 138223 h 859817"/>
              <a:gd name="connsiteX181" fmla="*/ 626236 w 859857"/>
              <a:gd name="connsiteY181" fmla="*/ 136028 h 859817"/>
              <a:gd name="connsiteX182" fmla="*/ 626236 w 859857"/>
              <a:gd name="connsiteY182" fmla="*/ 115341 h 859817"/>
              <a:gd name="connsiteX183" fmla="*/ 638365 w 859857"/>
              <a:gd name="connsiteY183" fmla="*/ 113146 h 859817"/>
              <a:gd name="connsiteX184" fmla="*/ 650420 w 859857"/>
              <a:gd name="connsiteY184" fmla="*/ 102170 h 859817"/>
              <a:gd name="connsiteX185" fmla="*/ 658345 w 859857"/>
              <a:gd name="connsiteY185" fmla="*/ 83046 h 859817"/>
              <a:gd name="connsiteX186" fmla="*/ 657601 w 859857"/>
              <a:gd name="connsiteY186" fmla="*/ 66749 h 859817"/>
              <a:gd name="connsiteX187" fmla="*/ 650568 w 859857"/>
              <a:gd name="connsiteY187" fmla="*/ 56629 h 859817"/>
              <a:gd name="connsiteX188" fmla="*/ 665191 w 859857"/>
              <a:gd name="connsiteY188" fmla="*/ 42006 h 859817"/>
              <a:gd name="connsiteX189" fmla="*/ 675312 w 859857"/>
              <a:gd name="connsiteY189" fmla="*/ 49038 h 859817"/>
              <a:gd name="connsiteX190" fmla="*/ 691608 w 859857"/>
              <a:gd name="connsiteY190" fmla="*/ 49783 h 859817"/>
              <a:gd name="connsiteX191" fmla="*/ 710732 w 859857"/>
              <a:gd name="connsiteY191" fmla="*/ 41857 h 859817"/>
              <a:gd name="connsiteX192" fmla="*/ 721708 w 859857"/>
              <a:gd name="connsiteY192" fmla="*/ 29803 h 859817"/>
              <a:gd name="connsiteX193" fmla="*/ 723903 w 859857"/>
              <a:gd name="connsiteY193" fmla="*/ 17673 h 859817"/>
              <a:gd name="connsiteX194" fmla="*/ 744590 w 859857"/>
              <a:gd name="connsiteY194" fmla="*/ 17673 h 859817"/>
              <a:gd name="connsiteX195" fmla="*/ 746786 w 859857"/>
              <a:gd name="connsiteY195" fmla="*/ 29803 h 859817"/>
              <a:gd name="connsiteX196" fmla="*/ 757761 w 859857"/>
              <a:gd name="connsiteY196" fmla="*/ 41857 h 859817"/>
              <a:gd name="connsiteX197" fmla="*/ 776886 w 859857"/>
              <a:gd name="connsiteY197" fmla="*/ 49783 h 859817"/>
              <a:gd name="connsiteX198" fmla="*/ 793182 w 859857"/>
              <a:gd name="connsiteY198" fmla="*/ 49038 h 859817"/>
              <a:gd name="connsiteX199" fmla="*/ 803302 w 859857"/>
              <a:gd name="connsiteY199" fmla="*/ 42006 h 859817"/>
              <a:gd name="connsiteX200" fmla="*/ 817925 w 859857"/>
              <a:gd name="connsiteY200" fmla="*/ 56629 h 859817"/>
              <a:gd name="connsiteX201" fmla="*/ 810893 w 859857"/>
              <a:gd name="connsiteY201" fmla="*/ 66749 h 859817"/>
              <a:gd name="connsiteX202" fmla="*/ 810149 w 859857"/>
              <a:gd name="connsiteY202" fmla="*/ 83046 h 859817"/>
              <a:gd name="connsiteX203" fmla="*/ 818074 w 859857"/>
              <a:gd name="connsiteY203" fmla="*/ 102170 h 859817"/>
              <a:gd name="connsiteX204" fmla="*/ 830129 w 859857"/>
              <a:gd name="connsiteY204" fmla="*/ 113146 h 859817"/>
              <a:gd name="connsiteX205" fmla="*/ 842258 w 859857"/>
              <a:gd name="connsiteY205" fmla="*/ 115341 h 859817"/>
              <a:gd name="connsiteX206" fmla="*/ 734168 w 859857"/>
              <a:gd name="connsiteY206" fmla="*/ 72962 h 859817"/>
              <a:gd name="connsiteX207" fmla="*/ 681483 w 859857"/>
              <a:gd name="connsiteY207" fmla="*/ 125647 h 859817"/>
              <a:gd name="connsiteX208" fmla="*/ 734168 w 859857"/>
              <a:gd name="connsiteY208" fmla="*/ 178332 h 859817"/>
              <a:gd name="connsiteX209" fmla="*/ 786853 w 859857"/>
              <a:gd name="connsiteY209" fmla="*/ 125647 h 859817"/>
              <a:gd name="connsiteX210" fmla="*/ 734168 w 859857"/>
              <a:gd name="connsiteY210" fmla="*/ 72962 h 859817"/>
              <a:gd name="connsiteX211" fmla="*/ 734168 w 859857"/>
              <a:gd name="connsiteY211" fmla="*/ 160771 h 859817"/>
              <a:gd name="connsiteX212" fmla="*/ 699045 w 859857"/>
              <a:gd name="connsiteY212" fmla="*/ 125648 h 859817"/>
              <a:gd name="connsiteX213" fmla="*/ 734168 w 859857"/>
              <a:gd name="connsiteY213" fmla="*/ 90524 h 859817"/>
              <a:gd name="connsiteX214" fmla="*/ 769292 w 859857"/>
              <a:gd name="connsiteY214" fmla="*/ 125648 h 859817"/>
              <a:gd name="connsiteX215" fmla="*/ 734168 w 859857"/>
              <a:gd name="connsiteY215" fmla="*/ 160771 h 859817"/>
              <a:gd name="connsiteX216" fmla="*/ 12687 w 859857"/>
              <a:gd name="connsiteY216" fmla="*/ 152921 h 859817"/>
              <a:gd name="connsiteX217" fmla="*/ 25263 w 859857"/>
              <a:gd name="connsiteY217" fmla="*/ 155190 h 859817"/>
              <a:gd name="connsiteX218" fmla="*/ 33746 w 859857"/>
              <a:gd name="connsiteY218" fmla="*/ 175691 h 859817"/>
              <a:gd name="connsiteX219" fmla="*/ 26454 w 859857"/>
              <a:gd name="connsiteY219" fmla="*/ 186221 h 859817"/>
              <a:gd name="connsiteX220" fmla="*/ 28203 w 859857"/>
              <a:gd name="connsiteY220" fmla="*/ 205866 h 859817"/>
              <a:gd name="connsiteX221" fmla="*/ 45392 w 859857"/>
              <a:gd name="connsiteY221" fmla="*/ 223056 h 859817"/>
              <a:gd name="connsiteX222" fmla="*/ 65038 w 859857"/>
              <a:gd name="connsiteY222" fmla="*/ 224805 h 859817"/>
              <a:gd name="connsiteX223" fmla="*/ 75568 w 859857"/>
              <a:gd name="connsiteY223" fmla="*/ 217512 h 859817"/>
              <a:gd name="connsiteX224" fmla="*/ 96068 w 859857"/>
              <a:gd name="connsiteY224" fmla="*/ 225995 h 859817"/>
              <a:gd name="connsiteX225" fmla="*/ 98338 w 859857"/>
              <a:gd name="connsiteY225" fmla="*/ 238571 h 859817"/>
              <a:gd name="connsiteX226" fmla="*/ 113481 w 859857"/>
              <a:gd name="connsiteY226" fmla="*/ 251221 h 859817"/>
              <a:gd name="connsiteX227" fmla="*/ 137777 w 859857"/>
              <a:gd name="connsiteY227" fmla="*/ 251221 h 859817"/>
              <a:gd name="connsiteX228" fmla="*/ 152920 w 859857"/>
              <a:gd name="connsiteY228" fmla="*/ 238571 h 859817"/>
              <a:gd name="connsiteX229" fmla="*/ 155189 w 859857"/>
              <a:gd name="connsiteY229" fmla="*/ 225995 h 859817"/>
              <a:gd name="connsiteX230" fmla="*/ 175690 w 859857"/>
              <a:gd name="connsiteY230" fmla="*/ 217512 h 859817"/>
              <a:gd name="connsiteX231" fmla="*/ 186220 w 859857"/>
              <a:gd name="connsiteY231" fmla="*/ 224805 h 859817"/>
              <a:gd name="connsiteX232" fmla="*/ 205865 w 859857"/>
              <a:gd name="connsiteY232" fmla="*/ 223056 h 859817"/>
              <a:gd name="connsiteX233" fmla="*/ 223055 w 859857"/>
              <a:gd name="connsiteY233" fmla="*/ 205866 h 859817"/>
              <a:gd name="connsiteX234" fmla="*/ 224804 w 859857"/>
              <a:gd name="connsiteY234" fmla="*/ 186221 h 859817"/>
              <a:gd name="connsiteX235" fmla="*/ 217511 w 859857"/>
              <a:gd name="connsiteY235" fmla="*/ 175728 h 859817"/>
              <a:gd name="connsiteX236" fmla="*/ 225994 w 859857"/>
              <a:gd name="connsiteY236" fmla="*/ 155227 h 859817"/>
              <a:gd name="connsiteX237" fmla="*/ 238570 w 859857"/>
              <a:gd name="connsiteY237" fmla="*/ 152958 h 859817"/>
              <a:gd name="connsiteX238" fmla="*/ 251220 w 859857"/>
              <a:gd name="connsiteY238" fmla="*/ 137815 h 859817"/>
              <a:gd name="connsiteX239" fmla="*/ 251220 w 859857"/>
              <a:gd name="connsiteY239" fmla="*/ 113519 h 859817"/>
              <a:gd name="connsiteX240" fmla="*/ 238570 w 859857"/>
              <a:gd name="connsiteY240" fmla="*/ 98376 h 859817"/>
              <a:gd name="connsiteX241" fmla="*/ 225994 w 859857"/>
              <a:gd name="connsiteY241" fmla="*/ 96106 h 859817"/>
              <a:gd name="connsiteX242" fmla="*/ 217511 w 859857"/>
              <a:gd name="connsiteY242" fmla="*/ 75605 h 859817"/>
              <a:gd name="connsiteX243" fmla="*/ 224804 w 859857"/>
              <a:gd name="connsiteY243" fmla="*/ 65076 h 859817"/>
              <a:gd name="connsiteX244" fmla="*/ 223055 w 859857"/>
              <a:gd name="connsiteY244" fmla="*/ 45430 h 859817"/>
              <a:gd name="connsiteX245" fmla="*/ 205865 w 859857"/>
              <a:gd name="connsiteY245" fmla="*/ 28240 h 859817"/>
              <a:gd name="connsiteX246" fmla="*/ 186220 w 859857"/>
              <a:gd name="connsiteY246" fmla="*/ 26455 h 859817"/>
              <a:gd name="connsiteX247" fmla="*/ 175690 w 859857"/>
              <a:gd name="connsiteY247" fmla="*/ 33747 h 859817"/>
              <a:gd name="connsiteX248" fmla="*/ 155189 w 859857"/>
              <a:gd name="connsiteY248" fmla="*/ 25264 h 859817"/>
              <a:gd name="connsiteX249" fmla="*/ 152920 w 859857"/>
              <a:gd name="connsiteY249" fmla="*/ 12688 h 859817"/>
              <a:gd name="connsiteX250" fmla="*/ 137777 w 859857"/>
              <a:gd name="connsiteY250" fmla="*/ 38 h 859817"/>
              <a:gd name="connsiteX251" fmla="*/ 113481 w 859857"/>
              <a:gd name="connsiteY251" fmla="*/ 38 h 859817"/>
              <a:gd name="connsiteX252" fmla="*/ 98338 w 859857"/>
              <a:gd name="connsiteY252" fmla="*/ 12688 h 859817"/>
              <a:gd name="connsiteX253" fmla="*/ 96068 w 859857"/>
              <a:gd name="connsiteY253" fmla="*/ 25264 h 859817"/>
              <a:gd name="connsiteX254" fmla="*/ 75568 w 859857"/>
              <a:gd name="connsiteY254" fmla="*/ 33747 h 859817"/>
              <a:gd name="connsiteX255" fmla="*/ 65038 w 859857"/>
              <a:gd name="connsiteY255" fmla="*/ 26455 h 859817"/>
              <a:gd name="connsiteX256" fmla="*/ 45392 w 859857"/>
              <a:gd name="connsiteY256" fmla="*/ 28203 h 859817"/>
              <a:gd name="connsiteX257" fmla="*/ 28203 w 859857"/>
              <a:gd name="connsiteY257" fmla="*/ 45393 h 859817"/>
              <a:gd name="connsiteX258" fmla="*/ 26417 w 859857"/>
              <a:gd name="connsiteY258" fmla="*/ 65038 h 859817"/>
              <a:gd name="connsiteX259" fmla="*/ 33709 w 859857"/>
              <a:gd name="connsiteY259" fmla="*/ 75531 h 859817"/>
              <a:gd name="connsiteX260" fmla="*/ 25226 w 859857"/>
              <a:gd name="connsiteY260" fmla="*/ 96032 h 859817"/>
              <a:gd name="connsiteX261" fmla="*/ 12650 w 859857"/>
              <a:gd name="connsiteY261" fmla="*/ 98301 h 859817"/>
              <a:gd name="connsiteX262" fmla="*/ 0 w 859857"/>
              <a:gd name="connsiteY262" fmla="*/ 113444 h 859817"/>
              <a:gd name="connsiteX263" fmla="*/ 0 w 859857"/>
              <a:gd name="connsiteY263" fmla="*/ 137741 h 859817"/>
              <a:gd name="connsiteX264" fmla="*/ 12687 w 859857"/>
              <a:gd name="connsiteY264" fmla="*/ 152922 h 859817"/>
              <a:gd name="connsiteX265" fmla="*/ 17562 w 859857"/>
              <a:gd name="connsiteY265" fmla="*/ 115305 h 859817"/>
              <a:gd name="connsiteX266" fmla="*/ 29691 w 859857"/>
              <a:gd name="connsiteY266" fmla="*/ 113109 h 859817"/>
              <a:gd name="connsiteX267" fmla="*/ 41746 w 859857"/>
              <a:gd name="connsiteY267" fmla="*/ 102134 h 859817"/>
              <a:gd name="connsiteX268" fmla="*/ 49671 w 859857"/>
              <a:gd name="connsiteY268" fmla="*/ 83009 h 859817"/>
              <a:gd name="connsiteX269" fmla="*/ 48926 w 859857"/>
              <a:gd name="connsiteY269" fmla="*/ 66713 h 859817"/>
              <a:gd name="connsiteX270" fmla="*/ 41894 w 859857"/>
              <a:gd name="connsiteY270" fmla="*/ 56556 h 859817"/>
              <a:gd name="connsiteX271" fmla="*/ 56517 w 859857"/>
              <a:gd name="connsiteY271" fmla="*/ 41933 h 859817"/>
              <a:gd name="connsiteX272" fmla="*/ 66637 w 859857"/>
              <a:gd name="connsiteY272" fmla="*/ 48965 h 859817"/>
              <a:gd name="connsiteX273" fmla="*/ 82934 w 859857"/>
              <a:gd name="connsiteY273" fmla="*/ 49709 h 859817"/>
              <a:gd name="connsiteX274" fmla="*/ 102058 w 859857"/>
              <a:gd name="connsiteY274" fmla="*/ 41784 h 859817"/>
              <a:gd name="connsiteX275" fmla="*/ 113034 w 859857"/>
              <a:gd name="connsiteY275" fmla="*/ 29729 h 859817"/>
              <a:gd name="connsiteX276" fmla="*/ 115229 w 859857"/>
              <a:gd name="connsiteY276" fmla="*/ 17600 h 859817"/>
              <a:gd name="connsiteX277" fmla="*/ 135916 w 859857"/>
              <a:gd name="connsiteY277" fmla="*/ 17600 h 859817"/>
              <a:gd name="connsiteX278" fmla="*/ 138111 w 859857"/>
              <a:gd name="connsiteY278" fmla="*/ 29729 h 859817"/>
              <a:gd name="connsiteX279" fmla="*/ 149087 w 859857"/>
              <a:gd name="connsiteY279" fmla="*/ 41784 h 859817"/>
              <a:gd name="connsiteX280" fmla="*/ 168211 w 859857"/>
              <a:gd name="connsiteY280" fmla="*/ 49709 h 859817"/>
              <a:gd name="connsiteX281" fmla="*/ 184508 w 859857"/>
              <a:gd name="connsiteY281" fmla="*/ 48965 h 859817"/>
              <a:gd name="connsiteX282" fmla="*/ 194628 w 859857"/>
              <a:gd name="connsiteY282" fmla="*/ 41933 h 859817"/>
              <a:gd name="connsiteX283" fmla="*/ 209251 w 859857"/>
              <a:gd name="connsiteY283" fmla="*/ 56556 h 859817"/>
              <a:gd name="connsiteX284" fmla="*/ 202219 w 859857"/>
              <a:gd name="connsiteY284" fmla="*/ 66676 h 859817"/>
              <a:gd name="connsiteX285" fmla="*/ 201475 w 859857"/>
              <a:gd name="connsiteY285" fmla="*/ 82972 h 859817"/>
              <a:gd name="connsiteX286" fmla="*/ 209400 w 859857"/>
              <a:gd name="connsiteY286" fmla="*/ 102096 h 859817"/>
              <a:gd name="connsiteX287" fmla="*/ 221455 w 859857"/>
              <a:gd name="connsiteY287" fmla="*/ 113072 h 859817"/>
              <a:gd name="connsiteX288" fmla="*/ 233584 w 859857"/>
              <a:gd name="connsiteY288" fmla="*/ 115267 h 859817"/>
              <a:gd name="connsiteX289" fmla="*/ 233584 w 859857"/>
              <a:gd name="connsiteY289" fmla="*/ 135955 h 859817"/>
              <a:gd name="connsiteX290" fmla="*/ 221455 w 859857"/>
              <a:gd name="connsiteY290" fmla="*/ 138150 h 859817"/>
              <a:gd name="connsiteX291" fmla="*/ 209400 w 859857"/>
              <a:gd name="connsiteY291" fmla="*/ 149126 h 859817"/>
              <a:gd name="connsiteX292" fmla="*/ 201475 w 859857"/>
              <a:gd name="connsiteY292" fmla="*/ 168250 h 859817"/>
              <a:gd name="connsiteX293" fmla="*/ 202219 w 859857"/>
              <a:gd name="connsiteY293" fmla="*/ 184546 h 859817"/>
              <a:gd name="connsiteX294" fmla="*/ 209251 w 859857"/>
              <a:gd name="connsiteY294" fmla="*/ 194667 h 859817"/>
              <a:gd name="connsiteX295" fmla="*/ 194628 w 859857"/>
              <a:gd name="connsiteY295" fmla="*/ 209289 h 859817"/>
              <a:gd name="connsiteX296" fmla="*/ 184508 w 859857"/>
              <a:gd name="connsiteY296" fmla="*/ 202257 h 859817"/>
              <a:gd name="connsiteX297" fmla="*/ 168211 w 859857"/>
              <a:gd name="connsiteY297" fmla="*/ 201513 h 859817"/>
              <a:gd name="connsiteX298" fmla="*/ 149087 w 859857"/>
              <a:gd name="connsiteY298" fmla="*/ 209438 h 859817"/>
              <a:gd name="connsiteX299" fmla="*/ 138111 w 859857"/>
              <a:gd name="connsiteY299" fmla="*/ 221493 h 859817"/>
              <a:gd name="connsiteX300" fmla="*/ 135916 w 859857"/>
              <a:gd name="connsiteY300" fmla="*/ 233622 h 859817"/>
              <a:gd name="connsiteX301" fmla="*/ 115229 w 859857"/>
              <a:gd name="connsiteY301" fmla="*/ 233622 h 859817"/>
              <a:gd name="connsiteX302" fmla="*/ 113034 w 859857"/>
              <a:gd name="connsiteY302" fmla="*/ 221493 h 859817"/>
              <a:gd name="connsiteX303" fmla="*/ 102058 w 859857"/>
              <a:gd name="connsiteY303" fmla="*/ 209438 h 859817"/>
              <a:gd name="connsiteX304" fmla="*/ 82934 w 859857"/>
              <a:gd name="connsiteY304" fmla="*/ 201513 h 859817"/>
              <a:gd name="connsiteX305" fmla="*/ 66637 w 859857"/>
              <a:gd name="connsiteY305" fmla="*/ 202257 h 859817"/>
              <a:gd name="connsiteX306" fmla="*/ 56517 w 859857"/>
              <a:gd name="connsiteY306" fmla="*/ 209289 h 859817"/>
              <a:gd name="connsiteX307" fmla="*/ 41894 w 859857"/>
              <a:gd name="connsiteY307" fmla="*/ 194667 h 859817"/>
              <a:gd name="connsiteX308" fmla="*/ 48926 w 859857"/>
              <a:gd name="connsiteY308" fmla="*/ 184546 h 859817"/>
              <a:gd name="connsiteX309" fmla="*/ 49671 w 859857"/>
              <a:gd name="connsiteY309" fmla="*/ 168250 h 859817"/>
              <a:gd name="connsiteX310" fmla="*/ 41746 w 859857"/>
              <a:gd name="connsiteY310" fmla="*/ 149126 h 859817"/>
              <a:gd name="connsiteX311" fmla="*/ 29691 w 859857"/>
              <a:gd name="connsiteY311" fmla="*/ 138150 h 859817"/>
              <a:gd name="connsiteX312" fmla="*/ 17562 w 859857"/>
              <a:gd name="connsiteY312" fmla="*/ 135955 h 859817"/>
              <a:gd name="connsiteX313" fmla="*/ 125651 w 859857"/>
              <a:gd name="connsiteY313" fmla="*/ 178296 h 859817"/>
              <a:gd name="connsiteX314" fmla="*/ 178336 w 859857"/>
              <a:gd name="connsiteY314" fmla="*/ 125612 h 859817"/>
              <a:gd name="connsiteX315" fmla="*/ 125651 w 859857"/>
              <a:gd name="connsiteY315" fmla="*/ 72927 h 859817"/>
              <a:gd name="connsiteX316" fmla="*/ 72967 w 859857"/>
              <a:gd name="connsiteY316" fmla="*/ 125612 h 859817"/>
              <a:gd name="connsiteX317" fmla="*/ 125651 w 859857"/>
              <a:gd name="connsiteY317" fmla="*/ 178296 h 859817"/>
              <a:gd name="connsiteX318" fmla="*/ 125651 w 859857"/>
              <a:gd name="connsiteY318" fmla="*/ 90487 h 859817"/>
              <a:gd name="connsiteX319" fmla="*/ 160775 w 859857"/>
              <a:gd name="connsiteY319" fmla="*/ 125611 h 859817"/>
              <a:gd name="connsiteX320" fmla="*/ 125651 w 859857"/>
              <a:gd name="connsiteY320" fmla="*/ 160734 h 859817"/>
              <a:gd name="connsiteX321" fmla="*/ 90528 w 859857"/>
              <a:gd name="connsiteY321" fmla="*/ 125611 h 859817"/>
              <a:gd name="connsiteX322" fmla="*/ 125651 w 859857"/>
              <a:gd name="connsiteY322" fmla="*/ 90487 h 859817"/>
              <a:gd name="connsiteX323" fmla="*/ 847170 w 859857"/>
              <a:gd name="connsiteY323" fmla="*/ 706898 h 859817"/>
              <a:gd name="connsiteX324" fmla="*/ 834594 w 859857"/>
              <a:gd name="connsiteY324" fmla="*/ 704628 h 859817"/>
              <a:gd name="connsiteX325" fmla="*/ 826111 w 859857"/>
              <a:gd name="connsiteY325" fmla="*/ 684127 h 859817"/>
              <a:gd name="connsiteX326" fmla="*/ 833404 w 859857"/>
              <a:gd name="connsiteY326" fmla="*/ 673597 h 859817"/>
              <a:gd name="connsiteX327" fmla="*/ 831655 w 859857"/>
              <a:gd name="connsiteY327" fmla="*/ 653952 h 859817"/>
              <a:gd name="connsiteX328" fmla="*/ 814465 w 859857"/>
              <a:gd name="connsiteY328" fmla="*/ 636762 h 859817"/>
              <a:gd name="connsiteX329" fmla="*/ 794820 w 859857"/>
              <a:gd name="connsiteY329" fmla="*/ 634976 h 859817"/>
              <a:gd name="connsiteX330" fmla="*/ 784290 w 859857"/>
              <a:gd name="connsiteY330" fmla="*/ 642269 h 859817"/>
              <a:gd name="connsiteX331" fmla="*/ 763789 w 859857"/>
              <a:gd name="connsiteY331" fmla="*/ 633786 h 859817"/>
              <a:gd name="connsiteX332" fmla="*/ 761520 w 859857"/>
              <a:gd name="connsiteY332" fmla="*/ 621210 h 859817"/>
              <a:gd name="connsiteX333" fmla="*/ 746377 w 859857"/>
              <a:gd name="connsiteY333" fmla="*/ 608560 h 859817"/>
              <a:gd name="connsiteX334" fmla="*/ 722043 w 859857"/>
              <a:gd name="connsiteY334" fmla="*/ 608597 h 859817"/>
              <a:gd name="connsiteX335" fmla="*/ 706900 w 859857"/>
              <a:gd name="connsiteY335" fmla="*/ 621247 h 859817"/>
              <a:gd name="connsiteX336" fmla="*/ 704631 w 859857"/>
              <a:gd name="connsiteY336" fmla="*/ 633823 h 859817"/>
              <a:gd name="connsiteX337" fmla="*/ 684130 w 859857"/>
              <a:gd name="connsiteY337" fmla="*/ 642306 h 859817"/>
              <a:gd name="connsiteX338" fmla="*/ 673600 w 859857"/>
              <a:gd name="connsiteY338" fmla="*/ 635014 h 859817"/>
              <a:gd name="connsiteX339" fmla="*/ 653955 w 859857"/>
              <a:gd name="connsiteY339" fmla="*/ 636799 h 859817"/>
              <a:gd name="connsiteX340" fmla="*/ 636802 w 859857"/>
              <a:gd name="connsiteY340" fmla="*/ 653952 h 859817"/>
              <a:gd name="connsiteX341" fmla="*/ 635016 w 859857"/>
              <a:gd name="connsiteY341" fmla="*/ 673597 h 859817"/>
              <a:gd name="connsiteX342" fmla="*/ 642309 w 859857"/>
              <a:gd name="connsiteY342" fmla="*/ 684127 h 859817"/>
              <a:gd name="connsiteX343" fmla="*/ 633826 w 859857"/>
              <a:gd name="connsiteY343" fmla="*/ 704628 h 859817"/>
              <a:gd name="connsiteX344" fmla="*/ 621250 w 859857"/>
              <a:gd name="connsiteY344" fmla="*/ 706898 h 859817"/>
              <a:gd name="connsiteX345" fmla="*/ 608600 w 859857"/>
              <a:gd name="connsiteY345" fmla="*/ 722040 h 859817"/>
              <a:gd name="connsiteX346" fmla="*/ 608600 w 859857"/>
              <a:gd name="connsiteY346" fmla="*/ 746337 h 859817"/>
              <a:gd name="connsiteX347" fmla="*/ 621250 w 859857"/>
              <a:gd name="connsiteY347" fmla="*/ 761480 h 859817"/>
              <a:gd name="connsiteX348" fmla="*/ 633826 w 859857"/>
              <a:gd name="connsiteY348" fmla="*/ 763749 h 859817"/>
              <a:gd name="connsiteX349" fmla="*/ 642346 w 859857"/>
              <a:gd name="connsiteY349" fmla="*/ 784250 h 859817"/>
              <a:gd name="connsiteX350" fmla="*/ 635054 w 859857"/>
              <a:gd name="connsiteY350" fmla="*/ 794780 h 859817"/>
              <a:gd name="connsiteX351" fmla="*/ 636840 w 859857"/>
              <a:gd name="connsiteY351" fmla="*/ 814425 h 859817"/>
              <a:gd name="connsiteX352" fmla="*/ 654029 w 859857"/>
              <a:gd name="connsiteY352" fmla="*/ 831615 h 859817"/>
              <a:gd name="connsiteX353" fmla="*/ 673675 w 859857"/>
              <a:gd name="connsiteY353" fmla="*/ 833401 h 859817"/>
              <a:gd name="connsiteX354" fmla="*/ 684167 w 859857"/>
              <a:gd name="connsiteY354" fmla="*/ 826108 h 859817"/>
              <a:gd name="connsiteX355" fmla="*/ 704668 w 859857"/>
              <a:gd name="connsiteY355" fmla="*/ 834591 h 859817"/>
              <a:gd name="connsiteX356" fmla="*/ 706938 w 859857"/>
              <a:gd name="connsiteY356" fmla="*/ 847167 h 859817"/>
              <a:gd name="connsiteX357" fmla="*/ 722080 w 859857"/>
              <a:gd name="connsiteY357" fmla="*/ 859817 h 859817"/>
              <a:gd name="connsiteX358" fmla="*/ 746377 w 859857"/>
              <a:gd name="connsiteY358" fmla="*/ 859817 h 859817"/>
              <a:gd name="connsiteX359" fmla="*/ 761520 w 859857"/>
              <a:gd name="connsiteY359" fmla="*/ 847167 h 859817"/>
              <a:gd name="connsiteX360" fmla="*/ 763789 w 859857"/>
              <a:gd name="connsiteY360" fmla="*/ 834591 h 859817"/>
              <a:gd name="connsiteX361" fmla="*/ 784290 w 859857"/>
              <a:gd name="connsiteY361" fmla="*/ 826108 h 859817"/>
              <a:gd name="connsiteX362" fmla="*/ 794820 w 859857"/>
              <a:gd name="connsiteY362" fmla="*/ 833401 h 859817"/>
              <a:gd name="connsiteX363" fmla="*/ 814465 w 859857"/>
              <a:gd name="connsiteY363" fmla="*/ 831652 h 859817"/>
              <a:gd name="connsiteX364" fmla="*/ 831655 w 859857"/>
              <a:gd name="connsiteY364" fmla="*/ 814462 h 859817"/>
              <a:gd name="connsiteX365" fmla="*/ 833441 w 859857"/>
              <a:gd name="connsiteY365" fmla="*/ 794817 h 859817"/>
              <a:gd name="connsiteX366" fmla="*/ 826148 w 859857"/>
              <a:gd name="connsiteY366" fmla="*/ 784324 h 859817"/>
              <a:gd name="connsiteX367" fmla="*/ 834631 w 859857"/>
              <a:gd name="connsiteY367" fmla="*/ 763824 h 859817"/>
              <a:gd name="connsiteX368" fmla="*/ 847207 w 859857"/>
              <a:gd name="connsiteY368" fmla="*/ 761554 h 859817"/>
              <a:gd name="connsiteX369" fmla="*/ 859858 w 859857"/>
              <a:gd name="connsiteY369" fmla="*/ 746411 h 859817"/>
              <a:gd name="connsiteX370" fmla="*/ 859858 w 859857"/>
              <a:gd name="connsiteY370" fmla="*/ 722115 h 859817"/>
              <a:gd name="connsiteX371" fmla="*/ 847170 w 859857"/>
              <a:gd name="connsiteY371" fmla="*/ 706897 h 859817"/>
              <a:gd name="connsiteX372" fmla="*/ 842259 w 859857"/>
              <a:gd name="connsiteY372" fmla="*/ 744551 h 859817"/>
              <a:gd name="connsiteX373" fmla="*/ 830130 w 859857"/>
              <a:gd name="connsiteY373" fmla="*/ 746746 h 859817"/>
              <a:gd name="connsiteX374" fmla="*/ 818075 w 859857"/>
              <a:gd name="connsiteY374" fmla="*/ 757722 h 859817"/>
              <a:gd name="connsiteX375" fmla="*/ 810150 w 859857"/>
              <a:gd name="connsiteY375" fmla="*/ 776846 h 859817"/>
              <a:gd name="connsiteX376" fmla="*/ 810894 w 859857"/>
              <a:gd name="connsiteY376" fmla="*/ 793142 h 859817"/>
              <a:gd name="connsiteX377" fmla="*/ 817926 w 859857"/>
              <a:gd name="connsiteY377" fmla="*/ 803263 h 859817"/>
              <a:gd name="connsiteX378" fmla="*/ 803303 w 859857"/>
              <a:gd name="connsiteY378" fmla="*/ 817885 h 859817"/>
              <a:gd name="connsiteX379" fmla="*/ 793183 w 859857"/>
              <a:gd name="connsiteY379" fmla="*/ 810853 h 859817"/>
              <a:gd name="connsiteX380" fmla="*/ 776887 w 859857"/>
              <a:gd name="connsiteY380" fmla="*/ 810109 h 859817"/>
              <a:gd name="connsiteX381" fmla="*/ 757762 w 859857"/>
              <a:gd name="connsiteY381" fmla="*/ 818034 h 859817"/>
              <a:gd name="connsiteX382" fmla="*/ 746787 w 859857"/>
              <a:gd name="connsiteY382" fmla="*/ 830089 h 859817"/>
              <a:gd name="connsiteX383" fmla="*/ 744591 w 859857"/>
              <a:gd name="connsiteY383" fmla="*/ 842218 h 859817"/>
              <a:gd name="connsiteX384" fmla="*/ 723904 w 859857"/>
              <a:gd name="connsiteY384" fmla="*/ 842218 h 859817"/>
              <a:gd name="connsiteX385" fmla="*/ 721709 w 859857"/>
              <a:gd name="connsiteY385" fmla="*/ 830089 h 859817"/>
              <a:gd name="connsiteX386" fmla="*/ 710733 w 859857"/>
              <a:gd name="connsiteY386" fmla="*/ 818034 h 859817"/>
              <a:gd name="connsiteX387" fmla="*/ 691609 w 859857"/>
              <a:gd name="connsiteY387" fmla="*/ 810109 h 859817"/>
              <a:gd name="connsiteX388" fmla="*/ 675312 w 859857"/>
              <a:gd name="connsiteY388" fmla="*/ 810853 h 859817"/>
              <a:gd name="connsiteX389" fmla="*/ 665192 w 859857"/>
              <a:gd name="connsiteY389" fmla="*/ 817885 h 859817"/>
              <a:gd name="connsiteX390" fmla="*/ 650569 w 859857"/>
              <a:gd name="connsiteY390" fmla="*/ 803263 h 859817"/>
              <a:gd name="connsiteX391" fmla="*/ 657601 w 859857"/>
              <a:gd name="connsiteY391" fmla="*/ 793142 h 859817"/>
              <a:gd name="connsiteX392" fmla="*/ 658346 w 859857"/>
              <a:gd name="connsiteY392" fmla="*/ 776846 h 859817"/>
              <a:gd name="connsiteX393" fmla="*/ 650421 w 859857"/>
              <a:gd name="connsiteY393" fmla="*/ 757759 h 859817"/>
              <a:gd name="connsiteX394" fmla="*/ 638366 w 859857"/>
              <a:gd name="connsiteY394" fmla="*/ 746783 h 859817"/>
              <a:gd name="connsiteX395" fmla="*/ 626237 w 859857"/>
              <a:gd name="connsiteY395" fmla="*/ 744588 h 859817"/>
              <a:gd name="connsiteX396" fmla="*/ 626237 w 859857"/>
              <a:gd name="connsiteY396" fmla="*/ 723901 h 859817"/>
              <a:gd name="connsiteX397" fmla="*/ 638366 w 859857"/>
              <a:gd name="connsiteY397" fmla="*/ 721705 h 859817"/>
              <a:gd name="connsiteX398" fmla="*/ 650421 w 859857"/>
              <a:gd name="connsiteY398" fmla="*/ 710730 h 859817"/>
              <a:gd name="connsiteX399" fmla="*/ 658346 w 859857"/>
              <a:gd name="connsiteY399" fmla="*/ 691605 h 859817"/>
              <a:gd name="connsiteX400" fmla="*/ 657601 w 859857"/>
              <a:gd name="connsiteY400" fmla="*/ 675309 h 859817"/>
              <a:gd name="connsiteX401" fmla="*/ 650569 w 859857"/>
              <a:gd name="connsiteY401" fmla="*/ 665189 h 859817"/>
              <a:gd name="connsiteX402" fmla="*/ 665192 w 859857"/>
              <a:gd name="connsiteY402" fmla="*/ 650566 h 859817"/>
              <a:gd name="connsiteX403" fmla="*/ 675312 w 859857"/>
              <a:gd name="connsiteY403" fmla="*/ 657598 h 859817"/>
              <a:gd name="connsiteX404" fmla="*/ 691609 w 859857"/>
              <a:gd name="connsiteY404" fmla="*/ 658342 h 859817"/>
              <a:gd name="connsiteX405" fmla="*/ 710733 w 859857"/>
              <a:gd name="connsiteY405" fmla="*/ 650417 h 859817"/>
              <a:gd name="connsiteX406" fmla="*/ 721709 w 859857"/>
              <a:gd name="connsiteY406" fmla="*/ 638362 h 859817"/>
              <a:gd name="connsiteX407" fmla="*/ 723904 w 859857"/>
              <a:gd name="connsiteY407" fmla="*/ 626233 h 859817"/>
              <a:gd name="connsiteX408" fmla="*/ 744591 w 859857"/>
              <a:gd name="connsiteY408" fmla="*/ 626233 h 859817"/>
              <a:gd name="connsiteX409" fmla="*/ 746787 w 859857"/>
              <a:gd name="connsiteY409" fmla="*/ 638362 h 859817"/>
              <a:gd name="connsiteX410" fmla="*/ 757762 w 859857"/>
              <a:gd name="connsiteY410" fmla="*/ 650417 h 859817"/>
              <a:gd name="connsiteX411" fmla="*/ 776887 w 859857"/>
              <a:gd name="connsiteY411" fmla="*/ 658342 h 859817"/>
              <a:gd name="connsiteX412" fmla="*/ 793183 w 859857"/>
              <a:gd name="connsiteY412" fmla="*/ 657598 h 859817"/>
              <a:gd name="connsiteX413" fmla="*/ 803303 w 859857"/>
              <a:gd name="connsiteY413" fmla="*/ 650566 h 859817"/>
              <a:gd name="connsiteX414" fmla="*/ 817926 w 859857"/>
              <a:gd name="connsiteY414" fmla="*/ 665189 h 859817"/>
              <a:gd name="connsiteX415" fmla="*/ 810894 w 859857"/>
              <a:gd name="connsiteY415" fmla="*/ 675309 h 859817"/>
              <a:gd name="connsiteX416" fmla="*/ 810150 w 859857"/>
              <a:gd name="connsiteY416" fmla="*/ 691605 h 859817"/>
              <a:gd name="connsiteX417" fmla="*/ 818075 w 859857"/>
              <a:gd name="connsiteY417" fmla="*/ 710730 h 859817"/>
              <a:gd name="connsiteX418" fmla="*/ 830130 w 859857"/>
              <a:gd name="connsiteY418" fmla="*/ 721705 h 859817"/>
              <a:gd name="connsiteX419" fmla="*/ 842259 w 859857"/>
              <a:gd name="connsiteY419" fmla="*/ 723901 h 859817"/>
              <a:gd name="connsiteX420" fmla="*/ 734169 w 859857"/>
              <a:gd name="connsiteY420" fmla="*/ 681522 h 859817"/>
              <a:gd name="connsiteX421" fmla="*/ 681484 w 859857"/>
              <a:gd name="connsiteY421" fmla="*/ 734207 h 859817"/>
              <a:gd name="connsiteX422" fmla="*/ 734169 w 859857"/>
              <a:gd name="connsiteY422" fmla="*/ 786891 h 859817"/>
              <a:gd name="connsiteX423" fmla="*/ 786854 w 859857"/>
              <a:gd name="connsiteY423" fmla="*/ 734207 h 859817"/>
              <a:gd name="connsiteX424" fmla="*/ 734169 w 859857"/>
              <a:gd name="connsiteY424" fmla="*/ 681522 h 859817"/>
              <a:gd name="connsiteX425" fmla="*/ 734169 w 859857"/>
              <a:gd name="connsiteY425" fmla="*/ 769331 h 859817"/>
              <a:gd name="connsiteX426" fmla="*/ 699046 w 859857"/>
              <a:gd name="connsiteY426" fmla="*/ 734208 h 859817"/>
              <a:gd name="connsiteX427" fmla="*/ 734169 w 859857"/>
              <a:gd name="connsiteY427" fmla="*/ 699084 h 859817"/>
              <a:gd name="connsiteX428" fmla="*/ 769292 w 859857"/>
              <a:gd name="connsiteY428" fmla="*/ 734208 h 859817"/>
              <a:gd name="connsiteX429" fmla="*/ 734169 w 859857"/>
              <a:gd name="connsiteY429" fmla="*/ 769331 h 859817"/>
              <a:gd name="connsiteX430" fmla="*/ 238612 w 859857"/>
              <a:gd name="connsiteY430" fmla="*/ 706898 h 859817"/>
              <a:gd name="connsiteX431" fmla="*/ 226036 w 859857"/>
              <a:gd name="connsiteY431" fmla="*/ 704628 h 859817"/>
              <a:gd name="connsiteX432" fmla="*/ 217553 w 859857"/>
              <a:gd name="connsiteY432" fmla="*/ 684127 h 859817"/>
              <a:gd name="connsiteX433" fmla="*/ 224845 w 859857"/>
              <a:gd name="connsiteY433" fmla="*/ 673597 h 859817"/>
              <a:gd name="connsiteX434" fmla="*/ 223097 w 859857"/>
              <a:gd name="connsiteY434" fmla="*/ 653952 h 859817"/>
              <a:gd name="connsiteX435" fmla="*/ 205907 w 859857"/>
              <a:gd name="connsiteY435" fmla="*/ 636762 h 859817"/>
              <a:gd name="connsiteX436" fmla="*/ 186262 w 859857"/>
              <a:gd name="connsiteY436" fmla="*/ 634976 h 859817"/>
              <a:gd name="connsiteX437" fmla="*/ 175732 w 859857"/>
              <a:gd name="connsiteY437" fmla="*/ 642269 h 859817"/>
              <a:gd name="connsiteX438" fmla="*/ 155231 w 859857"/>
              <a:gd name="connsiteY438" fmla="*/ 633786 h 859817"/>
              <a:gd name="connsiteX439" fmla="*/ 152961 w 859857"/>
              <a:gd name="connsiteY439" fmla="*/ 621210 h 859817"/>
              <a:gd name="connsiteX440" fmla="*/ 137819 w 859857"/>
              <a:gd name="connsiteY440" fmla="*/ 608560 h 859817"/>
              <a:gd name="connsiteX441" fmla="*/ 113522 w 859857"/>
              <a:gd name="connsiteY441" fmla="*/ 608560 h 859817"/>
              <a:gd name="connsiteX442" fmla="*/ 98379 w 859857"/>
              <a:gd name="connsiteY442" fmla="*/ 621210 h 859817"/>
              <a:gd name="connsiteX443" fmla="*/ 96110 w 859857"/>
              <a:gd name="connsiteY443" fmla="*/ 633786 h 859817"/>
              <a:gd name="connsiteX444" fmla="*/ 75609 w 859857"/>
              <a:gd name="connsiteY444" fmla="*/ 642269 h 859817"/>
              <a:gd name="connsiteX445" fmla="*/ 65079 w 859857"/>
              <a:gd name="connsiteY445" fmla="*/ 634976 h 859817"/>
              <a:gd name="connsiteX446" fmla="*/ 45434 w 859857"/>
              <a:gd name="connsiteY446" fmla="*/ 636725 h 859817"/>
              <a:gd name="connsiteX447" fmla="*/ 28244 w 859857"/>
              <a:gd name="connsiteY447" fmla="*/ 653952 h 859817"/>
              <a:gd name="connsiteX448" fmla="*/ 26458 w 859857"/>
              <a:gd name="connsiteY448" fmla="*/ 673597 h 859817"/>
              <a:gd name="connsiteX449" fmla="*/ 33751 w 859857"/>
              <a:gd name="connsiteY449" fmla="*/ 684090 h 859817"/>
              <a:gd name="connsiteX450" fmla="*/ 25268 w 859857"/>
              <a:gd name="connsiteY450" fmla="*/ 704591 h 859817"/>
              <a:gd name="connsiteX451" fmla="*/ 12692 w 859857"/>
              <a:gd name="connsiteY451" fmla="*/ 706860 h 859817"/>
              <a:gd name="connsiteX452" fmla="*/ 42 w 859857"/>
              <a:gd name="connsiteY452" fmla="*/ 722003 h 859817"/>
              <a:gd name="connsiteX453" fmla="*/ 42 w 859857"/>
              <a:gd name="connsiteY453" fmla="*/ 746299 h 859817"/>
              <a:gd name="connsiteX454" fmla="*/ 12692 w 859857"/>
              <a:gd name="connsiteY454" fmla="*/ 761442 h 859817"/>
              <a:gd name="connsiteX455" fmla="*/ 25268 w 859857"/>
              <a:gd name="connsiteY455" fmla="*/ 763712 h 859817"/>
              <a:gd name="connsiteX456" fmla="*/ 33751 w 859857"/>
              <a:gd name="connsiteY456" fmla="*/ 784213 h 859817"/>
              <a:gd name="connsiteX457" fmla="*/ 26458 w 859857"/>
              <a:gd name="connsiteY457" fmla="*/ 794780 h 859817"/>
              <a:gd name="connsiteX458" fmla="*/ 28244 w 859857"/>
              <a:gd name="connsiteY458" fmla="*/ 814425 h 859817"/>
              <a:gd name="connsiteX459" fmla="*/ 45434 w 859857"/>
              <a:gd name="connsiteY459" fmla="*/ 831615 h 859817"/>
              <a:gd name="connsiteX460" fmla="*/ 65079 w 859857"/>
              <a:gd name="connsiteY460" fmla="*/ 833401 h 859817"/>
              <a:gd name="connsiteX461" fmla="*/ 75609 w 859857"/>
              <a:gd name="connsiteY461" fmla="*/ 826108 h 859817"/>
              <a:gd name="connsiteX462" fmla="*/ 96110 w 859857"/>
              <a:gd name="connsiteY462" fmla="*/ 834591 h 859817"/>
              <a:gd name="connsiteX463" fmla="*/ 98379 w 859857"/>
              <a:gd name="connsiteY463" fmla="*/ 847167 h 859817"/>
              <a:gd name="connsiteX464" fmla="*/ 113522 w 859857"/>
              <a:gd name="connsiteY464" fmla="*/ 859817 h 859817"/>
              <a:gd name="connsiteX465" fmla="*/ 137819 w 859857"/>
              <a:gd name="connsiteY465" fmla="*/ 859817 h 859817"/>
              <a:gd name="connsiteX466" fmla="*/ 152961 w 859857"/>
              <a:gd name="connsiteY466" fmla="*/ 847167 h 859817"/>
              <a:gd name="connsiteX467" fmla="*/ 155231 w 859857"/>
              <a:gd name="connsiteY467" fmla="*/ 834591 h 859817"/>
              <a:gd name="connsiteX468" fmla="*/ 175732 w 859857"/>
              <a:gd name="connsiteY468" fmla="*/ 826108 h 859817"/>
              <a:gd name="connsiteX469" fmla="*/ 186262 w 859857"/>
              <a:gd name="connsiteY469" fmla="*/ 833401 h 859817"/>
              <a:gd name="connsiteX470" fmla="*/ 205907 w 859857"/>
              <a:gd name="connsiteY470" fmla="*/ 831652 h 859817"/>
              <a:gd name="connsiteX471" fmla="*/ 223097 w 859857"/>
              <a:gd name="connsiteY471" fmla="*/ 814462 h 859817"/>
              <a:gd name="connsiteX472" fmla="*/ 224845 w 859857"/>
              <a:gd name="connsiteY472" fmla="*/ 794817 h 859817"/>
              <a:gd name="connsiteX473" fmla="*/ 217553 w 859857"/>
              <a:gd name="connsiteY473" fmla="*/ 784287 h 859817"/>
              <a:gd name="connsiteX474" fmla="*/ 226036 w 859857"/>
              <a:gd name="connsiteY474" fmla="*/ 763786 h 859817"/>
              <a:gd name="connsiteX475" fmla="*/ 238612 w 859857"/>
              <a:gd name="connsiteY475" fmla="*/ 761517 h 859817"/>
              <a:gd name="connsiteX476" fmla="*/ 251262 w 859857"/>
              <a:gd name="connsiteY476" fmla="*/ 746374 h 859817"/>
              <a:gd name="connsiteX477" fmla="*/ 251262 w 859857"/>
              <a:gd name="connsiteY477" fmla="*/ 722077 h 859817"/>
              <a:gd name="connsiteX478" fmla="*/ 238612 w 859857"/>
              <a:gd name="connsiteY478" fmla="*/ 706897 h 859817"/>
              <a:gd name="connsiteX479" fmla="*/ 233701 w 859857"/>
              <a:gd name="connsiteY479" fmla="*/ 744551 h 859817"/>
              <a:gd name="connsiteX480" fmla="*/ 221571 w 859857"/>
              <a:gd name="connsiteY480" fmla="*/ 746746 h 859817"/>
              <a:gd name="connsiteX481" fmla="*/ 209517 w 859857"/>
              <a:gd name="connsiteY481" fmla="*/ 757722 h 859817"/>
              <a:gd name="connsiteX482" fmla="*/ 201591 w 859857"/>
              <a:gd name="connsiteY482" fmla="*/ 776846 h 859817"/>
              <a:gd name="connsiteX483" fmla="*/ 202336 w 859857"/>
              <a:gd name="connsiteY483" fmla="*/ 793142 h 859817"/>
              <a:gd name="connsiteX484" fmla="*/ 209368 w 859857"/>
              <a:gd name="connsiteY484" fmla="*/ 803263 h 859817"/>
              <a:gd name="connsiteX485" fmla="*/ 194745 w 859857"/>
              <a:gd name="connsiteY485" fmla="*/ 817885 h 859817"/>
              <a:gd name="connsiteX486" fmla="*/ 184588 w 859857"/>
              <a:gd name="connsiteY486" fmla="*/ 810853 h 859817"/>
              <a:gd name="connsiteX487" fmla="*/ 168291 w 859857"/>
              <a:gd name="connsiteY487" fmla="*/ 810109 h 859817"/>
              <a:gd name="connsiteX488" fmla="*/ 149167 w 859857"/>
              <a:gd name="connsiteY488" fmla="*/ 818034 h 859817"/>
              <a:gd name="connsiteX489" fmla="*/ 138191 w 859857"/>
              <a:gd name="connsiteY489" fmla="*/ 830089 h 859817"/>
              <a:gd name="connsiteX490" fmla="*/ 135996 w 859857"/>
              <a:gd name="connsiteY490" fmla="*/ 842218 h 859817"/>
              <a:gd name="connsiteX491" fmla="*/ 115309 w 859857"/>
              <a:gd name="connsiteY491" fmla="*/ 842218 h 859817"/>
              <a:gd name="connsiteX492" fmla="*/ 113113 w 859857"/>
              <a:gd name="connsiteY492" fmla="*/ 830089 h 859817"/>
              <a:gd name="connsiteX493" fmla="*/ 102138 w 859857"/>
              <a:gd name="connsiteY493" fmla="*/ 818034 h 859817"/>
              <a:gd name="connsiteX494" fmla="*/ 83013 w 859857"/>
              <a:gd name="connsiteY494" fmla="*/ 810109 h 859817"/>
              <a:gd name="connsiteX495" fmla="*/ 66717 w 859857"/>
              <a:gd name="connsiteY495" fmla="*/ 810853 h 859817"/>
              <a:gd name="connsiteX496" fmla="*/ 56597 w 859857"/>
              <a:gd name="connsiteY496" fmla="*/ 817885 h 859817"/>
              <a:gd name="connsiteX497" fmla="*/ 41974 w 859857"/>
              <a:gd name="connsiteY497" fmla="*/ 803263 h 859817"/>
              <a:gd name="connsiteX498" fmla="*/ 49006 w 859857"/>
              <a:gd name="connsiteY498" fmla="*/ 793142 h 859817"/>
              <a:gd name="connsiteX499" fmla="*/ 49750 w 859857"/>
              <a:gd name="connsiteY499" fmla="*/ 776846 h 859817"/>
              <a:gd name="connsiteX500" fmla="*/ 41825 w 859857"/>
              <a:gd name="connsiteY500" fmla="*/ 757722 h 859817"/>
              <a:gd name="connsiteX501" fmla="*/ 29770 w 859857"/>
              <a:gd name="connsiteY501" fmla="*/ 746746 h 859817"/>
              <a:gd name="connsiteX502" fmla="*/ 17641 w 859857"/>
              <a:gd name="connsiteY502" fmla="*/ 744551 h 859817"/>
              <a:gd name="connsiteX503" fmla="*/ 17641 w 859857"/>
              <a:gd name="connsiteY503" fmla="*/ 723863 h 859817"/>
              <a:gd name="connsiteX504" fmla="*/ 29770 w 859857"/>
              <a:gd name="connsiteY504" fmla="*/ 721668 h 859817"/>
              <a:gd name="connsiteX505" fmla="*/ 41825 w 859857"/>
              <a:gd name="connsiteY505" fmla="*/ 710693 h 859817"/>
              <a:gd name="connsiteX506" fmla="*/ 49750 w 859857"/>
              <a:gd name="connsiteY506" fmla="*/ 691568 h 859817"/>
              <a:gd name="connsiteX507" fmla="*/ 49006 w 859857"/>
              <a:gd name="connsiteY507" fmla="*/ 675272 h 859817"/>
              <a:gd name="connsiteX508" fmla="*/ 41900 w 859857"/>
              <a:gd name="connsiteY508" fmla="*/ 665114 h 859817"/>
              <a:gd name="connsiteX509" fmla="*/ 56522 w 859857"/>
              <a:gd name="connsiteY509" fmla="*/ 650492 h 859817"/>
              <a:gd name="connsiteX510" fmla="*/ 66643 w 859857"/>
              <a:gd name="connsiteY510" fmla="*/ 657524 h 859817"/>
              <a:gd name="connsiteX511" fmla="*/ 82939 w 859857"/>
              <a:gd name="connsiteY511" fmla="*/ 658268 h 859817"/>
              <a:gd name="connsiteX512" fmla="*/ 102063 w 859857"/>
              <a:gd name="connsiteY512" fmla="*/ 650343 h 859817"/>
              <a:gd name="connsiteX513" fmla="*/ 113039 w 859857"/>
              <a:gd name="connsiteY513" fmla="*/ 638288 h 859817"/>
              <a:gd name="connsiteX514" fmla="*/ 115234 w 859857"/>
              <a:gd name="connsiteY514" fmla="*/ 626159 h 859817"/>
              <a:gd name="connsiteX515" fmla="*/ 135922 w 859857"/>
              <a:gd name="connsiteY515" fmla="*/ 626159 h 859817"/>
              <a:gd name="connsiteX516" fmla="*/ 138117 w 859857"/>
              <a:gd name="connsiteY516" fmla="*/ 638288 h 859817"/>
              <a:gd name="connsiteX517" fmla="*/ 149093 w 859857"/>
              <a:gd name="connsiteY517" fmla="*/ 650343 h 859817"/>
              <a:gd name="connsiteX518" fmla="*/ 168217 w 859857"/>
              <a:gd name="connsiteY518" fmla="*/ 658268 h 859817"/>
              <a:gd name="connsiteX519" fmla="*/ 184513 w 859857"/>
              <a:gd name="connsiteY519" fmla="*/ 657524 h 859817"/>
              <a:gd name="connsiteX520" fmla="*/ 194633 w 859857"/>
              <a:gd name="connsiteY520" fmla="*/ 650492 h 859817"/>
              <a:gd name="connsiteX521" fmla="*/ 209256 w 859857"/>
              <a:gd name="connsiteY521" fmla="*/ 665114 h 859817"/>
              <a:gd name="connsiteX522" fmla="*/ 202224 w 859857"/>
              <a:gd name="connsiteY522" fmla="*/ 675235 h 859817"/>
              <a:gd name="connsiteX523" fmla="*/ 201443 w 859857"/>
              <a:gd name="connsiteY523" fmla="*/ 691531 h 859817"/>
              <a:gd name="connsiteX524" fmla="*/ 209368 w 859857"/>
              <a:gd name="connsiteY524" fmla="*/ 710655 h 859817"/>
              <a:gd name="connsiteX525" fmla="*/ 221423 w 859857"/>
              <a:gd name="connsiteY525" fmla="*/ 721631 h 859817"/>
              <a:gd name="connsiteX526" fmla="*/ 233552 w 859857"/>
              <a:gd name="connsiteY526" fmla="*/ 723826 h 859817"/>
              <a:gd name="connsiteX527" fmla="*/ 125649 w 859857"/>
              <a:gd name="connsiteY527" fmla="*/ 681522 h 859817"/>
              <a:gd name="connsiteX528" fmla="*/ 72964 w 859857"/>
              <a:gd name="connsiteY528" fmla="*/ 734207 h 859817"/>
              <a:gd name="connsiteX529" fmla="*/ 125649 w 859857"/>
              <a:gd name="connsiteY529" fmla="*/ 786891 h 859817"/>
              <a:gd name="connsiteX530" fmla="*/ 178334 w 859857"/>
              <a:gd name="connsiteY530" fmla="*/ 734207 h 859817"/>
              <a:gd name="connsiteX531" fmla="*/ 125649 w 859857"/>
              <a:gd name="connsiteY531" fmla="*/ 681522 h 859817"/>
              <a:gd name="connsiteX532" fmla="*/ 125649 w 859857"/>
              <a:gd name="connsiteY532" fmla="*/ 769331 h 859817"/>
              <a:gd name="connsiteX533" fmla="*/ 90526 w 859857"/>
              <a:gd name="connsiteY533" fmla="*/ 734208 h 859817"/>
              <a:gd name="connsiteX534" fmla="*/ 125649 w 859857"/>
              <a:gd name="connsiteY534" fmla="*/ 699084 h 859817"/>
              <a:gd name="connsiteX535" fmla="*/ 160772 w 859857"/>
              <a:gd name="connsiteY535" fmla="*/ 734208 h 859817"/>
              <a:gd name="connsiteX536" fmla="*/ 125649 w 859857"/>
              <a:gd name="connsiteY536" fmla="*/ 769331 h 859817"/>
              <a:gd name="connsiteX537" fmla="*/ 284155 w 859857"/>
              <a:gd name="connsiteY537" fmla="*/ 123860 h 859817"/>
              <a:gd name="connsiteX538" fmla="*/ 288582 w 859857"/>
              <a:gd name="connsiteY538" fmla="*/ 112289 h 859817"/>
              <a:gd name="connsiteX539" fmla="*/ 429895 w 859857"/>
              <a:gd name="connsiteY539" fmla="*/ 82338 h 859817"/>
              <a:gd name="connsiteX540" fmla="*/ 551263 w 859857"/>
              <a:gd name="connsiteY540" fmla="*/ 104104 h 859817"/>
              <a:gd name="connsiteX541" fmla="*/ 537496 w 859857"/>
              <a:gd name="connsiteY541" fmla="*/ 71622 h 859817"/>
              <a:gd name="connsiteX542" fmla="*/ 542147 w 859857"/>
              <a:gd name="connsiteY542" fmla="*/ 60125 h 859817"/>
              <a:gd name="connsiteX543" fmla="*/ 553644 w 859857"/>
              <a:gd name="connsiteY543" fmla="*/ 64776 h 859817"/>
              <a:gd name="connsiteX544" fmla="*/ 575707 w 859857"/>
              <a:gd name="connsiteY544" fmla="*/ 116866 h 859817"/>
              <a:gd name="connsiteX545" fmla="*/ 575744 w 859857"/>
              <a:gd name="connsiteY545" fmla="*/ 123564 h 859817"/>
              <a:gd name="connsiteX546" fmla="*/ 571019 w 859857"/>
              <a:gd name="connsiteY546" fmla="*/ 128363 h 859817"/>
              <a:gd name="connsiteX547" fmla="*/ 518929 w 859857"/>
              <a:gd name="connsiteY547" fmla="*/ 150427 h 859817"/>
              <a:gd name="connsiteX548" fmla="*/ 515506 w 859857"/>
              <a:gd name="connsiteY548" fmla="*/ 151134 h 859817"/>
              <a:gd name="connsiteX549" fmla="*/ 507432 w 859857"/>
              <a:gd name="connsiteY549" fmla="*/ 145776 h 859817"/>
              <a:gd name="connsiteX550" fmla="*/ 512083 w 859857"/>
              <a:gd name="connsiteY550" fmla="*/ 134280 h 859817"/>
              <a:gd name="connsiteX551" fmla="*/ 544751 w 859857"/>
              <a:gd name="connsiteY551" fmla="*/ 120439 h 859817"/>
              <a:gd name="connsiteX552" fmla="*/ 429822 w 859857"/>
              <a:gd name="connsiteY552" fmla="*/ 99863 h 859817"/>
              <a:gd name="connsiteX553" fmla="*/ 295653 w 859857"/>
              <a:gd name="connsiteY553" fmla="*/ 128289 h 859817"/>
              <a:gd name="connsiteX554" fmla="*/ 284156 w 859857"/>
              <a:gd name="connsiteY554" fmla="*/ 123862 h 859817"/>
              <a:gd name="connsiteX555" fmla="*/ 120439 w 859857"/>
              <a:gd name="connsiteY555" fmla="*/ 314989 h 859817"/>
              <a:gd name="connsiteX556" fmla="*/ 99863 w 859857"/>
              <a:gd name="connsiteY556" fmla="*/ 429917 h 859817"/>
              <a:gd name="connsiteX557" fmla="*/ 128289 w 859857"/>
              <a:gd name="connsiteY557" fmla="*/ 564086 h 859817"/>
              <a:gd name="connsiteX558" fmla="*/ 123862 w 859857"/>
              <a:gd name="connsiteY558" fmla="*/ 575657 h 859817"/>
              <a:gd name="connsiteX559" fmla="*/ 120290 w 859857"/>
              <a:gd name="connsiteY559" fmla="*/ 576401 h 859817"/>
              <a:gd name="connsiteX560" fmla="*/ 112253 w 859857"/>
              <a:gd name="connsiteY560" fmla="*/ 571192 h 859817"/>
              <a:gd name="connsiteX561" fmla="*/ 82302 w 859857"/>
              <a:gd name="connsiteY561" fmla="*/ 429879 h 859817"/>
              <a:gd name="connsiteX562" fmla="*/ 104105 w 859857"/>
              <a:gd name="connsiteY562" fmla="*/ 308512 h 859817"/>
              <a:gd name="connsiteX563" fmla="*/ 71623 w 859857"/>
              <a:gd name="connsiteY563" fmla="*/ 322278 h 859817"/>
              <a:gd name="connsiteX564" fmla="*/ 60127 w 859857"/>
              <a:gd name="connsiteY564" fmla="*/ 317628 h 859817"/>
              <a:gd name="connsiteX565" fmla="*/ 64777 w 859857"/>
              <a:gd name="connsiteY565" fmla="*/ 306131 h 859817"/>
              <a:gd name="connsiteX566" fmla="*/ 116868 w 859857"/>
              <a:gd name="connsiteY566" fmla="*/ 284067 h 859817"/>
              <a:gd name="connsiteX567" fmla="*/ 128364 w 859857"/>
              <a:gd name="connsiteY567" fmla="*/ 288718 h 859817"/>
              <a:gd name="connsiteX568" fmla="*/ 150428 w 859857"/>
              <a:gd name="connsiteY568" fmla="*/ 340808 h 859817"/>
              <a:gd name="connsiteX569" fmla="*/ 145777 w 859857"/>
              <a:gd name="connsiteY569" fmla="*/ 352305 h 859817"/>
              <a:gd name="connsiteX570" fmla="*/ 134281 w 859857"/>
              <a:gd name="connsiteY570" fmla="*/ 347654 h 859817"/>
              <a:gd name="connsiteX571" fmla="*/ 739411 w 859857"/>
              <a:gd name="connsiteY571" fmla="*/ 544817 h 859817"/>
              <a:gd name="connsiteX572" fmla="*/ 759987 w 859857"/>
              <a:gd name="connsiteY572" fmla="*/ 429889 h 859817"/>
              <a:gd name="connsiteX573" fmla="*/ 731561 w 859857"/>
              <a:gd name="connsiteY573" fmla="*/ 295719 h 859817"/>
              <a:gd name="connsiteX574" fmla="*/ 735988 w 859857"/>
              <a:gd name="connsiteY574" fmla="*/ 284148 h 859817"/>
              <a:gd name="connsiteX575" fmla="*/ 747559 w 859857"/>
              <a:gd name="connsiteY575" fmla="*/ 288576 h 859817"/>
              <a:gd name="connsiteX576" fmla="*/ 777511 w 859857"/>
              <a:gd name="connsiteY576" fmla="*/ 429889 h 859817"/>
              <a:gd name="connsiteX577" fmla="*/ 755707 w 859857"/>
              <a:gd name="connsiteY577" fmla="*/ 551257 h 859817"/>
              <a:gd name="connsiteX578" fmla="*/ 788189 w 859857"/>
              <a:gd name="connsiteY578" fmla="*/ 537490 h 859817"/>
              <a:gd name="connsiteX579" fmla="*/ 799686 w 859857"/>
              <a:gd name="connsiteY579" fmla="*/ 542141 h 859817"/>
              <a:gd name="connsiteX580" fmla="*/ 795035 w 859857"/>
              <a:gd name="connsiteY580" fmla="*/ 553638 h 859817"/>
              <a:gd name="connsiteX581" fmla="*/ 742945 w 859857"/>
              <a:gd name="connsiteY581" fmla="*/ 575701 h 859817"/>
              <a:gd name="connsiteX582" fmla="*/ 739522 w 859857"/>
              <a:gd name="connsiteY582" fmla="*/ 576408 h 859817"/>
              <a:gd name="connsiteX583" fmla="*/ 731448 w 859857"/>
              <a:gd name="connsiteY583" fmla="*/ 571050 h 859817"/>
              <a:gd name="connsiteX584" fmla="*/ 709384 w 859857"/>
              <a:gd name="connsiteY584" fmla="*/ 518960 h 859817"/>
              <a:gd name="connsiteX585" fmla="*/ 714035 w 859857"/>
              <a:gd name="connsiteY585" fmla="*/ 507463 h 859817"/>
              <a:gd name="connsiteX586" fmla="*/ 725532 w 859857"/>
              <a:gd name="connsiteY586" fmla="*/ 512114 h 859817"/>
              <a:gd name="connsiteX587" fmla="*/ 575667 w 859857"/>
              <a:gd name="connsiteY587" fmla="*/ 735946 h 859817"/>
              <a:gd name="connsiteX588" fmla="*/ 571240 w 859857"/>
              <a:gd name="connsiteY588" fmla="*/ 747517 h 859817"/>
              <a:gd name="connsiteX589" fmla="*/ 429927 w 859857"/>
              <a:gd name="connsiteY589" fmla="*/ 777468 h 859817"/>
              <a:gd name="connsiteX590" fmla="*/ 308559 w 859857"/>
              <a:gd name="connsiteY590" fmla="*/ 755665 h 859817"/>
              <a:gd name="connsiteX591" fmla="*/ 322326 w 859857"/>
              <a:gd name="connsiteY591" fmla="*/ 788147 h 859817"/>
              <a:gd name="connsiteX592" fmla="*/ 317675 w 859857"/>
              <a:gd name="connsiteY592" fmla="*/ 799643 h 859817"/>
              <a:gd name="connsiteX593" fmla="*/ 314252 w 859857"/>
              <a:gd name="connsiteY593" fmla="*/ 800350 h 859817"/>
              <a:gd name="connsiteX594" fmla="*/ 306178 w 859857"/>
              <a:gd name="connsiteY594" fmla="*/ 794993 h 859817"/>
              <a:gd name="connsiteX595" fmla="*/ 284114 w 859857"/>
              <a:gd name="connsiteY595" fmla="*/ 742902 h 859817"/>
              <a:gd name="connsiteX596" fmla="*/ 288765 w 859857"/>
              <a:gd name="connsiteY596" fmla="*/ 731406 h 859817"/>
              <a:gd name="connsiteX597" fmla="*/ 340855 w 859857"/>
              <a:gd name="connsiteY597" fmla="*/ 709342 h 859817"/>
              <a:gd name="connsiteX598" fmla="*/ 352352 w 859857"/>
              <a:gd name="connsiteY598" fmla="*/ 713993 h 859817"/>
              <a:gd name="connsiteX599" fmla="*/ 347701 w 859857"/>
              <a:gd name="connsiteY599" fmla="*/ 725489 h 859817"/>
              <a:gd name="connsiteX600" fmla="*/ 315033 w 859857"/>
              <a:gd name="connsiteY600" fmla="*/ 739330 h 859817"/>
              <a:gd name="connsiteX601" fmla="*/ 429962 w 859857"/>
              <a:gd name="connsiteY601" fmla="*/ 759906 h 859817"/>
              <a:gd name="connsiteX602" fmla="*/ 564131 w 859857"/>
              <a:gd name="connsiteY602" fmla="*/ 731480 h 859817"/>
              <a:gd name="connsiteX603" fmla="*/ 575665 w 859857"/>
              <a:gd name="connsiteY603" fmla="*/ 735945 h 859817"/>
              <a:gd name="connsiteX604" fmla="*/ 278982 w 859857"/>
              <a:gd name="connsiteY604" fmla="*/ 266582 h 859817"/>
              <a:gd name="connsiteX605" fmla="*/ 278424 w 859857"/>
              <a:gd name="connsiteY605" fmla="*/ 244221 h 859817"/>
              <a:gd name="connsiteX606" fmla="*/ 286982 w 859857"/>
              <a:gd name="connsiteY606" fmla="*/ 235217 h 859817"/>
              <a:gd name="connsiteX607" fmla="*/ 295986 w 859857"/>
              <a:gd name="connsiteY607" fmla="*/ 243774 h 859817"/>
              <a:gd name="connsiteX608" fmla="*/ 297102 w 859857"/>
              <a:gd name="connsiteY608" fmla="*/ 288087 h 859817"/>
              <a:gd name="connsiteX609" fmla="*/ 288545 w 859857"/>
              <a:gd name="connsiteY609" fmla="*/ 297091 h 859817"/>
              <a:gd name="connsiteX610" fmla="*/ 244231 w 859857"/>
              <a:gd name="connsiteY610" fmla="*/ 298208 h 859817"/>
              <a:gd name="connsiteX611" fmla="*/ 244008 w 859857"/>
              <a:gd name="connsiteY611" fmla="*/ 298208 h 859817"/>
              <a:gd name="connsiteX612" fmla="*/ 235227 w 859857"/>
              <a:gd name="connsiteY612" fmla="*/ 289650 h 859817"/>
              <a:gd name="connsiteX613" fmla="*/ 243785 w 859857"/>
              <a:gd name="connsiteY613" fmla="*/ 280646 h 859817"/>
              <a:gd name="connsiteX614" fmla="*/ 267635 w 859857"/>
              <a:gd name="connsiteY614" fmla="*/ 280051 h 859817"/>
              <a:gd name="connsiteX615" fmla="*/ 233181 w 859857"/>
              <a:gd name="connsiteY615" fmla="*/ 245597 h 859817"/>
              <a:gd name="connsiteX616" fmla="*/ 233181 w 859857"/>
              <a:gd name="connsiteY616" fmla="*/ 233207 h 859817"/>
              <a:gd name="connsiteX617" fmla="*/ 245571 w 859857"/>
              <a:gd name="connsiteY617" fmla="*/ 233207 h 859817"/>
              <a:gd name="connsiteX618" fmla="*/ 289438 w 859857"/>
              <a:gd name="connsiteY618" fmla="*/ 624589 h 859817"/>
              <a:gd name="connsiteX619" fmla="*/ 280657 w 859857"/>
              <a:gd name="connsiteY619" fmla="*/ 616031 h 859817"/>
              <a:gd name="connsiteX620" fmla="*/ 280062 w 859857"/>
              <a:gd name="connsiteY620" fmla="*/ 592182 h 859817"/>
              <a:gd name="connsiteX621" fmla="*/ 245608 w 859857"/>
              <a:gd name="connsiteY621" fmla="*/ 626636 h 859817"/>
              <a:gd name="connsiteX622" fmla="*/ 239394 w 859857"/>
              <a:gd name="connsiteY622" fmla="*/ 629203 h 859817"/>
              <a:gd name="connsiteX623" fmla="*/ 233181 w 859857"/>
              <a:gd name="connsiteY623" fmla="*/ 626636 h 859817"/>
              <a:gd name="connsiteX624" fmla="*/ 233181 w 859857"/>
              <a:gd name="connsiteY624" fmla="*/ 614246 h 859817"/>
              <a:gd name="connsiteX625" fmla="*/ 266556 w 859857"/>
              <a:gd name="connsiteY625" fmla="*/ 580871 h 859817"/>
              <a:gd name="connsiteX626" fmla="*/ 244194 w 859857"/>
              <a:gd name="connsiteY626" fmla="*/ 581429 h 859817"/>
              <a:gd name="connsiteX627" fmla="*/ 243970 w 859857"/>
              <a:gd name="connsiteY627" fmla="*/ 581429 h 859817"/>
              <a:gd name="connsiteX628" fmla="*/ 235190 w 859857"/>
              <a:gd name="connsiteY628" fmla="*/ 572871 h 859817"/>
              <a:gd name="connsiteX629" fmla="*/ 243747 w 859857"/>
              <a:gd name="connsiteY629" fmla="*/ 563867 h 859817"/>
              <a:gd name="connsiteX630" fmla="*/ 288060 w 859857"/>
              <a:gd name="connsiteY630" fmla="*/ 562751 h 859817"/>
              <a:gd name="connsiteX631" fmla="*/ 297064 w 859857"/>
              <a:gd name="connsiteY631" fmla="*/ 571309 h 859817"/>
              <a:gd name="connsiteX632" fmla="*/ 298181 w 859857"/>
              <a:gd name="connsiteY632" fmla="*/ 615622 h 859817"/>
              <a:gd name="connsiteX633" fmla="*/ 289623 w 859857"/>
              <a:gd name="connsiteY633" fmla="*/ 624626 h 859817"/>
              <a:gd name="connsiteX634" fmla="*/ 289437 w 859857"/>
              <a:gd name="connsiteY634" fmla="*/ 624589 h 859817"/>
              <a:gd name="connsiteX635" fmla="*/ 580846 w 859857"/>
              <a:gd name="connsiteY635" fmla="*/ 593223 h 859817"/>
              <a:gd name="connsiteX636" fmla="*/ 581404 w 859857"/>
              <a:gd name="connsiteY636" fmla="*/ 615585 h 859817"/>
              <a:gd name="connsiteX637" fmla="*/ 572846 w 859857"/>
              <a:gd name="connsiteY637" fmla="*/ 624589 h 859817"/>
              <a:gd name="connsiteX638" fmla="*/ 572623 w 859857"/>
              <a:gd name="connsiteY638" fmla="*/ 624589 h 859817"/>
              <a:gd name="connsiteX639" fmla="*/ 563842 w 859857"/>
              <a:gd name="connsiteY639" fmla="*/ 616032 h 859817"/>
              <a:gd name="connsiteX640" fmla="*/ 562726 w 859857"/>
              <a:gd name="connsiteY640" fmla="*/ 571718 h 859817"/>
              <a:gd name="connsiteX641" fmla="*/ 571284 w 859857"/>
              <a:gd name="connsiteY641" fmla="*/ 562714 h 859817"/>
              <a:gd name="connsiteX642" fmla="*/ 615597 w 859857"/>
              <a:gd name="connsiteY642" fmla="*/ 561598 h 859817"/>
              <a:gd name="connsiteX643" fmla="*/ 615820 w 859857"/>
              <a:gd name="connsiteY643" fmla="*/ 561598 h 859817"/>
              <a:gd name="connsiteX644" fmla="*/ 624601 w 859857"/>
              <a:gd name="connsiteY644" fmla="*/ 570156 h 859817"/>
              <a:gd name="connsiteX645" fmla="*/ 616043 w 859857"/>
              <a:gd name="connsiteY645" fmla="*/ 579160 h 859817"/>
              <a:gd name="connsiteX646" fmla="*/ 592194 w 859857"/>
              <a:gd name="connsiteY646" fmla="*/ 579755 h 859817"/>
              <a:gd name="connsiteX647" fmla="*/ 626647 w 859857"/>
              <a:gd name="connsiteY647" fmla="*/ 614209 h 859817"/>
              <a:gd name="connsiteX648" fmla="*/ 626647 w 859857"/>
              <a:gd name="connsiteY648" fmla="*/ 626599 h 859817"/>
              <a:gd name="connsiteX649" fmla="*/ 620434 w 859857"/>
              <a:gd name="connsiteY649" fmla="*/ 629166 h 859817"/>
              <a:gd name="connsiteX650" fmla="*/ 614220 w 859857"/>
              <a:gd name="connsiteY650" fmla="*/ 626599 h 859817"/>
              <a:gd name="connsiteX651" fmla="*/ 570390 w 859857"/>
              <a:gd name="connsiteY651" fmla="*/ 235217 h 859817"/>
              <a:gd name="connsiteX652" fmla="*/ 579171 w 859857"/>
              <a:gd name="connsiteY652" fmla="*/ 243774 h 859817"/>
              <a:gd name="connsiteX653" fmla="*/ 579766 w 859857"/>
              <a:gd name="connsiteY653" fmla="*/ 267624 h 859817"/>
              <a:gd name="connsiteX654" fmla="*/ 614220 w 859857"/>
              <a:gd name="connsiteY654" fmla="*/ 233170 h 859817"/>
              <a:gd name="connsiteX655" fmla="*/ 626610 w 859857"/>
              <a:gd name="connsiteY655" fmla="*/ 233170 h 859817"/>
              <a:gd name="connsiteX656" fmla="*/ 626610 w 859857"/>
              <a:gd name="connsiteY656" fmla="*/ 245560 h 859817"/>
              <a:gd name="connsiteX657" fmla="*/ 593236 w 859857"/>
              <a:gd name="connsiteY657" fmla="*/ 278935 h 859817"/>
              <a:gd name="connsiteX658" fmla="*/ 615598 w 859857"/>
              <a:gd name="connsiteY658" fmla="*/ 278377 h 859817"/>
              <a:gd name="connsiteX659" fmla="*/ 615821 w 859857"/>
              <a:gd name="connsiteY659" fmla="*/ 278377 h 859817"/>
              <a:gd name="connsiteX660" fmla="*/ 624602 w 859857"/>
              <a:gd name="connsiteY660" fmla="*/ 286934 h 859817"/>
              <a:gd name="connsiteX661" fmla="*/ 616044 w 859857"/>
              <a:gd name="connsiteY661" fmla="*/ 295939 h 859817"/>
              <a:gd name="connsiteX662" fmla="*/ 571731 w 859857"/>
              <a:gd name="connsiteY662" fmla="*/ 297055 h 859817"/>
              <a:gd name="connsiteX663" fmla="*/ 571508 w 859857"/>
              <a:gd name="connsiteY663" fmla="*/ 297055 h 859817"/>
              <a:gd name="connsiteX664" fmla="*/ 562727 w 859857"/>
              <a:gd name="connsiteY664" fmla="*/ 288497 h 859817"/>
              <a:gd name="connsiteX665" fmla="*/ 561611 w 859857"/>
              <a:gd name="connsiteY665" fmla="*/ 244184 h 859817"/>
              <a:gd name="connsiteX666" fmla="*/ 570168 w 859857"/>
              <a:gd name="connsiteY666" fmla="*/ 235180 h 859817"/>
              <a:gd name="connsiteX667" fmla="*/ 570391 w 859857"/>
              <a:gd name="connsiteY667" fmla="*/ 235217 h 859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</a:cxnLst>
            <a:rect l="l" t="t" r="r" b="b"/>
            <a:pathLst>
              <a:path w="859857" h="859817">
                <a:moveTo>
                  <a:pt x="580389" y="463495"/>
                </a:moveTo>
                <a:cubicBezTo>
                  <a:pt x="588761" y="461970"/>
                  <a:pt x="594862" y="454677"/>
                  <a:pt x="594862" y="446157"/>
                </a:cubicBezTo>
                <a:lnTo>
                  <a:pt x="594862" y="413675"/>
                </a:lnTo>
                <a:cubicBezTo>
                  <a:pt x="594862" y="405154"/>
                  <a:pt x="588760" y="397861"/>
                  <a:pt x="580389" y="396336"/>
                </a:cubicBezTo>
                <a:lnTo>
                  <a:pt x="561749" y="392913"/>
                </a:lnTo>
                <a:cubicBezTo>
                  <a:pt x="558809" y="382458"/>
                  <a:pt x="554605" y="372337"/>
                  <a:pt x="549284" y="362775"/>
                </a:cubicBezTo>
                <a:lnTo>
                  <a:pt x="560037" y="347223"/>
                </a:lnTo>
                <a:cubicBezTo>
                  <a:pt x="564874" y="340228"/>
                  <a:pt x="564018" y="330777"/>
                  <a:pt x="558028" y="324749"/>
                </a:cubicBezTo>
                <a:lnTo>
                  <a:pt x="535033" y="301755"/>
                </a:lnTo>
                <a:cubicBezTo>
                  <a:pt x="529006" y="295728"/>
                  <a:pt x="519555" y="294872"/>
                  <a:pt x="512560" y="299746"/>
                </a:cubicBezTo>
                <a:lnTo>
                  <a:pt x="496971" y="310499"/>
                </a:lnTo>
                <a:cubicBezTo>
                  <a:pt x="487483" y="305141"/>
                  <a:pt x="477362" y="300936"/>
                  <a:pt x="466908" y="298034"/>
                </a:cubicBezTo>
                <a:lnTo>
                  <a:pt x="466871" y="297997"/>
                </a:lnTo>
                <a:lnTo>
                  <a:pt x="463485" y="279431"/>
                </a:lnTo>
                <a:cubicBezTo>
                  <a:pt x="461959" y="271059"/>
                  <a:pt x="454667" y="264958"/>
                  <a:pt x="446146" y="264958"/>
                </a:cubicBezTo>
                <a:lnTo>
                  <a:pt x="413664" y="264958"/>
                </a:lnTo>
                <a:cubicBezTo>
                  <a:pt x="405144" y="264958"/>
                  <a:pt x="397851" y="271022"/>
                  <a:pt x="396326" y="279431"/>
                </a:cubicBezTo>
                <a:lnTo>
                  <a:pt x="392903" y="298071"/>
                </a:lnTo>
                <a:cubicBezTo>
                  <a:pt x="382447" y="301011"/>
                  <a:pt x="372327" y="305215"/>
                  <a:pt x="362765" y="310536"/>
                </a:cubicBezTo>
                <a:lnTo>
                  <a:pt x="347212" y="299783"/>
                </a:lnTo>
                <a:cubicBezTo>
                  <a:pt x="340217" y="294946"/>
                  <a:pt x="330766" y="295802"/>
                  <a:pt x="324739" y="301792"/>
                </a:cubicBezTo>
                <a:lnTo>
                  <a:pt x="301745" y="324786"/>
                </a:lnTo>
                <a:cubicBezTo>
                  <a:pt x="295717" y="330814"/>
                  <a:pt x="294861" y="340265"/>
                  <a:pt x="299736" y="347260"/>
                </a:cubicBezTo>
                <a:lnTo>
                  <a:pt x="310488" y="362849"/>
                </a:lnTo>
                <a:cubicBezTo>
                  <a:pt x="305130" y="372337"/>
                  <a:pt x="300926" y="382457"/>
                  <a:pt x="297950" y="392987"/>
                </a:cubicBezTo>
                <a:lnTo>
                  <a:pt x="279383" y="396373"/>
                </a:lnTo>
                <a:cubicBezTo>
                  <a:pt x="271012" y="397899"/>
                  <a:pt x="264910" y="405191"/>
                  <a:pt x="264910" y="413712"/>
                </a:cubicBezTo>
                <a:lnTo>
                  <a:pt x="264910" y="446194"/>
                </a:lnTo>
                <a:cubicBezTo>
                  <a:pt x="264910" y="454714"/>
                  <a:pt x="271012" y="462007"/>
                  <a:pt x="279383" y="463532"/>
                </a:cubicBezTo>
                <a:lnTo>
                  <a:pt x="298024" y="466955"/>
                </a:lnTo>
                <a:cubicBezTo>
                  <a:pt x="300963" y="477411"/>
                  <a:pt x="305130" y="487531"/>
                  <a:pt x="310488" y="497093"/>
                </a:cubicBezTo>
                <a:lnTo>
                  <a:pt x="299736" y="512646"/>
                </a:lnTo>
                <a:cubicBezTo>
                  <a:pt x="294899" y="519641"/>
                  <a:pt x="295717" y="529092"/>
                  <a:pt x="301745" y="535119"/>
                </a:cubicBezTo>
                <a:lnTo>
                  <a:pt x="324739" y="558076"/>
                </a:lnTo>
                <a:cubicBezTo>
                  <a:pt x="330767" y="564104"/>
                  <a:pt x="340217" y="564959"/>
                  <a:pt x="347212" y="560085"/>
                </a:cubicBezTo>
                <a:lnTo>
                  <a:pt x="362802" y="549333"/>
                </a:lnTo>
                <a:cubicBezTo>
                  <a:pt x="372290" y="554690"/>
                  <a:pt x="382410" y="558895"/>
                  <a:pt x="392940" y="561871"/>
                </a:cubicBezTo>
                <a:lnTo>
                  <a:pt x="396326" y="580437"/>
                </a:lnTo>
                <a:cubicBezTo>
                  <a:pt x="397851" y="588809"/>
                  <a:pt x="405144" y="594911"/>
                  <a:pt x="413664" y="594911"/>
                </a:cubicBezTo>
                <a:lnTo>
                  <a:pt x="446146" y="594911"/>
                </a:lnTo>
                <a:cubicBezTo>
                  <a:pt x="454667" y="594911"/>
                  <a:pt x="461960" y="588809"/>
                  <a:pt x="463485" y="580437"/>
                </a:cubicBezTo>
                <a:lnTo>
                  <a:pt x="466908" y="561797"/>
                </a:lnTo>
                <a:cubicBezTo>
                  <a:pt x="477363" y="558858"/>
                  <a:pt x="487484" y="554690"/>
                  <a:pt x="497046" y="549333"/>
                </a:cubicBezTo>
                <a:lnTo>
                  <a:pt x="512598" y="560085"/>
                </a:lnTo>
                <a:cubicBezTo>
                  <a:pt x="519593" y="564959"/>
                  <a:pt x="529044" y="564104"/>
                  <a:pt x="535072" y="558076"/>
                </a:cubicBezTo>
                <a:lnTo>
                  <a:pt x="558066" y="535082"/>
                </a:lnTo>
                <a:cubicBezTo>
                  <a:pt x="564093" y="529054"/>
                  <a:pt x="564949" y="519604"/>
                  <a:pt x="560075" y="512608"/>
                </a:cubicBezTo>
                <a:lnTo>
                  <a:pt x="549322" y="497019"/>
                </a:lnTo>
                <a:cubicBezTo>
                  <a:pt x="554680" y="487531"/>
                  <a:pt x="558847" y="477411"/>
                  <a:pt x="561861" y="466881"/>
                </a:cubicBezTo>
                <a:close/>
                <a:moveTo>
                  <a:pt x="544893" y="462193"/>
                </a:moveTo>
                <a:cubicBezTo>
                  <a:pt x="542326" y="471309"/>
                  <a:pt x="538680" y="480127"/>
                  <a:pt x="534029" y="488387"/>
                </a:cubicBezTo>
                <a:cubicBezTo>
                  <a:pt x="530680" y="494302"/>
                  <a:pt x="531015" y="501446"/>
                  <a:pt x="534885" y="507064"/>
                </a:cubicBezTo>
                <a:lnTo>
                  <a:pt x="545638" y="522654"/>
                </a:lnTo>
                <a:lnTo>
                  <a:pt x="522569" y="545648"/>
                </a:lnTo>
                <a:lnTo>
                  <a:pt x="507054" y="534895"/>
                </a:lnTo>
                <a:cubicBezTo>
                  <a:pt x="501473" y="531026"/>
                  <a:pt x="494292" y="530691"/>
                  <a:pt x="488376" y="534040"/>
                </a:cubicBezTo>
                <a:cubicBezTo>
                  <a:pt x="480116" y="538690"/>
                  <a:pt x="471298" y="542374"/>
                  <a:pt x="462182" y="544904"/>
                </a:cubicBezTo>
                <a:cubicBezTo>
                  <a:pt x="455634" y="546727"/>
                  <a:pt x="450834" y="552047"/>
                  <a:pt x="449606" y="558707"/>
                </a:cubicBezTo>
                <a:lnTo>
                  <a:pt x="446183" y="577348"/>
                </a:lnTo>
                <a:lnTo>
                  <a:pt x="413627" y="577311"/>
                </a:lnTo>
                <a:lnTo>
                  <a:pt x="410241" y="558744"/>
                </a:lnTo>
                <a:cubicBezTo>
                  <a:pt x="409013" y="552047"/>
                  <a:pt x="404214" y="546764"/>
                  <a:pt x="397665" y="544941"/>
                </a:cubicBezTo>
                <a:cubicBezTo>
                  <a:pt x="388549" y="542374"/>
                  <a:pt x="379732" y="538727"/>
                  <a:pt x="371471" y="534077"/>
                </a:cubicBezTo>
                <a:cubicBezTo>
                  <a:pt x="368755" y="532551"/>
                  <a:pt x="365779" y="531807"/>
                  <a:pt x="362802" y="531807"/>
                </a:cubicBezTo>
                <a:cubicBezTo>
                  <a:pt x="359305" y="531807"/>
                  <a:pt x="355807" y="532849"/>
                  <a:pt x="352793" y="534970"/>
                </a:cubicBezTo>
                <a:lnTo>
                  <a:pt x="337167" y="545722"/>
                </a:lnTo>
                <a:lnTo>
                  <a:pt x="314172" y="522654"/>
                </a:lnTo>
                <a:lnTo>
                  <a:pt x="324925" y="507101"/>
                </a:lnTo>
                <a:cubicBezTo>
                  <a:pt x="328795" y="501520"/>
                  <a:pt x="329129" y="494340"/>
                  <a:pt x="325781" y="488424"/>
                </a:cubicBezTo>
                <a:cubicBezTo>
                  <a:pt x="321130" y="480164"/>
                  <a:pt x="317446" y="471345"/>
                  <a:pt x="314917" y="462230"/>
                </a:cubicBezTo>
                <a:cubicBezTo>
                  <a:pt x="313093" y="455682"/>
                  <a:pt x="307810" y="450882"/>
                  <a:pt x="301113" y="449654"/>
                </a:cubicBezTo>
                <a:lnTo>
                  <a:pt x="282473" y="446231"/>
                </a:lnTo>
                <a:lnTo>
                  <a:pt x="282510" y="413675"/>
                </a:lnTo>
                <a:lnTo>
                  <a:pt x="301076" y="410289"/>
                </a:lnTo>
                <a:cubicBezTo>
                  <a:pt x="307773" y="409061"/>
                  <a:pt x="313056" y="404261"/>
                  <a:pt x="314880" y="397713"/>
                </a:cubicBezTo>
                <a:cubicBezTo>
                  <a:pt x="317447" y="388597"/>
                  <a:pt x="321093" y="379779"/>
                  <a:pt x="325744" y="371519"/>
                </a:cubicBezTo>
                <a:cubicBezTo>
                  <a:pt x="329092" y="365603"/>
                  <a:pt x="328758" y="358422"/>
                  <a:pt x="324888" y="352842"/>
                </a:cubicBezTo>
                <a:lnTo>
                  <a:pt x="314135" y="337215"/>
                </a:lnTo>
                <a:lnTo>
                  <a:pt x="337204" y="314221"/>
                </a:lnTo>
                <a:lnTo>
                  <a:pt x="352756" y="324973"/>
                </a:lnTo>
                <a:cubicBezTo>
                  <a:pt x="358337" y="328843"/>
                  <a:pt x="365481" y="329178"/>
                  <a:pt x="371434" y="325829"/>
                </a:cubicBezTo>
                <a:cubicBezTo>
                  <a:pt x="379694" y="321178"/>
                  <a:pt x="388512" y="317495"/>
                  <a:pt x="397628" y="314965"/>
                </a:cubicBezTo>
                <a:cubicBezTo>
                  <a:pt x="404176" y="313142"/>
                  <a:pt x="408976" y="307821"/>
                  <a:pt x="410203" y="301161"/>
                </a:cubicBezTo>
                <a:lnTo>
                  <a:pt x="413626" y="282521"/>
                </a:lnTo>
                <a:lnTo>
                  <a:pt x="446183" y="282558"/>
                </a:lnTo>
                <a:lnTo>
                  <a:pt x="449569" y="301124"/>
                </a:lnTo>
                <a:cubicBezTo>
                  <a:pt x="450797" y="307821"/>
                  <a:pt x="455596" y="313105"/>
                  <a:pt x="462145" y="314928"/>
                </a:cubicBezTo>
                <a:cubicBezTo>
                  <a:pt x="471260" y="317495"/>
                  <a:pt x="480078" y="321141"/>
                  <a:pt x="488338" y="325792"/>
                </a:cubicBezTo>
                <a:cubicBezTo>
                  <a:pt x="494254" y="329141"/>
                  <a:pt x="501435" y="328806"/>
                  <a:pt x="507016" y="324936"/>
                </a:cubicBezTo>
                <a:lnTo>
                  <a:pt x="522643" y="314183"/>
                </a:lnTo>
                <a:lnTo>
                  <a:pt x="545637" y="337252"/>
                </a:lnTo>
                <a:lnTo>
                  <a:pt x="534884" y="352804"/>
                </a:lnTo>
                <a:cubicBezTo>
                  <a:pt x="531015" y="358386"/>
                  <a:pt x="530680" y="365529"/>
                  <a:pt x="534028" y="371482"/>
                </a:cubicBezTo>
                <a:cubicBezTo>
                  <a:pt x="538679" y="379742"/>
                  <a:pt x="542326" y="388560"/>
                  <a:pt x="544893" y="397676"/>
                </a:cubicBezTo>
                <a:cubicBezTo>
                  <a:pt x="546716" y="404224"/>
                  <a:pt x="551999" y="409024"/>
                  <a:pt x="558696" y="410252"/>
                </a:cubicBezTo>
                <a:lnTo>
                  <a:pt x="577337" y="413675"/>
                </a:lnTo>
                <a:lnTo>
                  <a:pt x="577299" y="446231"/>
                </a:lnTo>
                <a:lnTo>
                  <a:pt x="558733" y="449617"/>
                </a:lnTo>
                <a:cubicBezTo>
                  <a:pt x="551999" y="450808"/>
                  <a:pt x="546716" y="455645"/>
                  <a:pt x="544893" y="462193"/>
                </a:cubicBezTo>
                <a:close/>
                <a:moveTo>
                  <a:pt x="429926" y="353284"/>
                </a:moveTo>
                <a:cubicBezTo>
                  <a:pt x="387659" y="353284"/>
                  <a:pt x="353317" y="387664"/>
                  <a:pt x="353317" y="429894"/>
                </a:cubicBezTo>
                <a:cubicBezTo>
                  <a:pt x="353317" y="472161"/>
                  <a:pt x="387696" y="506503"/>
                  <a:pt x="429926" y="506503"/>
                </a:cubicBezTo>
                <a:cubicBezTo>
                  <a:pt x="472194" y="506503"/>
                  <a:pt x="506536" y="472124"/>
                  <a:pt x="506536" y="429894"/>
                </a:cubicBezTo>
                <a:cubicBezTo>
                  <a:pt x="506536" y="387664"/>
                  <a:pt x="472156" y="353284"/>
                  <a:pt x="429926" y="353284"/>
                </a:cubicBezTo>
                <a:close/>
                <a:moveTo>
                  <a:pt x="429926" y="488977"/>
                </a:moveTo>
                <a:cubicBezTo>
                  <a:pt x="397370" y="488977"/>
                  <a:pt x="370842" y="462486"/>
                  <a:pt x="370842" y="429893"/>
                </a:cubicBezTo>
                <a:cubicBezTo>
                  <a:pt x="370842" y="397299"/>
                  <a:pt x="397333" y="370808"/>
                  <a:pt x="429926" y="370808"/>
                </a:cubicBezTo>
                <a:cubicBezTo>
                  <a:pt x="462520" y="370808"/>
                  <a:pt x="489011" y="397299"/>
                  <a:pt x="489011" y="429893"/>
                </a:cubicBezTo>
                <a:cubicBezTo>
                  <a:pt x="488974" y="462486"/>
                  <a:pt x="462482" y="488977"/>
                  <a:pt x="429926" y="488977"/>
                </a:cubicBezTo>
                <a:close/>
                <a:moveTo>
                  <a:pt x="847169" y="98338"/>
                </a:moveTo>
                <a:lnTo>
                  <a:pt x="834593" y="96068"/>
                </a:lnTo>
                <a:cubicBezTo>
                  <a:pt x="832510" y="88962"/>
                  <a:pt x="829645" y="82078"/>
                  <a:pt x="826110" y="75568"/>
                </a:cubicBezTo>
                <a:lnTo>
                  <a:pt x="833403" y="65038"/>
                </a:lnTo>
                <a:cubicBezTo>
                  <a:pt x="837644" y="58936"/>
                  <a:pt x="836900" y="50676"/>
                  <a:pt x="831654" y="45392"/>
                </a:cubicBezTo>
                <a:lnTo>
                  <a:pt x="814464" y="28203"/>
                </a:lnTo>
                <a:cubicBezTo>
                  <a:pt x="809218" y="22919"/>
                  <a:pt x="800958" y="22175"/>
                  <a:pt x="794819" y="26417"/>
                </a:cubicBezTo>
                <a:lnTo>
                  <a:pt x="784289" y="33709"/>
                </a:lnTo>
                <a:cubicBezTo>
                  <a:pt x="777778" y="30137"/>
                  <a:pt x="770895" y="27310"/>
                  <a:pt x="763788" y="25226"/>
                </a:cubicBezTo>
                <a:lnTo>
                  <a:pt x="761519" y="12650"/>
                </a:lnTo>
                <a:cubicBezTo>
                  <a:pt x="760179" y="5320"/>
                  <a:pt x="753817" y="0"/>
                  <a:pt x="746376" y="0"/>
                </a:cubicBezTo>
                <a:lnTo>
                  <a:pt x="722042" y="37"/>
                </a:lnTo>
                <a:cubicBezTo>
                  <a:pt x="714601" y="37"/>
                  <a:pt x="708239" y="5358"/>
                  <a:pt x="706899" y="12687"/>
                </a:cubicBezTo>
                <a:lnTo>
                  <a:pt x="704630" y="25263"/>
                </a:lnTo>
                <a:cubicBezTo>
                  <a:pt x="697523" y="27347"/>
                  <a:pt x="690640" y="30212"/>
                  <a:pt x="684129" y="33746"/>
                </a:cubicBezTo>
                <a:lnTo>
                  <a:pt x="673599" y="26454"/>
                </a:lnTo>
                <a:cubicBezTo>
                  <a:pt x="667497" y="22212"/>
                  <a:pt x="659238" y="22956"/>
                  <a:pt x="653954" y="28203"/>
                </a:cubicBezTo>
                <a:lnTo>
                  <a:pt x="636764" y="45392"/>
                </a:lnTo>
                <a:cubicBezTo>
                  <a:pt x="631518" y="50638"/>
                  <a:pt x="630774" y="58899"/>
                  <a:pt x="634978" y="65038"/>
                </a:cubicBezTo>
                <a:lnTo>
                  <a:pt x="642271" y="75530"/>
                </a:lnTo>
                <a:cubicBezTo>
                  <a:pt x="638699" y="82042"/>
                  <a:pt x="635871" y="88924"/>
                  <a:pt x="633788" y="96031"/>
                </a:cubicBezTo>
                <a:lnTo>
                  <a:pt x="621212" y="98301"/>
                </a:lnTo>
                <a:cubicBezTo>
                  <a:pt x="613882" y="99640"/>
                  <a:pt x="608562" y="106002"/>
                  <a:pt x="608562" y="113443"/>
                </a:cubicBezTo>
                <a:lnTo>
                  <a:pt x="608562" y="137740"/>
                </a:lnTo>
                <a:cubicBezTo>
                  <a:pt x="608562" y="145181"/>
                  <a:pt x="613882" y="151543"/>
                  <a:pt x="621212" y="152883"/>
                </a:cubicBezTo>
                <a:lnTo>
                  <a:pt x="633788" y="155152"/>
                </a:lnTo>
                <a:cubicBezTo>
                  <a:pt x="635871" y="162259"/>
                  <a:pt x="638736" y="169143"/>
                  <a:pt x="642308" y="175653"/>
                </a:cubicBezTo>
                <a:lnTo>
                  <a:pt x="635016" y="186183"/>
                </a:lnTo>
                <a:cubicBezTo>
                  <a:pt x="630774" y="192285"/>
                  <a:pt x="631518" y="200545"/>
                  <a:pt x="636764" y="205828"/>
                </a:cubicBezTo>
                <a:lnTo>
                  <a:pt x="653954" y="223018"/>
                </a:lnTo>
                <a:cubicBezTo>
                  <a:pt x="659200" y="228264"/>
                  <a:pt x="667460" y="229008"/>
                  <a:pt x="673599" y="224767"/>
                </a:cubicBezTo>
                <a:lnTo>
                  <a:pt x="684092" y="217474"/>
                </a:lnTo>
                <a:cubicBezTo>
                  <a:pt x="690603" y="221046"/>
                  <a:pt x="697486" y="223874"/>
                  <a:pt x="704593" y="225957"/>
                </a:cubicBezTo>
                <a:lnTo>
                  <a:pt x="706862" y="238533"/>
                </a:lnTo>
                <a:cubicBezTo>
                  <a:pt x="708202" y="245863"/>
                  <a:pt x="714564" y="251183"/>
                  <a:pt x="722005" y="251183"/>
                </a:cubicBezTo>
                <a:lnTo>
                  <a:pt x="746302" y="251183"/>
                </a:lnTo>
                <a:cubicBezTo>
                  <a:pt x="753743" y="251183"/>
                  <a:pt x="760105" y="245863"/>
                  <a:pt x="761444" y="238533"/>
                </a:cubicBezTo>
                <a:lnTo>
                  <a:pt x="763714" y="225957"/>
                </a:lnTo>
                <a:cubicBezTo>
                  <a:pt x="770820" y="223874"/>
                  <a:pt x="777704" y="221009"/>
                  <a:pt x="784215" y="217474"/>
                </a:cubicBezTo>
                <a:lnTo>
                  <a:pt x="794744" y="224767"/>
                </a:lnTo>
                <a:cubicBezTo>
                  <a:pt x="800846" y="229008"/>
                  <a:pt x="809106" y="228264"/>
                  <a:pt x="814390" y="223018"/>
                </a:cubicBezTo>
                <a:lnTo>
                  <a:pt x="831580" y="205828"/>
                </a:lnTo>
                <a:cubicBezTo>
                  <a:pt x="836826" y="200582"/>
                  <a:pt x="837570" y="192322"/>
                  <a:pt x="833366" y="186183"/>
                </a:cubicBezTo>
                <a:lnTo>
                  <a:pt x="826073" y="175690"/>
                </a:lnTo>
                <a:cubicBezTo>
                  <a:pt x="829645" y="169179"/>
                  <a:pt x="832473" y="162296"/>
                  <a:pt x="834556" y="155189"/>
                </a:cubicBezTo>
                <a:lnTo>
                  <a:pt x="847132" y="152920"/>
                </a:lnTo>
                <a:cubicBezTo>
                  <a:pt x="854462" y="151580"/>
                  <a:pt x="859782" y="145218"/>
                  <a:pt x="859782" y="137777"/>
                </a:cubicBezTo>
                <a:lnTo>
                  <a:pt x="859782" y="113481"/>
                </a:lnTo>
                <a:cubicBezTo>
                  <a:pt x="859782" y="106039"/>
                  <a:pt x="854462" y="99677"/>
                  <a:pt x="847169" y="98338"/>
                </a:cubicBezTo>
                <a:close/>
                <a:moveTo>
                  <a:pt x="842258" y="135991"/>
                </a:moveTo>
                <a:lnTo>
                  <a:pt x="830129" y="138186"/>
                </a:lnTo>
                <a:cubicBezTo>
                  <a:pt x="824287" y="139265"/>
                  <a:pt x="819673" y="143470"/>
                  <a:pt x="818074" y="149162"/>
                </a:cubicBezTo>
                <a:cubicBezTo>
                  <a:pt x="816213" y="155822"/>
                  <a:pt x="813535" y="162259"/>
                  <a:pt x="810149" y="168286"/>
                </a:cubicBezTo>
                <a:cubicBezTo>
                  <a:pt x="807247" y="173458"/>
                  <a:pt x="807507" y="179709"/>
                  <a:pt x="810893" y="184583"/>
                </a:cubicBezTo>
                <a:lnTo>
                  <a:pt x="817925" y="194703"/>
                </a:lnTo>
                <a:lnTo>
                  <a:pt x="803302" y="209326"/>
                </a:lnTo>
                <a:lnTo>
                  <a:pt x="793182" y="202294"/>
                </a:lnTo>
                <a:cubicBezTo>
                  <a:pt x="788308" y="198908"/>
                  <a:pt x="782057" y="198610"/>
                  <a:pt x="776886" y="201549"/>
                </a:cubicBezTo>
                <a:cubicBezTo>
                  <a:pt x="770858" y="204935"/>
                  <a:pt x="764421" y="207614"/>
                  <a:pt x="757761" y="209475"/>
                </a:cubicBezTo>
                <a:cubicBezTo>
                  <a:pt x="752031" y="211074"/>
                  <a:pt x="747827" y="215688"/>
                  <a:pt x="746786" y="221529"/>
                </a:cubicBezTo>
                <a:lnTo>
                  <a:pt x="744590" y="233658"/>
                </a:lnTo>
                <a:lnTo>
                  <a:pt x="723903" y="233658"/>
                </a:lnTo>
                <a:lnTo>
                  <a:pt x="721708" y="221529"/>
                </a:lnTo>
                <a:cubicBezTo>
                  <a:pt x="720629" y="215688"/>
                  <a:pt x="716424" y="211074"/>
                  <a:pt x="710732" y="209475"/>
                </a:cubicBezTo>
                <a:cubicBezTo>
                  <a:pt x="704072" y="207614"/>
                  <a:pt x="697672" y="204935"/>
                  <a:pt x="691608" y="201549"/>
                </a:cubicBezTo>
                <a:cubicBezTo>
                  <a:pt x="686436" y="198647"/>
                  <a:pt x="680185" y="198908"/>
                  <a:pt x="675312" y="202294"/>
                </a:cubicBezTo>
                <a:lnTo>
                  <a:pt x="665191" y="209326"/>
                </a:lnTo>
                <a:lnTo>
                  <a:pt x="650568" y="194703"/>
                </a:lnTo>
                <a:lnTo>
                  <a:pt x="657601" y="184583"/>
                </a:lnTo>
                <a:cubicBezTo>
                  <a:pt x="660986" y="179708"/>
                  <a:pt x="661284" y="173457"/>
                  <a:pt x="658345" y="168286"/>
                </a:cubicBezTo>
                <a:cubicBezTo>
                  <a:pt x="654959" y="162259"/>
                  <a:pt x="652280" y="155822"/>
                  <a:pt x="650420" y="149199"/>
                </a:cubicBezTo>
                <a:cubicBezTo>
                  <a:pt x="648820" y="143469"/>
                  <a:pt x="644206" y="139265"/>
                  <a:pt x="638365" y="138223"/>
                </a:cubicBezTo>
                <a:lnTo>
                  <a:pt x="626236" y="136028"/>
                </a:lnTo>
                <a:lnTo>
                  <a:pt x="626236" y="115341"/>
                </a:lnTo>
                <a:lnTo>
                  <a:pt x="638365" y="113146"/>
                </a:lnTo>
                <a:cubicBezTo>
                  <a:pt x="644206" y="112104"/>
                  <a:pt x="648820" y="107862"/>
                  <a:pt x="650420" y="102170"/>
                </a:cubicBezTo>
                <a:cubicBezTo>
                  <a:pt x="652280" y="95510"/>
                  <a:pt x="654959" y="89073"/>
                  <a:pt x="658345" y="83046"/>
                </a:cubicBezTo>
                <a:cubicBezTo>
                  <a:pt x="661247" y="77874"/>
                  <a:pt x="660949" y="71623"/>
                  <a:pt x="657601" y="66749"/>
                </a:cubicBezTo>
                <a:lnTo>
                  <a:pt x="650568" y="56629"/>
                </a:lnTo>
                <a:lnTo>
                  <a:pt x="665191" y="42006"/>
                </a:lnTo>
                <a:lnTo>
                  <a:pt x="675312" y="49038"/>
                </a:lnTo>
                <a:cubicBezTo>
                  <a:pt x="680186" y="52424"/>
                  <a:pt x="686437" y="52722"/>
                  <a:pt x="691608" y="49783"/>
                </a:cubicBezTo>
                <a:cubicBezTo>
                  <a:pt x="697635" y="46397"/>
                  <a:pt x="704072" y="43718"/>
                  <a:pt x="710732" y="41857"/>
                </a:cubicBezTo>
                <a:cubicBezTo>
                  <a:pt x="716462" y="40258"/>
                  <a:pt x="720667" y="35644"/>
                  <a:pt x="721708" y="29803"/>
                </a:cubicBezTo>
                <a:lnTo>
                  <a:pt x="723903" y="17673"/>
                </a:lnTo>
                <a:lnTo>
                  <a:pt x="744590" y="17673"/>
                </a:lnTo>
                <a:lnTo>
                  <a:pt x="746786" y="29803"/>
                </a:lnTo>
                <a:cubicBezTo>
                  <a:pt x="747865" y="35644"/>
                  <a:pt x="752069" y="40258"/>
                  <a:pt x="757761" y="41857"/>
                </a:cubicBezTo>
                <a:cubicBezTo>
                  <a:pt x="764421" y="43718"/>
                  <a:pt x="770821" y="46397"/>
                  <a:pt x="776886" y="49783"/>
                </a:cubicBezTo>
                <a:cubicBezTo>
                  <a:pt x="782057" y="52685"/>
                  <a:pt x="788308" y="52424"/>
                  <a:pt x="793182" y="49038"/>
                </a:cubicBezTo>
                <a:lnTo>
                  <a:pt x="803302" y="42006"/>
                </a:lnTo>
                <a:lnTo>
                  <a:pt x="817925" y="56629"/>
                </a:lnTo>
                <a:lnTo>
                  <a:pt x="810893" y="66749"/>
                </a:lnTo>
                <a:cubicBezTo>
                  <a:pt x="807507" y="71624"/>
                  <a:pt x="807209" y="77875"/>
                  <a:pt x="810149" y="83046"/>
                </a:cubicBezTo>
                <a:cubicBezTo>
                  <a:pt x="813535" y="89073"/>
                  <a:pt x="816213" y="95510"/>
                  <a:pt x="818074" y="102170"/>
                </a:cubicBezTo>
                <a:cubicBezTo>
                  <a:pt x="819674" y="107863"/>
                  <a:pt x="824287" y="112105"/>
                  <a:pt x="830129" y="113146"/>
                </a:cubicBezTo>
                <a:lnTo>
                  <a:pt x="842258" y="115341"/>
                </a:lnTo>
                <a:close/>
                <a:moveTo>
                  <a:pt x="734168" y="72962"/>
                </a:moveTo>
                <a:cubicBezTo>
                  <a:pt x="705109" y="72962"/>
                  <a:pt x="681483" y="96589"/>
                  <a:pt x="681483" y="125647"/>
                </a:cubicBezTo>
                <a:cubicBezTo>
                  <a:pt x="681483" y="154706"/>
                  <a:pt x="705110" y="178332"/>
                  <a:pt x="734168" y="178332"/>
                </a:cubicBezTo>
                <a:cubicBezTo>
                  <a:pt x="763226" y="178332"/>
                  <a:pt x="786853" y="154705"/>
                  <a:pt x="786853" y="125647"/>
                </a:cubicBezTo>
                <a:cubicBezTo>
                  <a:pt x="786853" y="96588"/>
                  <a:pt x="763226" y="72962"/>
                  <a:pt x="734168" y="72962"/>
                </a:cubicBezTo>
                <a:close/>
                <a:moveTo>
                  <a:pt x="734168" y="160771"/>
                </a:moveTo>
                <a:cubicBezTo>
                  <a:pt x="714783" y="160771"/>
                  <a:pt x="699045" y="144996"/>
                  <a:pt x="699045" y="125648"/>
                </a:cubicBezTo>
                <a:cubicBezTo>
                  <a:pt x="699045" y="106263"/>
                  <a:pt x="714820" y="90524"/>
                  <a:pt x="734168" y="90524"/>
                </a:cubicBezTo>
                <a:cubicBezTo>
                  <a:pt x="753553" y="90524"/>
                  <a:pt x="769292" y="106300"/>
                  <a:pt x="769292" y="125648"/>
                </a:cubicBezTo>
                <a:cubicBezTo>
                  <a:pt x="769329" y="144995"/>
                  <a:pt x="753553" y="160771"/>
                  <a:pt x="734168" y="160771"/>
                </a:cubicBezTo>
                <a:close/>
                <a:moveTo>
                  <a:pt x="12687" y="152921"/>
                </a:moveTo>
                <a:lnTo>
                  <a:pt x="25263" y="155190"/>
                </a:lnTo>
                <a:cubicBezTo>
                  <a:pt x="27347" y="162297"/>
                  <a:pt x="30212" y="169181"/>
                  <a:pt x="33746" y="175691"/>
                </a:cubicBezTo>
                <a:lnTo>
                  <a:pt x="26454" y="186221"/>
                </a:lnTo>
                <a:cubicBezTo>
                  <a:pt x="22212" y="192323"/>
                  <a:pt x="22956" y="200583"/>
                  <a:pt x="28203" y="205866"/>
                </a:cubicBezTo>
                <a:lnTo>
                  <a:pt x="45392" y="223056"/>
                </a:lnTo>
                <a:cubicBezTo>
                  <a:pt x="50639" y="228302"/>
                  <a:pt x="58936" y="229046"/>
                  <a:pt x="65038" y="224805"/>
                </a:cubicBezTo>
                <a:lnTo>
                  <a:pt x="75568" y="217512"/>
                </a:lnTo>
                <a:cubicBezTo>
                  <a:pt x="82079" y="221084"/>
                  <a:pt x="88962" y="223912"/>
                  <a:pt x="96068" y="225995"/>
                </a:cubicBezTo>
                <a:lnTo>
                  <a:pt x="98338" y="238571"/>
                </a:lnTo>
                <a:cubicBezTo>
                  <a:pt x="99677" y="245901"/>
                  <a:pt x="106040" y="251221"/>
                  <a:pt x="113481" y="251221"/>
                </a:cubicBezTo>
                <a:lnTo>
                  <a:pt x="137777" y="251221"/>
                </a:lnTo>
                <a:cubicBezTo>
                  <a:pt x="145218" y="251221"/>
                  <a:pt x="151581" y="245901"/>
                  <a:pt x="152920" y="238571"/>
                </a:cubicBezTo>
                <a:lnTo>
                  <a:pt x="155189" y="225995"/>
                </a:lnTo>
                <a:cubicBezTo>
                  <a:pt x="162296" y="223912"/>
                  <a:pt x="169180" y="221047"/>
                  <a:pt x="175690" y="217512"/>
                </a:cubicBezTo>
                <a:lnTo>
                  <a:pt x="186220" y="224805"/>
                </a:lnTo>
                <a:cubicBezTo>
                  <a:pt x="192322" y="229046"/>
                  <a:pt x="200582" y="228302"/>
                  <a:pt x="205865" y="223056"/>
                </a:cubicBezTo>
                <a:lnTo>
                  <a:pt x="223055" y="205866"/>
                </a:lnTo>
                <a:cubicBezTo>
                  <a:pt x="228301" y="200620"/>
                  <a:pt x="229045" y="192360"/>
                  <a:pt x="224804" y="186221"/>
                </a:cubicBezTo>
                <a:lnTo>
                  <a:pt x="217511" y="175728"/>
                </a:lnTo>
                <a:cubicBezTo>
                  <a:pt x="221083" y="169217"/>
                  <a:pt x="223911" y="162334"/>
                  <a:pt x="225994" y="155227"/>
                </a:cubicBezTo>
                <a:lnTo>
                  <a:pt x="238570" y="152958"/>
                </a:lnTo>
                <a:cubicBezTo>
                  <a:pt x="245900" y="151618"/>
                  <a:pt x="251220" y="145256"/>
                  <a:pt x="251220" y="137815"/>
                </a:cubicBezTo>
                <a:lnTo>
                  <a:pt x="251220" y="113519"/>
                </a:lnTo>
                <a:cubicBezTo>
                  <a:pt x="251220" y="106077"/>
                  <a:pt x="245900" y="99715"/>
                  <a:pt x="238570" y="98376"/>
                </a:cubicBezTo>
                <a:lnTo>
                  <a:pt x="225994" y="96106"/>
                </a:lnTo>
                <a:cubicBezTo>
                  <a:pt x="223911" y="89000"/>
                  <a:pt x="221046" y="82116"/>
                  <a:pt x="217511" y="75605"/>
                </a:cubicBezTo>
                <a:lnTo>
                  <a:pt x="224804" y="65076"/>
                </a:lnTo>
                <a:cubicBezTo>
                  <a:pt x="229045" y="58974"/>
                  <a:pt x="228301" y="50714"/>
                  <a:pt x="223055" y="45430"/>
                </a:cubicBezTo>
                <a:lnTo>
                  <a:pt x="205865" y="28240"/>
                </a:lnTo>
                <a:cubicBezTo>
                  <a:pt x="200619" y="22957"/>
                  <a:pt x="192359" y="22213"/>
                  <a:pt x="186220" y="26455"/>
                </a:cubicBezTo>
                <a:lnTo>
                  <a:pt x="175690" y="33747"/>
                </a:lnTo>
                <a:cubicBezTo>
                  <a:pt x="169179" y="30175"/>
                  <a:pt x="162296" y="27347"/>
                  <a:pt x="155189" y="25264"/>
                </a:cubicBezTo>
                <a:lnTo>
                  <a:pt x="152920" y="12688"/>
                </a:lnTo>
                <a:cubicBezTo>
                  <a:pt x="151580" y="5358"/>
                  <a:pt x="145218" y="38"/>
                  <a:pt x="137777" y="38"/>
                </a:cubicBezTo>
                <a:lnTo>
                  <a:pt x="113481" y="38"/>
                </a:lnTo>
                <a:cubicBezTo>
                  <a:pt x="106039" y="38"/>
                  <a:pt x="99677" y="5358"/>
                  <a:pt x="98338" y="12688"/>
                </a:cubicBezTo>
                <a:lnTo>
                  <a:pt x="96068" y="25264"/>
                </a:lnTo>
                <a:cubicBezTo>
                  <a:pt x="88962" y="27348"/>
                  <a:pt x="82078" y="30212"/>
                  <a:pt x="75568" y="33747"/>
                </a:cubicBezTo>
                <a:lnTo>
                  <a:pt x="65038" y="26455"/>
                </a:lnTo>
                <a:cubicBezTo>
                  <a:pt x="58936" y="22213"/>
                  <a:pt x="50676" y="22957"/>
                  <a:pt x="45392" y="28203"/>
                </a:cubicBezTo>
                <a:lnTo>
                  <a:pt x="28203" y="45393"/>
                </a:lnTo>
                <a:cubicBezTo>
                  <a:pt x="22956" y="50639"/>
                  <a:pt x="22212" y="58899"/>
                  <a:pt x="26417" y="65038"/>
                </a:cubicBezTo>
                <a:lnTo>
                  <a:pt x="33709" y="75531"/>
                </a:lnTo>
                <a:cubicBezTo>
                  <a:pt x="30137" y="82042"/>
                  <a:pt x="27310" y="88925"/>
                  <a:pt x="25226" y="96032"/>
                </a:cubicBezTo>
                <a:lnTo>
                  <a:pt x="12650" y="98301"/>
                </a:lnTo>
                <a:cubicBezTo>
                  <a:pt x="5320" y="99641"/>
                  <a:pt x="0" y="106003"/>
                  <a:pt x="0" y="113444"/>
                </a:cubicBezTo>
                <a:lnTo>
                  <a:pt x="0" y="137741"/>
                </a:lnTo>
                <a:cubicBezTo>
                  <a:pt x="37" y="145219"/>
                  <a:pt x="5358" y="151581"/>
                  <a:pt x="12687" y="152922"/>
                </a:cubicBezTo>
                <a:close/>
                <a:moveTo>
                  <a:pt x="17562" y="115305"/>
                </a:moveTo>
                <a:lnTo>
                  <a:pt x="29691" y="113109"/>
                </a:lnTo>
                <a:cubicBezTo>
                  <a:pt x="35532" y="112067"/>
                  <a:pt x="40146" y="107826"/>
                  <a:pt x="41746" y="102134"/>
                </a:cubicBezTo>
                <a:cubicBezTo>
                  <a:pt x="43606" y="95474"/>
                  <a:pt x="46285" y="89037"/>
                  <a:pt x="49671" y="83009"/>
                </a:cubicBezTo>
                <a:cubicBezTo>
                  <a:pt x="52573" y="77838"/>
                  <a:pt x="52275" y="71587"/>
                  <a:pt x="48926" y="66713"/>
                </a:cubicBezTo>
                <a:lnTo>
                  <a:pt x="41894" y="56556"/>
                </a:lnTo>
                <a:lnTo>
                  <a:pt x="56517" y="41933"/>
                </a:lnTo>
                <a:lnTo>
                  <a:pt x="66637" y="48965"/>
                </a:lnTo>
                <a:cubicBezTo>
                  <a:pt x="71512" y="52351"/>
                  <a:pt x="77763" y="52648"/>
                  <a:pt x="82934" y="49709"/>
                </a:cubicBezTo>
                <a:cubicBezTo>
                  <a:pt x="88961" y="46323"/>
                  <a:pt x="95398" y="43644"/>
                  <a:pt x="102058" y="41784"/>
                </a:cubicBezTo>
                <a:cubicBezTo>
                  <a:pt x="107788" y="40184"/>
                  <a:pt x="111993" y="35570"/>
                  <a:pt x="113034" y="29729"/>
                </a:cubicBezTo>
                <a:lnTo>
                  <a:pt x="115229" y="17600"/>
                </a:lnTo>
                <a:lnTo>
                  <a:pt x="135916" y="17600"/>
                </a:lnTo>
                <a:lnTo>
                  <a:pt x="138111" y="29729"/>
                </a:lnTo>
                <a:cubicBezTo>
                  <a:pt x="139191" y="35571"/>
                  <a:pt x="143395" y="40185"/>
                  <a:pt x="149087" y="41784"/>
                </a:cubicBezTo>
                <a:cubicBezTo>
                  <a:pt x="155747" y="43644"/>
                  <a:pt x="162147" y="46323"/>
                  <a:pt x="168211" y="49709"/>
                </a:cubicBezTo>
                <a:cubicBezTo>
                  <a:pt x="173383" y="52611"/>
                  <a:pt x="179634" y="52351"/>
                  <a:pt x="184508" y="48965"/>
                </a:cubicBezTo>
                <a:lnTo>
                  <a:pt x="194628" y="41933"/>
                </a:lnTo>
                <a:lnTo>
                  <a:pt x="209251" y="56556"/>
                </a:lnTo>
                <a:lnTo>
                  <a:pt x="202219" y="66676"/>
                </a:lnTo>
                <a:cubicBezTo>
                  <a:pt x="198833" y="71550"/>
                  <a:pt x="198535" y="77801"/>
                  <a:pt x="201475" y="82972"/>
                </a:cubicBezTo>
                <a:cubicBezTo>
                  <a:pt x="204860" y="89000"/>
                  <a:pt x="207539" y="95437"/>
                  <a:pt x="209400" y="102096"/>
                </a:cubicBezTo>
                <a:cubicBezTo>
                  <a:pt x="211000" y="107789"/>
                  <a:pt x="215613" y="112031"/>
                  <a:pt x="221455" y="113072"/>
                </a:cubicBezTo>
                <a:lnTo>
                  <a:pt x="233584" y="115267"/>
                </a:lnTo>
                <a:lnTo>
                  <a:pt x="233584" y="135955"/>
                </a:lnTo>
                <a:lnTo>
                  <a:pt x="221455" y="138150"/>
                </a:lnTo>
                <a:cubicBezTo>
                  <a:pt x="215613" y="139229"/>
                  <a:pt x="210999" y="143433"/>
                  <a:pt x="209400" y="149126"/>
                </a:cubicBezTo>
                <a:cubicBezTo>
                  <a:pt x="207539" y="155786"/>
                  <a:pt x="204860" y="162222"/>
                  <a:pt x="201475" y="168250"/>
                </a:cubicBezTo>
                <a:cubicBezTo>
                  <a:pt x="198572" y="173422"/>
                  <a:pt x="198870" y="179672"/>
                  <a:pt x="202219" y="184546"/>
                </a:cubicBezTo>
                <a:lnTo>
                  <a:pt x="209251" y="194667"/>
                </a:lnTo>
                <a:lnTo>
                  <a:pt x="194628" y="209289"/>
                </a:lnTo>
                <a:lnTo>
                  <a:pt x="184508" y="202257"/>
                </a:lnTo>
                <a:cubicBezTo>
                  <a:pt x="179634" y="198871"/>
                  <a:pt x="173383" y="198574"/>
                  <a:pt x="168211" y="201513"/>
                </a:cubicBezTo>
                <a:cubicBezTo>
                  <a:pt x="162184" y="204899"/>
                  <a:pt x="155747" y="207578"/>
                  <a:pt x="149087" y="209438"/>
                </a:cubicBezTo>
                <a:cubicBezTo>
                  <a:pt x="143357" y="211038"/>
                  <a:pt x="139153" y="215652"/>
                  <a:pt x="138111" y="221493"/>
                </a:cubicBezTo>
                <a:lnTo>
                  <a:pt x="135916" y="233622"/>
                </a:lnTo>
                <a:lnTo>
                  <a:pt x="115229" y="233622"/>
                </a:lnTo>
                <a:lnTo>
                  <a:pt x="113034" y="221493"/>
                </a:lnTo>
                <a:cubicBezTo>
                  <a:pt x="111955" y="215651"/>
                  <a:pt x="107750" y="211037"/>
                  <a:pt x="102058" y="209438"/>
                </a:cubicBezTo>
                <a:cubicBezTo>
                  <a:pt x="95398" y="207578"/>
                  <a:pt x="88998" y="204899"/>
                  <a:pt x="82934" y="201513"/>
                </a:cubicBezTo>
                <a:cubicBezTo>
                  <a:pt x="77762" y="198611"/>
                  <a:pt x="71511" y="198871"/>
                  <a:pt x="66637" y="202257"/>
                </a:cubicBezTo>
                <a:lnTo>
                  <a:pt x="56517" y="209289"/>
                </a:lnTo>
                <a:lnTo>
                  <a:pt x="41894" y="194667"/>
                </a:lnTo>
                <a:lnTo>
                  <a:pt x="48926" y="184546"/>
                </a:lnTo>
                <a:cubicBezTo>
                  <a:pt x="52312" y="179672"/>
                  <a:pt x="52610" y="173421"/>
                  <a:pt x="49671" y="168250"/>
                </a:cubicBezTo>
                <a:cubicBezTo>
                  <a:pt x="46285" y="162222"/>
                  <a:pt x="43606" y="155785"/>
                  <a:pt x="41746" y="149126"/>
                </a:cubicBezTo>
                <a:cubicBezTo>
                  <a:pt x="40146" y="143396"/>
                  <a:pt x="35532" y="139191"/>
                  <a:pt x="29691" y="138150"/>
                </a:cubicBezTo>
                <a:lnTo>
                  <a:pt x="17562" y="135955"/>
                </a:lnTo>
                <a:close/>
                <a:moveTo>
                  <a:pt x="125651" y="178296"/>
                </a:moveTo>
                <a:cubicBezTo>
                  <a:pt x="154710" y="178296"/>
                  <a:pt x="178336" y="154669"/>
                  <a:pt x="178336" y="125612"/>
                </a:cubicBezTo>
                <a:cubicBezTo>
                  <a:pt x="178336" y="96554"/>
                  <a:pt x="154709" y="72927"/>
                  <a:pt x="125651" y="72927"/>
                </a:cubicBezTo>
                <a:cubicBezTo>
                  <a:pt x="96592" y="72927"/>
                  <a:pt x="72967" y="96554"/>
                  <a:pt x="72967" y="125612"/>
                </a:cubicBezTo>
                <a:cubicBezTo>
                  <a:pt x="72967" y="154669"/>
                  <a:pt x="96593" y="178296"/>
                  <a:pt x="125651" y="178296"/>
                </a:cubicBezTo>
                <a:close/>
                <a:moveTo>
                  <a:pt x="125651" y="90487"/>
                </a:moveTo>
                <a:cubicBezTo>
                  <a:pt x="145037" y="90487"/>
                  <a:pt x="160775" y="106262"/>
                  <a:pt x="160775" y="125611"/>
                </a:cubicBezTo>
                <a:cubicBezTo>
                  <a:pt x="160775" y="144996"/>
                  <a:pt x="144999" y="160734"/>
                  <a:pt x="125651" y="160734"/>
                </a:cubicBezTo>
                <a:cubicBezTo>
                  <a:pt x="106266" y="160734"/>
                  <a:pt x="90528" y="144959"/>
                  <a:pt x="90528" y="125611"/>
                </a:cubicBezTo>
                <a:cubicBezTo>
                  <a:pt x="90491" y="106263"/>
                  <a:pt x="106266" y="90487"/>
                  <a:pt x="125651" y="90487"/>
                </a:cubicBezTo>
                <a:close/>
                <a:moveTo>
                  <a:pt x="847170" y="706898"/>
                </a:moveTo>
                <a:lnTo>
                  <a:pt x="834594" y="704628"/>
                </a:lnTo>
                <a:cubicBezTo>
                  <a:pt x="832511" y="697521"/>
                  <a:pt x="829646" y="690638"/>
                  <a:pt x="826111" y="684127"/>
                </a:cubicBezTo>
                <a:lnTo>
                  <a:pt x="833404" y="673597"/>
                </a:lnTo>
                <a:cubicBezTo>
                  <a:pt x="837645" y="667495"/>
                  <a:pt x="836901" y="659236"/>
                  <a:pt x="831655" y="653952"/>
                </a:cubicBezTo>
                <a:lnTo>
                  <a:pt x="814465" y="636762"/>
                </a:lnTo>
                <a:cubicBezTo>
                  <a:pt x="809219" y="631516"/>
                  <a:pt x="800959" y="630772"/>
                  <a:pt x="794820" y="634976"/>
                </a:cubicBezTo>
                <a:lnTo>
                  <a:pt x="784290" y="642269"/>
                </a:lnTo>
                <a:cubicBezTo>
                  <a:pt x="777779" y="638697"/>
                  <a:pt x="770896" y="635869"/>
                  <a:pt x="763789" y="633786"/>
                </a:cubicBezTo>
                <a:lnTo>
                  <a:pt x="761520" y="621210"/>
                </a:lnTo>
                <a:cubicBezTo>
                  <a:pt x="760180" y="613880"/>
                  <a:pt x="753818" y="608560"/>
                  <a:pt x="746377" y="608560"/>
                </a:cubicBezTo>
                <a:lnTo>
                  <a:pt x="722043" y="608597"/>
                </a:lnTo>
                <a:cubicBezTo>
                  <a:pt x="714602" y="608597"/>
                  <a:pt x="708240" y="613918"/>
                  <a:pt x="706900" y="621247"/>
                </a:cubicBezTo>
                <a:lnTo>
                  <a:pt x="704631" y="633823"/>
                </a:lnTo>
                <a:cubicBezTo>
                  <a:pt x="697524" y="635907"/>
                  <a:pt x="690640" y="638771"/>
                  <a:pt x="684130" y="642306"/>
                </a:cubicBezTo>
                <a:lnTo>
                  <a:pt x="673600" y="635014"/>
                </a:lnTo>
                <a:cubicBezTo>
                  <a:pt x="667498" y="630772"/>
                  <a:pt x="659238" y="631516"/>
                  <a:pt x="653955" y="636799"/>
                </a:cubicBezTo>
                <a:lnTo>
                  <a:pt x="636802" y="653952"/>
                </a:lnTo>
                <a:cubicBezTo>
                  <a:pt x="631556" y="659198"/>
                  <a:pt x="630812" y="667459"/>
                  <a:pt x="635016" y="673597"/>
                </a:cubicBezTo>
                <a:lnTo>
                  <a:pt x="642309" y="684127"/>
                </a:lnTo>
                <a:cubicBezTo>
                  <a:pt x="638737" y="690638"/>
                  <a:pt x="635909" y="697521"/>
                  <a:pt x="633826" y="704628"/>
                </a:cubicBezTo>
                <a:lnTo>
                  <a:pt x="621250" y="706898"/>
                </a:lnTo>
                <a:cubicBezTo>
                  <a:pt x="613920" y="708237"/>
                  <a:pt x="608600" y="714599"/>
                  <a:pt x="608600" y="722040"/>
                </a:cubicBezTo>
                <a:lnTo>
                  <a:pt x="608600" y="746337"/>
                </a:lnTo>
                <a:cubicBezTo>
                  <a:pt x="608600" y="753778"/>
                  <a:pt x="613920" y="760140"/>
                  <a:pt x="621250" y="761480"/>
                </a:cubicBezTo>
                <a:lnTo>
                  <a:pt x="633826" y="763749"/>
                </a:lnTo>
                <a:cubicBezTo>
                  <a:pt x="635909" y="770856"/>
                  <a:pt x="638774" y="777740"/>
                  <a:pt x="642346" y="784250"/>
                </a:cubicBezTo>
                <a:lnTo>
                  <a:pt x="635054" y="794780"/>
                </a:lnTo>
                <a:cubicBezTo>
                  <a:pt x="630812" y="800919"/>
                  <a:pt x="631556" y="809142"/>
                  <a:pt x="636840" y="814425"/>
                </a:cubicBezTo>
                <a:lnTo>
                  <a:pt x="654029" y="831615"/>
                </a:lnTo>
                <a:cubicBezTo>
                  <a:pt x="659275" y="836861"/>
                  <a:pt x="667536" y="837642"/>
                  <a:pt x="673675" y="833401"/>
                </a:cubicBezTo>
                <a:lnTo>
                  <a:pt x="684167" y="826108"/>
                </a:lnTo>
                <a:cubicBezTo>
                  <a:pt x="690679" y="829680"/>
                  <a:pt x="697561" y="832508"/>
                  <a:pt x="704668" y="834591"/>
                </a:cubicBezTo>
                <a:lnTo>
                  <a:pt x="706938" y="847167"/>
                </a:lnTo>
                <a:cubicBezTo>
                  <a:pt x="708277" y="854497"/>
                  <a:pt x="714639" y="859817"/>
                  <a:pt x="722080" y="859817"/>
                </a:cubicBezTo>
                <a:lnTo>
                  <a:pt x="746377" y="859817"/>
                </a:lnTo>
                <a:cubicBezTo>
                  <a:pt x="753818" y="859817"/>
                  <a:pt x="760180" y="854497"/>
                  <a:pt x="761520" y="847167"/>
                </a:cubicBezTo>
                <a:lnTo>
                  <a:pt x="763789" y="834591"/>
                </a:lnTo>
                <a:cubicBezTo>
                  <a:pt x="770896" y="832508"/>
                  <a:pt x="777780" y="829643"/>
                  <a:pt x="784290" y="826108"/>
                </a:cubicBezTo>
                <a:lnTo>
                  <a:pt x="794820" y="833401"/>
                </a:lnTo>
                <a:cubicBezTo>
                  <a:pt x="800922" y="837642"/>
                  <a:pt x="809182" y="836898"/>
                  <a:pt x="814465" y="831652"/>
                </a:cubicBezTo>
                <a:lnTo>
                  <a:pt x="831655" y="814462"/>
                </a:lnTo>
                <a:cubicBezTo>
                  <a:pt x="836901" y="809216"/>
                  <a:pt x="837645" y="800956"/>
                  <a:pt x="833441" y="794817"/>
                </a:cubicBezTo>
                <a:lnTo>
                  <a:pt x="826148" y="784324"/>
                </a:lnTo>
                <a:cubicBezTo>
                  <a:pt x="829720" y="777813"/>
                  <a:pt x="832548" y="770930"/>
                  <a:pt x="834631" y="763824"/>
                </a:cubicBezTo>
                <a:lnTo>
                  <a:pt x="847207" y="761554"/>
                </a:lnTo>
                <a:cubicBezTo>
                  <a:pt x="854537" y="760215"/>
                  <a:pt x="859858" y="753852"/>
                  <a:pt x="859858" y="746411"/>
                </a:cubicBezTo>
                <a:lnTo>
                  <a:pt x="859858" y="722115"/>
                </a:lnTo>
                <a:cubicBezTo>
                  <a:pt x="859783" y="714599"/>
                  <a:pt x="854462" y="708237"/>
                  <a:pt x="847170" y="706897"/>
                </a:cubicBezTo>
                <a:close/>
                <a:moveTo>
                  <a:pt x="842259" y="744551"/>
                </a:moveTo>
                <a:lnTo>
                  <a:pt x="830130" y="746746"/>
                </a:lnTo>
                <a:cubicBezTo>
                  <a:pt x="824288" y="747825"/>
                  <a:pt x="819674" y="752029"/>
                  <a:pt x="818075" y="757722"/>
                </a:cubicBezTo>
                <a:cubicBezTo>
                  <a:pt x="816214" y="764382"/>
                  <a:pt x="813536" y="770819"/>
                  <a:pt x="810150" y="776846"/>
                </a:cubicBezTo>
                <a:cubicBezTo>
                  <a:pt x="807248" y="782018"/>
                  <a:pt x="807508" y="788268"/>
                  <a:pt x="810894" y="793142"/>
                </a:cubicBezTo>
                <a:lnTo>
                  <a:pt x="817926" y="803263"/>
                </a:lnTo>
                <a:lnTo>
                  <a:pt x="803303" y="817885"/>
                </a:lnTo>
                <a:lnTo>
                  <a:pt x="793183" y="810853"/>
                </a:lnTo>
                <a:cubicBezTo>
                  <a:pt x="788309" y="807467"/>
                  <a:pt x="782058" y="807170"/>
                  <a:pt x="776887" y="810109"/>
                </a:cubicBezTo>
                <a:cubicBezTo>
                  <a:pt x="770859" y="813495"/>
                  <a:pt x="764422" y="816174"/>
                  <a:pt x="757762" y="818034"/>
                </a:cubicBezTo>
                <a:cubicBezTo>
                  <a:pt x="752032" y="819634"/>
                  <a:pt x="747828" y="824248"/>
                  <a:pt x="746787" y="830089"/>
                </a:cubicBezTo>
                <a:lnTo>
                  <a:pt x="744591" y="842218"/>
                </a:lnTo>
                <a:lnTo>
                  <a:pt x="723904" y="842218"/>
                </a:lnTo>
                <a:lnTo>
                  <a:pt x="721709" y="830089"/>
                </a:lnTo>
                <a:cubicBezTo>
                  <a:pt x="720667" y="824248"/>
                  <a:pt x="716425" y="819633"/>
                  <a:pt x="710733" y="818034"/>
                </a:cubicBezTo>
                <a:cubicBezTo>
                  <a:pt x="704073" y="816174"/>
                  <a:pt x="697636" y="813495"/>
                  <a:pt x="691609" y="810109"/>
                </a:cubicBezTo>
                <a:cubicBezTo>
                  <a:pt x="686437" y="807207"/>
                  <a:pt x="680186" y="807505"/>
                  <a:pt x="675312" y="810853"/>
                </a:cubicBezTo>
                <a:lnTo>
                  <a:pt x="665192" y="817885"/>
                </a:lnTo>
                <a:lnTo>
                  <a:pt x="650569" y="803263"/>
                </a:lnTo>
                <a:lnTo>
                  <a:pt x="657601" y="793142"/>
                </a:lnTo>
                <a:cubicBezTo>
                  <a:pt x="660987" y="788268"/>
                  <a:pt x="661285" y="782017"/>
                  <a:pt x="658346" y="776846"/>
                </a:cubicBezTo>
                <a:cubicBezTo>
                  <a:pt x="654960" y="770818"/>
                  <a:pt x="652281" y="764382"/>
                  <a:pt x="650421" y="757759"/>
                </a:cubicBezTo>
                <a:cubicBezTo>
                  <a:pt x="648821" y="752029"/>
                  <a:pt x="644207" y="747824"/>
                  <a:pt x="638366" y="746783"/>
                </a:cubicBezTo>
                <a:lnTo>
                  <a:pt x="626237" y="744588"/>
                </a:lnTo>
                <a:lnTo>
                  <a:pt x="626237" y="723901"/>
                </a:lnTo>
                <a:lnTo>
                  <a:pt x="638366" y="721705"/>
                </a:lnTo>
                <a:cubicBezTo>
                  <a:pt x="644207" y="720626"/>
                  <a:pt x="648821" y="716422"/>
                  <a:pt x="650421" y="710730"/>
                </a:cubicBezTo>
                <a:cubicBezTo>
                  <a:pt x="652281" y="704070"/>
                  <a:pt x="654960" y="697633"/>
                  <a:pt x="658346" y="691605"/>
                </a:cubicBezTo>
                <a:cubicBezTo>
                  <a:pt x="661248" y="686434"/>
                  <a:pt x="660950" y="680183"/>
                  <a:pt x="657601" y="675309"/>
                </a:cubicBezTo>
                <a:lnTo>
                  <a:pt x="650569" y="665189"/>
                </a:lnTo>
                <a:lnTo>
                  <a:pt x="665192" y="650566"/>
                </a:lnTo>
                <a:lnTo>
                  <a:pt x="675312" y="657598"/>
                </a:lnTo>
                <a:cubicBezTo>
                  <a:pt x="680187" y="660984"/>
                  <a:pt x="686438" y="661282"/>
                  <a:pt x="691609" y="658342"/>
                </a:cubicBezTo>
                <a:cubicBezTo>
                  <a:pt x="697636" y="654956"/>
                  <a:pt x="704073" y="652278"/>
                  <a:pt x="710733" y="650417"/>
                </a:cubicBezTo>
                <a:cubicBezTo>
                  <a:pt x="716463" y="648817"/>
                  <a:pt x="720668" y="644204"/>
                  <a:pt x="721709" y="638362"/>
                </a:cubicBezTo>
                <a:lnTo>
                  <a:pt x="723904" y="626233"/>
                </a:lnTo>
                <a:lnTo>
                  <a:pt x="744591" y="626233"/>
                </a:lnTo>
                <a:lnTo>
                  <a:pt x="746787" y="638362"/>
                </a:lnTo>
                <a:cubicBezTo>
                  <a:pt x="747866" y="644204"/>
                  <a:pt x="752070" y="648818"/>
                  <a:pt x="757762" y="650417"/>
                </a:cubicBezTo>
                <a:cubicBezTo>
                  <a:pt x="764422" y="652278"/>
                  <a:pt x="770859" y="654956"/>
                  <a:pt x="776887" y="658342"/>
                </a:cubicBezTo>
                <a:cubicBezTo>
                  <a:pt x="782058" y="661244"/>
                  <a:pt x="788309" y="660947"/>
                  <a:pt x="793183" y="657598"/>
                </a:cubicBezTo>
                <a:lnTo>
                  <a:pt x="803303" y="650566"/>
                </a:lnTo>
                <a:lnTo>
                  <a:pt x="817926" y="665189"/>
                </a:lnTo>
                <a:lnTo>
                  <a:pt x="810894" y="675309"/>
                </a:lnTo>
                <a:cubicBezTo>
                  <a:pt x="807508" y="680183"/>
                  <a:pt x="807210" y="686434"/>
                  <a:pt x="810150" y="691605"/>
                </a:cubicBezTo>
                <a:cubicBezTo>
                  <a:pt x="813536" y="697633"/>
                  <a:pt x="816214" y="704070"/>
                  <a:pt x="818075" y="710730"/>
                </a:cubicBezTo>
                <a:cubicBezTo>
                  <a:pt x="819675" y="716460"/>
                  <a:pt x="824288" y="720664"/>
                  <a:pt x="830130" y="721705"/>
                </a:cubicBezTo>
                <a:lnTo>
                  <a:pt x="842259" y="723901"/>
                </a:lnTo>
                <a:close/>
                <a:moveTo>
                  <a:pt x="734169" y="681522"/>
                </a:moveTo>
                <a:cubicBezTo>
                  <a:pt x="705110" y="681522"/>
                  <a:pt x="681484" y="705149"/>
                  <a:pt x="681484" y="734207"/>
                </a:cubicBezTo>
                <a:cubicBezTo>
                  <a:pt x="681484" y="763265"/>
                  <a:pt x="705111" y="786891"/>
                  <a:pt x="734169" y="786891"/>
                </a:cubicBezTo>
                <a:cubicBezTo>
                  <a:pt x="763227" y="786891"/>
                  <a:pt x="786854" y="763265"/>
                  <a:pt x="786854" y="734207"/>
                </a:cubicBezTo>
                <a:cubicBezTo>
                  <a:pt x="786854" y="705149"/>
                  <a:pt x="763227" y="681522"/>
                  <a:pt x="734169" y="681522"/>
                </a:cubicBezTo>
                <a:close/>
                <a:moveTo>
                  <a:pt x="734169" y="769331"/>
                </a:moveTo>
                <a:cubicBezTo>
                  <a:pt x="714784" y="769331"/>
                  <a:pt x="699046" y="753556"/>
                  <a:pt x="699046" y="734208"/>
                </a:cubicBezTo>
                <a:cubicBezTo>
                  <a:pt x="699046" y="714822"/>
                  <a:pt x="714821" y="699084"/>
                  <a:pt x="734169" y="699084"/>
                </a:cubicBezTo>
                <a:cubicBezTo>
                  <a:pt x="753554" y="699084"/>
                  <a:pt x="769292" y="714859"/>
                  <a:pt x="769292" y="734208"/>
                </a:cubicBezTo>
                <a:cubicBezTo>
                  <a:pt x="769330" y="753555"/>
                  <a:pt x="753554" y="769331"/>
                  <a:pt x="734169" y="769331"/>
                </a:cubicBezTo>
                <a:close/>
                <a:moveTo>
                  <a:pt x="238612" y="706898"/>
                </a:moveTo>
                <a:lnTo>
                  <a:pt x="226036" y="704628"/>
                </a:lnTo>
                <a:cubicBezTo>
                  <a:pt x="223952" y="697521"/>
                  <a:pt x="221087" y="690638"/>
                  <a:pt x="217553" y="684127"/>
                </a:cubicBezTo>
                <a:lnTo>
                  <a:pt x="224845" y="673597"/>
                </a:lnTo>
                <a:cubicBezTo>
                  <a:pt x="229087" y="667495"/>
                  <a:pt x="228343" y="659236"/>
                  <a:pt x="223097" y="653952"/>
                </a:cubicBezTo>
                <a:lnTo>
                  <a:pt x="205907" y="636762"/>
                </a:lnTo>
                <a:cubicBezTo>
                  <a:pt x="200661" y="631516"/>
                  <a:pt x="192400" y="630772"/>
                  <a:pt x="186262" y="634976"/>
                </a:cubicBezTo>
                <a:lnTo>
                  <a:pt x="175732" y="642269"/>
                </a:lnTo>
                <a:cubicBezTo>
                  <a:pt x="169220" y="638697"/>
                  <a:pt x="162338" y="635869"/>
                  <a:pt x="155231" y="633786"/>
                </a:cubicBezTo>
                <a:lnTo>
                  <a:pt x="152961" y="621210"/>
                </a:lnTo>
                <a:cubicBezTo>
                  <a:pt x="151622" y="613880"/>
                  <a:pt x="145260" y="608560"/>
                  <a:pt x="137819" y="608560"/>
                </a:cubicBezTo>
                <a:lnTo>
                  <a:pt x="113522" y="608560"/>
                </a:lnTo>
                <a:cubicBezTo>
                  <a:pt x="106081" y="608560"/>
                  <a:pt x="99719" y="613880"/>
                  <a:pt x="98379" y="621210"/>
                </a:cubicBezTo>
                <a:lnTo>
                  <a:pt x="96110" y="633786"/>
                </a:lnTo>
                <a:cubicBezTo>
                  <a:pt x="89003" y="635869"/>
                  <a:pt x="82119" y="638734"/>
                  <a:pt x="75609" y="642269"/>
                </a:cubicBezTo>
                <a:lnTo>
                  <a:pt x="65079" y="634976"/>
                </a:lnTo>
                <a:cubicBezTo>
                  <a:pt x="58977" y="630735"/>
                  <a:pt x="50717" y="631479"/>
                  <a:pt x="45434" y="636725"/>
                </a:cubicBezTo>
                <a:lnTo>
                  <a:pt x="28244" y="653952"/>
                </a:lnTo>
                <a:cubicBezTo>
                  <a:pt x="22998" y="659198"/>
                  <a:pt x="22254" y="667458"/>
                  <a:pt x="26458" y="673597"/>
                </a:cubicBezTo>
                <a:lnTo>
                  <a:pt x="33751" y="684090"/>
                </a:lnTo>
                <a:cubicBezTo>
                  <a:pt x="30179" y="690601"/>
                  <a:pt x="27351" y="697484"/>
                  <a:pt x="25268" y="704591"/>
                </a:cubicBezTo>
                <a:lnTo>
                  <a:pt x="12692" y="706860"/>
                </a:lnTo>
                <a:cubicBezTo>
                  <a:pt x="5362" y="708200"/>
                  <a:pt x="42" y="714562"/>
                  <a:pt x="42" y="722003"/>
                </a:cubicBezTo>
                <a:lnTo>
                  <a:pt x="42" y="746299"/>
                </a:lnTo>
                <a:cubicBezTo>
                  <a:pt x="42" y="753741"/>
                  <a:pt x="5362" y="760103"/>
                  <a:pt x="12692" y="761442"/>
                </a:cubicBezTo>
                <a:lnTo>
                  <a:pt x="25268" y="763712"/>
                </a:lnTo>
                <a:cubicBezTo>
                  <a:pt x="27351" y="770818"/>
                  <a:pt x="30216" y="777702"/>
                  <a:pt x="33751" y="784213"/>
                </a:cubicBezTo>
                <a:lnTo>
                  <a:pt x="26458" y="794780"/>
                </a:lnTo>
                <a:cubicBezTo>
                  <a:pt x="22217" y="800919"/>
                  <a:pt x="22961" y="809141"/>
                  <a:pt x="28244" y="814425"/>
                </a:cubicBezTo>
                <a:lnTo>
                  <a:pt x="45434" y="831615"/>
                </a:lnTo>
                <a:cubicBezTo>
                  <a:pt x="50680" y="836898"/>
                  <a:pt x="58940" y="837605"/>
                  <a:pt x="65079" y="833401"/>
                </a:cubicBezTo>
                <a:lnTo>
                  <a:pt x="75609" y="826108"/>
                </a:lnTo>
                <a:cubicBezTo>
                  <a:pt x="82120" y="829680"/>
                  <a:pt x="89003" y="832508"/>
                  <a:pt x="96110" y="834591"/>
                </a:cubicBezTo>
                <a:lnTo>
                  <a:pt x="98379" y="847167"/>
                </a:lnTo>
                <a:cubicBezTo>
                  <a:pt x="99719" y="854497"/>
                  <a:pt x="106081" y="859817"/>
                  <a:pt x="113522" y="859817"/>
                </a:cubicBezTo>
                <a:lnTo>
                  <a:pt x="137819" y="859817"/>
                </a:lnTo>
                <a:cubicBezTo>
                  <a:pt x="145260" y="859817"/>
                  <a:pt x="151622" y="854497"/>
                  <a:pt x="152961" y="847167"/>
                </a:cubicBezTo>
                <a:lnTo>
                  <a:pt x="155231" y="834591"/>
                </a:lnTo>
                <a:cubicBezTo>
                  <a:pt x="162338" y="832508"/>
                  <a:pt x="169221" y="829643"/>
                  <a:pt x="175732" y="826108"/>
                </a:cubicBezTo>
                <a:lnTo>
                  <a:pt x="186262" y="833401"/>
                </a:lnTo>
                <a:cubicBezTo>
                  <a:pt x="192363" y="837642"/>
                  <a:pt x="200623" y="836898"/>
                  <a:pt x="205907" y="831652"/>
                </a:cubicBezTo>
                <a:lnTo>
                  <a:pt x="223097" y="814462"/>
                </a:lnTo>
                <a:cubicBezTo>
                  <a:pt x="228343" y="809216"/>
                  <a:pt x="229087" y="800956"/>
                  <a:pt x="224845" y="794817"/>
                </a:cubicBezTo>
                <a:lnTo>
                  <a:pt x="217553" y="784287"/>
                </a:lnTo>
                <a:cubicBezTo>
                  <a:pt x="221125" y="777776"/>
                  <a:pt x="223952" y="770893"/>
                  <a:pt x="226036" y="763786"/>
                </a:cubicBezTo>
                <a:lnTo>
                  <a:pt x="238612" y="761517"/>
                </a:lnTo>
                <a:cubicBezTo>
                  <a:pt x="245942" y="760177"/>
                  <a:pt x="251262" y="753815"/>
                  <a:pt x="251262" y="746374"/>
                </a:cubicBezTo>
                <a:lnTo>
                  <a:pt x="251262" y="722077"/>
                </a:lnTo>
                <a:cubicBezTo>
                  <a:pt x="251225" y="714599"/>
                  <a:pt x="245941" y="708237"/>
                  <a:pt x="238612" y="706897"/>
                </a:cubicBezTo>
                <a:close/>
                <a:moveTo>
                  <a:pt x="233701" y="744551"/>
                </a:moveTo>
                <a:lnTo>
                  <a:pt x="221571" y="746746"/>
                </a:lnTo>
                <a:cubicBezTo>
                  <a:pt x="215730" y="747825"/>
                  <a:pt x="211116" y="752029"/>
                  <a:pt x="209517" y="757722"/>
                </a:cubicBezTo>
                <a:cubicBezTo>
                  <a:pt x="207656" y="764382"/>
                  <a:pt x="204977" y="770819"/>
                  <a:pt x="201591" y="776846"/>
                </a:cubicBezTo>
                <a:cubicBezTo>
                  <a:pt x="198689" y="782018"/>
                  <a:pt x="198987" y="788268"/>
                  <a:pt x="202336" y="793142"/>
                </a:cubicBezTo>
                <a:lnTo>
                  <a:pt x="209368" y="803263"/>
                </a:lnTo>
                <a:lnTo>
                  <a:pt x="194745" y="817885"/>
                </a:lnTo>
                <a:lnTo>
                  <a:pt x="184588" y="810853"/>
                </a:lnTo>
                <a:cubicBezTo>
                  <a:pt x="179713" y="807467"/>
                  <a:pt x="173462" y="807170"/>
                  <a:pt x="168291" y="810109"/>
                </a:cubicBezTo>
                <a:cubicBezTo>
                  <a:pt x="162264" y="813495"/>
                  <a:pt x="155827" y="816174"/>
                  <a:pt x="149167" y="818034"/>
                </a:cubicBezTo>
                <a:cubicBezTo>
                  <a:pt x="143437" y="819634"/>
                  <a:pt x="139232" y="824248"/>
                  <a:pt x="138191" y="830089"/>
                </a:cubicBezTo>
                <a:lnTo>
                  <a:pt x="135996" y="842218"/>
                </a:lnTo>
                <a:lnTo>
                  <a:pt x="115309" y="842218"/>
                </a:lnTo>
                <a:lnTo>
                  <a:pt x="113113" y="830089"/>
                </a:lnTo>
                <a:cubicBezTo>
                  <a:pt x="112072" y="824248"/>
                  <a:pt x="107830" y="819633"/>
                  <a:pt x="102138" y="818034"/>
                </a:cubicBezTo>
                <a:cubicBezTo>
                  <a:pt x="95478" y="816174"/>
                  <a:pt x="89041" y="813495"/>
                  <a:pt x="83013" y="810109"/>
                </a:cubicBezTo>
                <a:cubicBezTo>
                  <a:pt x="77842" y="807207"/>
                  <a:pt x="71591" y="807505"/>
                  <a:pt x="66717" y="810853"/>
                </a:cubicBezTo>
                <a:lnTo>
                  <a:pt x="56597" y="817885"/>
                </a:lnTo>
                <a:lnTo>
                  <a:pt x="41974" y="803263"/>
                </a:lnTo>
                <a:lnTo>
                  <a:pt x="49006" y="793142"/>
                </a:lnTo>
                <a:cubicBezTo>
                  <a:pt x="52392" y="788268"/>
                  <a:pt x="52690" y="782017"/>
                  <a:pt x="49750" y="776846"/>
                </a:cubicBezTo>
                <a:cubicBezTo>
                  <a:pt x="46364" y="770818"/>
                  <a:pt x="43686" y="764382"/>
                  <a:pt x="41825" y="757722"/>
                </a:cubicBezTo>
                <a:cubicBezTo>
                  <a:pt x="40225" y="751992"/>
                  <a:pt x="35612" y="747787"/>
                  <a:pt x="29770" y="746746"/>
                </a:cubicBezTo>
                <a:lnTo>
                  <a:pt x="17641" y="744551"/>
                </a:lnTo>
                <a:lnTo>
                  <a:pt x="17641" y="723863"/>
                </a:lnTo>
                <a:lnTo>
                  <a:pt x="29770" y="721668"/>
                </a:lnTo>
                <a:cubicBezTo>
                  <a:pt x="35612" y="720589"/>
                  <a:pt x="40226" y="716385"/>
                  <a:pt x="41825" y="710693"/>
                </a:cubicBezTo>
                <a:cubicBezTo>
                  <a:pt x="43686" y="704033"/>
                  <a:pt x="46364" y="697596"/>
                  <a:pt x="49750" y="691568"/>
                </a:cubicBezTo>
                <a:cubicBezTo>
                  <a:pt x="52652" y="686397"/>
                  <a:pt x="52355" y="680146"/>
                  <a:pt x="49006" y="675272"/>
                </a:cubicBezTo>
                <a:lnTo>
                  <a:pt x="41900" y="665114"/>
                </a:lnTo>
                <a:lnTo>
                  <a:pt x="56522" y="650492"/>
                </a:lnTo>
                <a:lnTo>
                  <a:pt x="66643" y="657524"/>
                </a:lnTo>
                <a:cubicBezTo>
                  <a:pt x="71517" y="660910"/>
                  <a:pt x="77768" y="661207"/>
                  <a:pt x="82939" y="658268"/>
                </a:cubicBezTo>
                <a:cubicBezTo>
                  <a:pt x="88967" y="654882"/>
                  <a:pt x="95404" y="652203"/>
                  <a:pt x="102063" y="650343"/>
                </a:cubicBezTo>
                <a:cubicBezTo>
                  <a:pt x="107793" y="648743"/>
                  <a:pt x="111998" y="644129"/>
                  <a:pt x="113039" y="638288"/>
                </a:cubicBezTo>
                <a:lnTo>
                  <a:pt x="115234" y="626159"/>
                </a:lnTo>
                <a:lnTo>
                  <a:pt x="135922" y="626159"/>
                </a:lnTo>
                <a:lnTo>
                  <a:pt x="138117" y="638288"/>
                </a:lnTo>
                <a:cubicBezTo>
                  <a:pt x="139196" y="644130"/>
                  <a:pt x="143400" y="648744"/>
                  <a:pt x="149093" y="650343"/>
                </a:cubicBezTo>
                <a:cubicBezTo>
                  <a:pt x="155753" y="652203"/>
                  <a:pt x="162189" y="654882"/>
                  <a:pt x="168217" y="658268"/>
                </a:cubicBezTo>
                <a:cubicBezTo>
                  <a:pt x="173389" y="661170"/>
                  <a:pt x="179639" y="660872"/>
                  <a:pt x="184513" y="657524"/>
                </a:cubicBezTo>
                <a:lnTo>
                  <a:pt x="194633" y="650492"/>
                </a:lnTo>
                <a:lnTo>
                  <a:pt x="209256" y="665114"/>
                </a:lnTo>
                <a:lnTo>
                  <a:pt x="202224" y="675235"/>
                </a:lnTo>
                <a:cubicBezTo>
                  <a:pt x="198838" y="680109"/>
                  <a:pt x="198541" y="686360"/>
                  <a:pt x="201443" y="691531"/>
                </a:cubicBezTo>
                <a:cubicBezTo>
                  <a:pt x="204829" y="697559"/>
                  <a:pt x="207508" y="703996"/>
                  <a:pt x="209368" y="710655"/>
                </a:cubicBezTo>
                <a:cubicBezTo>
                  <a:pt x="210968" y="716385"/>
                  <a:pt x="215581" y="720590"/>
                  <a:pt x="221423" y="721631"/>
                </a:cubicBezTo>
                <a:lnTo>
                  <a:pt x="233552" y="723826"/>
                </a:lnTo>
                <a:close/>
                <a:moveTo>
                  <a:pt x="125649" y="681522"/>
                </a:moveTo>
                <a:cubicBezTo>
                  <a:pt x="96590" y="681522"/>
                  <a:pt x="72964" y="705149"/>
                  <a:pt x="72964" y="734207"/>
                </a:cubicBezTo>
                <a:cubicBezTo>
                  <a:pt x="72964" y="763265"/>
                  <a:pt x="96591" y="786891"/>
                  <a:pt x="125649" y="786891"/>
                </a:cubicBezTo>
                <a:cubicBezTo>
                  <a:pt x="154708" y="786891"/>
                  <a:pt x="178334" y="763265"/>
                  <a:pt x="178334" y="734207"/>
                </a:cubicBezTo>
                <a:cubicBezTo>
                  <a:pt x="178296" y="705148"/>
                  <a:pt x="154670" y="681522"/>
                  <a:pt x="125649" y="681522"/>
                </a:cubicBezTo>
                <a:close/>
                <a:moveTo>
                  <a:pt x="125649" y="769331"/>
                </a:moveTo>
                <a:cubicBezTo>
                  <a:pt x="106264" y="769331"/>
                  <a:pt x="90526" y="753556"/>
                  <a:pt x="90526" y="734208"/>
                </a:cubicBezTo>
                <a:cubicBezTo>
                  <a:pt x="90526" y="714822"/>
                  <a:pt x="106301" y="699084"/>
                  <a:pt x="125649" y="699084"/>
                </a:cubicBezTo>
                <a:cubicBezTo>
                  <a:pt x="145034" y="699084"/>
                  <a:pt x="160772" y="714859"/>
                  <a:pt x="160772" y="734208"/>
                </a:cubicBezTo>
                <a:cubicBezTo>
                  <a:pt x="160772" y="753556"/>
                  <a:pt x="144997" y="769331"/>
                  <a:pt x="125649" y="769331"/>
                </a:cubicBezTo>
                <a:close/>
                <a:moveTo>
                  <a:pt x="284155" y="123860"/>
                </a:moveTo>
                <a:cubicBezTo>
                  <a:pt x="282183" y="119432"/>
                  <a:pt x="284155" y="114261"/>
                  <a:pt x="288582" y="112289"/>
                </a:cubicBezTo>
                <a:cubicBezTo>
                  <a:pt x="333193" y="92421"/>
                  <a:pt x="380744" y="82338"/>
                  <a:pt x="429895" y="82338"/>
                </a:cubicBezTo>
                <a:cubicBezTo>
                  <a:pt x="471753" y="82338"/>
                  <a:pt x="512495" y="89667"/>
                  <a:pt x="551263" y="104104"/>
                </a:cubicBezTo>
                <a:lnTo>
                  <a:pt x="537496" y="71622"/>
                </a:lnTo>
                <a:cubicBezTo>
                  <a:pt x="535599" y="67157"/>
                  <a:pt x="537682" y="62023"/>
                  <a:pt x="542147" y="60125"/>
                </a:cubicBezTo>
                <a:cubicBezTo>
                  <a:pt x="546612" y="58228"/>
                  <a:pt x="551746" y="60311"/>
                  <a:pt x="553644" y="64776"/>
                </a:cubicBezTo>
                <a:lnTo>
                  <a:pt x="575707" y="116866"/>
                </a:lnTo>
                <a:cubicBezTo>
                  <a:pt x="576600" y="119024"/>
                  <a:pt x="576637" y="121443"/>
                  <a:pt x="575744" y="123564"/>
                </a:cubicBezTo>
                <a:cubicBezTo>
                  <a:pt x="574889" y="125722"/>
                  <a:pt x="573177" y="127433"/>
                  <a:pt x="571019" y="128363"/>
                </a:cubicBezTo>
                <a:lnTo>
                  <a:pt x="518929" y="150427"/>
                </a:lnTo>
                <a:cubicBezTo>
                  <a:pt x="517813" y="150911"/>
                  <a:pt x="516659" y="151134"/>
                  <a:pt x="515506" y="151134"/>
                </a:cubicBezTo>
                <a:cubicBezTo>
                  <a:pt x="512083" y="151134"/>
                  <a:pt x="508846" y="149125"/>
                  <a:pt x="507432" y="145776"/>
                </a:cubicBezTo>
                <a:cubicBezTo>
                  <a:pt x="505534" y="141311"/>
                  <a:pt x="507618" y="136177"/>
                  <a:pt x="512083" y="134280"/>
                </a:cubicBezTo>
                <a:lnTo>
                  <a:pt x="544751" y="120439"/>
                </a:lnTo>
                <a:cubicBezTo>
                  <a:pt x="508064" y="106784"/>
                  <a:pt x="469444" y="99863"/>
                  <a:pt x="429822" y="99863"/>
                </a:cubicBezTo>
                <a:cubicBezTo>
                  <a:pt x="383128" y="99863"/>
                  <a:pt x="337995" y="109425"/>
                  <a:pt x="295653" y="128289"/>
                </a:cubicBezTo>
                <a:cubicBezTo>
                  <a:pt x="291300" y="130261"/>
                  <a:pt x="286128" y="128289"/>
                  <a:pt x="284156" y="123862"/>
                </a:cubicBezTo>
                <a:close/>
                <a:moveTo>
                  <a:pt x="120439" y="314989"/>
                </a:moveTo>
                <a:cubicBezTo>
                  <a:pt x="106784" y="351675"/>
                  <a:pt x="99863" y="390295"/>
                  <a:pt x="99863" y="429917"/>
                </a:cubicBezTo>
                <a:cubicBezTo>
                  <a:pt x="99863" y="476612"/>
                  <a:pt x="109425" y="521744"/>
                  <a:pt x="128289" y="564086"/>
                </a:cubicBezTo>
                <a:cubicBezTo>
                  <a:pt x="130261" y="568514"/>
                  <a:pt x="128289" y="573686"/>
                  <a:pt x="123862" y="575657"/>
                </a:cubicBezTo>
                <a:cubicBezTo>
                  <a:pt x="122708" y="576178"/>
                  <a:pt x="121480" y="576401"/>
                  <a:pt x="120290" y="576401"/>
                </a:cubicBezTo>
                <a:cubicBezTo>
                  <a:pt x="116941" y="576401"/>
                  <a:pt x="113741" y="574467"/>
                  <a:pt x="112253" y="571192"/>
                </a:cubicBezTo>
                <a:cubicBezTo>
                  <a:pt x="92385" y="526581"/>
                  <a:pt x="82302" y="479030"/>
                  <a:pt x="82302" y="429879"/>
                </a:cubicBezTo>
                <a:cubicBezTo>
                  <a:pt x="82302" y="388059"/>
                  <a:pt x="89631" y="347280"/>
                  <a:pt x="104105" y="308512"/>
                </a:cubicBezTo>
                <a:lnTo>
                  <a:pt x="71623" y="322278"/>
                </a:lnTo>
                <a:cubicBezTo>
                  <a:pt x="67158" y="324176"/>
                  <a:pt x="62024" y="322092"/>
                  <a:pt x="60127" y="317628"/>
                </a:cubicBezTo>
                <a:cubicBezTo>
                  <a:pt x="58229" y="313163"/>
                  <a:pt x="60313" y="308028"/>
                  <a:pt x="64777" y="306131"/>
                </a:cubicBezTo>
                <a:lnTo>
                  <a:pt x="116868" y="284067"/>
                </a:lnTo>
                <a:cubicBezTo>
                  <a:pt x="121333" y="282170"/>
                  <a:pt x="126467" y="284253"/>
                  <a:pt x="128364" y="288718"/>
                </a:cubicBezTo>
                <a:lnTo>
                  <a:pt x="150428" y="340808"/>
                </a:lnTo>
                <a:cubicBezTo>
                  <a:pt x="152326" y="345273"/>
                  <a:pt x="150242" y="350408"/>
                  <a:pt x="145777" y="352305"/>
                </a:cubicBezTo>
                <a:cubicBezTo>
                  <a:pt x="141312" y="354202"/>
                  <a:pt x="136178" y="352119"/>
                  <a:pt x="134281" y="347654"/>
                </a:cubicBezTo>
                <a:close/>
                <a:moveTo>
                  <a:pt x="739411" y="544817"/>
                </a:moveTo>
                <a:cubicBezTo>
                  <a:pt x="753066" y="508131"/>
                  <a:pt x="759987" y="469548"/>
                  <a:pt x="759987" y="429889"/>
                </a:cubicBezTo>
                <a:cubicBezTo>
                  <a:pt x="759987" y="383194"/>
                  <a:pt x="750425" y="338025"/>
                  <a:pt x="731561" y="295719"/>
                </a:cubicBezTo>
                <a:cubicBezTo>
                  <a:pt x="729589" y="291292"/>
                  <a:pt x="731561" y="286120"/>
                  <a:pt x="735988" y="284148"/>
                </a:cubicBezTo>
                <a:cubicBezTo>
                  <a:pt x="740416" y="282177"/>
                  <a:pt x="745588" y="284148"/>
                  <a:pt x="747559" y="288576"/>
                </a:cubicBezTo>
                <a:cubicBezTo>
                  <a:pt x="767428" y="333150"/>
                  <a:pt x="777511" y="380701"/>
                  <a:pt x="777511" y="429889"/>
                </a:cubicBezTo>
                <a:cubicBezTo>
                  <a:pt x="777511" y="471747"/>
                  <a:pt x="770181" y="512489"/>
                  <a:pt x="755707" y="551257"/>
                </a:cubicBezTo>
                <a:lnTo>
                  <a:pt x="788189" y="537490"/>
                </a:lnTo>
                <a:cubicBezTo>
                  <a:pt x="792654" y="535592"/>
                  <a:pt x="797789" y="537676"/>
                  <a:pt x="799686" y="542141"/>
                </a:cubicBezTo>
                <a:cubicBezTo>
                  <a:pt x="801583" y="546606"/>
                  <a:pt x="799500" y="551740"/>
                  <a:pt x="795035" y="553638"/>
                </a:cubicBezTo>
                <a:lnTo>
                  <a:pt x="742945" y="575701"/>
                </a:lnTo>
                <a:cubicBezTo>
                  <a:pt x="741829" y="576185"/>
                  <a:pt x="740675" y="576408"/>
                  <a:pt x="739522" y="576408"/>
                </a:cubicBezTo>
                <a:cubicBezTo>
                  <a:pt x="736099" y="576408"/>
                  <a:pt x="732862" y="574399"/>
                  <a:pt x="731448" y="571050"/>
                </a:cubicBezTo>
                <a:lnTo>
                  <a:pt x="709384" y="518960"/>
                </a:lnTo>
                <a:cubicBezTo>
                  <a:pt x="707486" y="514495"/>
                  <a:pt x="709570" y="509361"/>
                  <a:pt x="714035" y="507463"/>
                </a:cubicBezTo>
                <a:cubicBezTo>
                  <a:pt x="718500" y="505566"/>
                  <a:pt x="723634" y="507649"/>
                  <a:pt x="725532" y="512114"/>
                </a:cubicBezTo>
                <a:close/>
                <a:moveTo>
                  <a:pt x="575667" y="735946"/>
                </a:moveTo>
                <a:cubicBezTo>
                  <a:pt x="577639" y="740374"/>
                  <a:pt x="575667" y="745545"/>
                  <a:pt x="571240" y="747517"/>
                </a:cubicBezTo>
                <a:cubicBezTo>
                  <a:pt x="526628" y="767385"/>
                  <a:pt x="479078" y="777468"/>
                  <a:pt x="429927" y="777468"/>
                </a:cubicBezTo>
                <a:cubicBezTo>
                  <a:pt x="388069" y="777468"/>
                  <a:pt x="347327" y="770139"/>
                  <a:pt x="308559" y="755665"/>
                </a:cubicBezTo>
                <a:lnTo>
                  <a:pt x="322326" y="788147"/>
                </a:lnTo>
                <a:cubicBezTo>
                  <a:pt x="324223" y="792612"/>
                  <a:pt x="322140" y="797746"/>
                  <a:pt x="317675" y="799643"/>
                </a:cubicBezTo>
                <a:cubicBezTo>
                  <a:pt x="316558" y="800127"/>
                  <a:pt x="315405" y="800350"/>
                  <a:pt x="314252" y="800350"/>
                </a:cubicBezTo>
                <a:cubicBezTo>
                  <a:pt x="310829" y="800350"/>
                  <a:pt x="307592" y="798341"/>
                  <a:pt x="306178" y="794993"/>
                </a:cubicBezTo>
                <a:lnTo>
                  <a:pt x="284114" y="742902"/>
                </a:lnTo>
                <a:cubicBezTo>
                  <a:pt x="282216" y="738437"/>
                  <a:pt x="284300" y="733303"/>
                  <a:pt x="288765" y="731406"/>
                </a:cubicBezTo>
                <a:lnTo>
                  <a:pt x="340855" y="709342"/>
                </a:lnTo>
                <a:cubicBezTo>
                  <a:pt x="345320" y="707444"/>
                  <a:pt x="350454" y="709528"/>
                  <a:pt x="352352" y="713993"/>
                </a:cubicBezTo>
                <a:cubicBezTo>
                  <a:pt x="354249" y="718457"/>
                  <a:pt x="352166" y="723592"/>
                  <a:pt x="347701" y="725489"/>
                </a:cubicBezTo>
                <a:lnTo>
                  <a:pt x="315033" y="739330"/>
                </a:lnTo>
                <a:cubicBezTo>
                  <a:pt x="351720" y="752985"/>
                  <a:pt x="390340" y="759906"/>
                  <a:pt x="429962" y="759906"/>
                </a:cubicBezTo>
                <a:cubicBezTo>
                  <a:pt x="476656" y="759906"/>
                  <a:pt x="521788" y="750344"/>
                  <a:pt x="564131" y="731480"/>
                </a:cubicBezTo>
                <a:cubicBezTo>
                  <a:pt x="568521" y="729545"/>
                  <a:pt x="573693" y="731554"/>
                  <a:pt x="575665" y="735945"/>
                </a:cubicBezTo>
                <a:close/>
                <a:moveTo>
                  <a:pt x="278982" y="266582"/>
                </a:moveTo>
                <a:lnTo>
                  <a:pt x="278424" y="244221"/>
                </a:lnTo>
                <a:cubicBezTo>
                  <a:pt x="278313" y="239384"/>
                  <a:pt x="282145" y="235365"/>
                  <a:pt x="286982" y="235217"/>
                </a:cubicBezTo>
                <a:cubicBezTo>
                  <a:pt x="291893" y="235031"/>
                  <a:pt x="295837" y="238937"/>
                  <a:pt x="295986" y="243774"/>
                </a:cubicBezTo>
                <a:lnTo>
                  <a:pt x="297102" y="288087"/>
                </a:lnTo>
                <a:cubicBezTo>
                  <a:pt x="297214" y="292924"/>
                  <a:pt x="293382" y="296943"/>
                  <a:pt x="288545" y="297091"/>
                </a:cubicBezTo>
                <a:lnTo>
                  <a:pt x="244231" y="298208"/>
                </a:lnTo>
                <a:lnTo>
                  <a:pt x="244008" y="298208"/>
                </a:lnTo>
                <a:cubicBezTo>
                  <a:pt x="239283" y="298208"/>
                  <a:pt x="235376" y="294413"/>
                  <a:pt x="235227" y="289650"/>
                </a:cubicBezTo>
                <a:cubicBezTo>
                  <a:pt x="235116" y="284813"/>
                  <a:pt x="238948" y="280795"/>
                  <a:pt x="243785" y="280646"/>
                </a:cubicBezTo>
                <a:lnTo>
                  <a:pt x="267635" y="280051"/>
                </a:lnTo>
                <a:lnTo>
                  <a:pt x="233181" y="245597"/>
                </a:lnTo>
                <a:cubicBezTo>
                  <a:pt x="229758" y="242174"/>
                  <a:pt x="229758" y="236630"/>
                  <a:pt x="233181" y="233207"/>
                </a:cubicBezTo>
                <a:cubicBezTo>
                  <a:pt x="236604" y="229783"/>
                  <a:pt x="242148" y="229784"/>
                  <a:pt x="245571" y="233207"/>
                </a:cubicBezTo>
                <a:close/>
                <a:moveTo>
                  <a:pt x="289438" y="624589"/>
                </a:moveTo>
                <a:cubicBezTo>
                  <a:pt x="284713" y="624589"/>
                  <a:pt x="280806" y="620794"/>
                  <a:pt x="280657" y="616031"/>
                </a:cubicBezTo>
                <a:lnTo>
                  <a:pt x="280062" y="592182"/>
                </a:lnTo>
                <a:lnTo>
                  <a:pt x="245608" y="626636"/>
                </a:lnTo>
                <a:cubicBezTo>
                  <a:pt x="243896" y="628347"/>
                  <a:pt x="241664" y="629203"/>
                  <a:pt x="239394" y="629203"/>
                </a:cubicBezTo>
                <a:cubicBezTo>
                  <a:pt x="237162" y="629203"/>
                  <a:pt x="234892" y="628347"/>
                  <a:pt x="233181" y="626636"/>
                </a:cubicBezTo>
                <a:cubicBezTo>
                  <a:pt x="229758" y="623213"/>
                  <a:pt x="229758" y="617669"/>
                  <a:pt x="233181" y="614246"/>
                </a:cubicBezTo>
                <a:lnTo>
                  <a:pt x="266556" y="580871"/>
                </a:lnTo>
                <a:lnTo>
                  <a:pt x="244194" y="581429"/>
                </a:lnTo>
                <a:lnTo>
                  <a:pt x="243970" y="581429"/>
                </a:lnTo>
                <a:cubicBezTo>
                  <a:pt x="239245" y="581429"/>
                  <a:pt x="235338" y="577634"/>
                  <a:pt x="235190" y="572871"/>
                </a:cubicBezTo>
                <a:cubicBezTo>
                  <a:pt x="235078" y="568034"/>
                  <a:pt x="238910" y="564016"/>
                  <a:pt x="243747" y="563867"/>
                </a:cubicBezTo>
                <a:lnTo>
                  <a:pt x="288060" y="562751"/>
                </a:lnTo>
                <a:cubicBezTo>
                  <a:pt x="292972" y="562602"/>
                  <a:pt x="296916" y="566472"/>
                  <a:pt x="297064" y="571309"/>
                </a:cubicBezTo>
                <a:lnTo>
                  <a:pt x="298181" y="615622"/>
                </a:lnTo>
                <a:cubicBezTo>
                  <a:pt x="298292" y="620459"/>
                  <a:pt x="294460" y="624477"/>
                  <a:pt x="289623" y="624626"/>
                </a:cubicBezTo>
                <a:cubicBezTo>
                  <a:pt x="289586" y="624589"/>
                  <a:pt x="289511" y="624589"/>
                  <a:pt x="289437" y="624589"/>
                </a:cubicBezTo>
                <a:close/>
                <a:moveTo>
                  <a:pt x="580846" y="593223"/>
                </a:moveTo>
                <a:lnTo>
                  <a:pt x="581404" y="615585"/>
                </a:lnTo>
                <a:cubicBezTo>
                  <a:pt x="581516" y="620422"/>
                  <a:pt x="577683" y="624440"/>
                  <a:pt x="572846" y="624589"/>
                </a:cubicBezTo>
                <a:lnTo>
                  <a:pt x="572623" y="624589"/>
                </a:lnTo>
                <a:cubicBezTo>
                  <a:pt x="567861" y="624589"/>
                  <a:pt x="563991" y="620794"/>
                  <a:pt x="563842" y="616032"/>
                </a:cubicBezTo>
                <a:lnTo>
                  <a:pt x="562726" y="571718"/>
                </a:lnTo>
                <a:cubicBezTo>
                  <a:pt x="562614" y="566882"/>
                  <a:pt x="566447" y="562863"/>
                  <a:pt x="571284" y="562714"/>
                </a:cubicBezTo>
                <a:lnTo>
                  <a:pt x="615597" y="561598"/>
                </a:lnTo>
                <a:lnTo>
                  <a:pt x="615820" y="561598"/>
                </a:lnTo>
                <a:cubicBezTo>
                  <a:pt x="620545" y="561598"/>
                  <a:pt x="624452" y="565393"/>
                  <a:pt x="624601" y="570156"/>
                </a:cubicBezTo>
                <a:cubicBezTo>
                  <a:pt x="624713" y="574993"/>
                  <a:pt x="620880" y="579011"/>
                  <a:pt x="616043" y="579160"/>
                </a:cubicBezTo>
                <a:lnTo>
                  <a:pt x="592194" y="579755"/>
                </a:lnTo>
                <a:lnTo>
                  <a:pt x="626647" y="614209"/>
                </a:lnTo>
                <a:cubicBezTo>
                  <a:pt x="630071" y="617632"/>
                  <a:pt x="630071" y="623176"/>
                  <a:pt x="626647" y="626599"/>
                </a:cubicBezTo>
                <a:cubicBezTo>
                  <a:pt x="624936" y="628311"/>
                  <a:pt x="622704" y="629166"/>
                  <a:pt x="620434" y="629166"/>
                </a:cubicBezTo>
                <a:cubicBezTo>
                  <a:pt x="618201" y="629166"/>
                  <a:pt x="615932" y="628311"/>
                  <a:pt x="614220" y="626599"/>
                </a:cubicBezTo>
                <a:close/>
                <a:moveTo>
                  <a:pt x="570390" y="235217"/>
                </a:moveTo>
                <a:cubicBezTo>
                  <a:pt x="575116" y="235217"/>
                  <a:pt x="579022" y="239012"/>
                  <a:pt x="579171" y="243774"/>
                </a:cubicBezTo>
                <a:lnTo>
                  <a:pt x="579766" y="267624"/>
                </a:lnTo>
                <a:lnTo>
                  <a:pt x="614220" y="233170"/>
                </a:lnTo>
                <a:cubicBezTo>
                  <a:pt x="617643" y="229747"/>
                  <a:pt x="623187" y="229747"/>
                  <a:pt x="626610" y="233170"/>
                </a:cubicBezTo>
                <a:cubicBezTo>
                  <a:pt x="630034" y="236593"/>
                  <a:pt x="630034" y="242137"/>
                  <a:pt x="626610" y="245560"/>
                </a:cubicBezTo>
                <a:lnTo>
                  <a:pt x="593236" y="278935"/>
                </a:lnTo>
                <a:lnTo>
                  <a:pt x="615598" y="278377"/>
                </a:lnTo>
                <a:lnTo>
                  <a:pt x="615821" y="278377"/>
                </a:lnTo>
                <a:cubicBezTo>
                  <a:pt x="620546" y="278377"/>
                  <a:pt x="624453" y="282172"/>
                  <a:pt x="624602" y="286934"/>
                </a:cubicBezTo>
                <a:cubicBezTo>
                  <a:pt x="624713" y="291771"/>
                  <a:pt x="620881" y="295790"/>
                  <a:pt x="616044" y="295939"/>
                </a:cubicBezTo>
                <a:lnTo>
                  <a:pt x="571731" y="297055"/>
                </a:lnTo>
                <a:lnTo>
                  <a:pt x="571508" y="297055"/>
                </a:lnTo>
                <a:cubicBezTo>
                  <a:pt x="566782" y="297055"/>
                  <a:pt x="562876" y="293260"/>
                  <a:pt x="562727" y="288497"/>
                </a:cubicBezTo>
                <a:lnTo>
                  <a:pt x="561611" y="244184"/>
                </a:lnTo>
                <a:cubicBezTo>
                  <a:pt x="561499" y="239347"/>
                  <a:pt x="565331" y="235329"/>
                  <a:pt x="570168" y="235180"/>
                </a:cubicBezTo>
                <a:cubicBezTo>
                  <a:pt x="570243" y="235217"/>
                  <a:pt x="570317" y="235217"/>
                  <a:pt x="570391" y="235217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23FF215-4DBB-49DD-8A26-984F49915ECA}"/>
              </a:ext>
            </a:extLst>
          </p:cNvPr>
          <p:cNvSpPr txBox="1"/>
          <p:nvPr/>
        </p:nvSpPr>
        <p:spPr>
          <a:xfrm>
            <a:off x="9057515" y="0"/>
            <a:ext cx="1688496" cy="27699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 Medium"/>
              </a:rPr>
              <a:t>NON-EXHAUSTIV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5DDD57-C624-7F6B-FC4D-BE89FA758618}"/>
              </a:ext>
            </a:extLst>
          </p:cNvPr>
          <p:cNvSpPr txBox="1"/>
          <p:nvPr/>
        </p:nvSpPr>
        <p:spPr>
          <a:xfrm>
            <a:off x="7260613" y="0"/>
            <a:ext cx="1688496" cy="276999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Arial"/>
                <a:sym typeface="Helvetica Neue Medium"/>
              </a:rPr>
              <a:t>PMI EXECUTION</a:t>
            </a:r>
            <a:endParaRPr kumimoji="0" lang="en-US" sz="120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415832545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4361E1-CA8B-E9ED-CB4C-F0287860E3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662FE802-A8D6-C86E-0AA7-C939856E6A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7289" y="1597051"/>
            <a:ext cx="2743200" cy="15430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5DF80C9C-F632-84DF-6FB9-1F1B1B65D9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60241" y="1597051"/>
            <a:ext cx="2743200" cy="154305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087A1D7-16A9-9B87-5CBE-64891D1F72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69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87A1D7-16A9-9B87-5CBE-64891D1F72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E0B996CC-FD91-65E6-7B13-666E22AAAA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PMI: </a:t>
            </a:r>
            <a:r>
              <a:rPr lang="en-US" dirty="0"/>
              <a:t>Deliverable examples</a:t>
            </a:r>
            <a:endParaRPr lang="en-A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32824E2-9581-B988-2408-E3AB6AC803C5}"/>
              </a:ext>
            </a:extLst>
          </p:cNvPr>
          <p:cNvSpPr txBox="1"/>
          <p:nvPr/>
        </p:nvSpPr>
        <p:spPr>
          <a:xfrm>
            <a:off x="3762081" y="1332295"/>
            <a:ext cx="8229600" cy="2308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45720" rtlCol="0" anchor="b">
            <a:no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Workstreams &amp; Coordinated Integr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3160EC0-9717-A5E7-9EE4-8E4160C20133}"/>
              </a:ext>
            </a:extLst>
          </p:cNvPr>
          <p:cNvSpPr txBox="1"/>
          <p:nvPr/>
        </p:nvSpPr>
        <p:spPr>
          <a:xfrm>
            <a:off x="426720" y="860582"/>
            <a:ext cx="11567160" cy="33855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anchor="ctr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Objective</a:t>
            </a:r>
            <a:r>
              <a:rPr lang="en-US" sz="1600" dirty="0">
                <a:solidFill>
                  <a:schemeClr val="bg1"/>
                </a:solidFill>
              </a:rPr>
              <a:t>: Drive integration execution and impact from Day 1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2CD963A-A22B-02AB-B45E-902426005A68}"/>
              </a:ext>
            </a:extLst>
          </p:cNvPr>
          <p:cNvSpPr txBox="1"/>
          <p:nvPr/>
        </p:nvSpPr>
        <p:spPr>
          <a:xfrm>
            <a:off x="450703" y="2037295"/>
            <a:ext cx="3136261" cy="3666768"/>
          </a:xfrm>
          <a:prstGeom prst="rect">
            <a:avLst/>
          </a:prstGeom>
        </p:spPr>
        <p:txBody>
          <a:bodyPr wrap="square" lIns="0" rIns="0" rtlCol="0">
            <a:noAutofit/>
          </a:bodyPr>
          <a:lstStyle>
            <a:defPPr>
              <a:defRPr lang="en-US"/>
            </a:defPPr>
            <a:lvl1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200" b="1" i="0" u="none" strike="noStrike">
                <a:solidFill>
                  <a:srgbClr val="000000"/>
                </a:solidFill>
                <a:effectLst/>
              </a:defRPr>
            </a:lvl1pPr>
            <a:lvl2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  <a:defRPr sz="1200" i="0" u="none" strike="noStrike">
                <a:solidFill>
                  <a:srgbClr val="000000"/>
                </a:solidFill>
                <a:effectLst/>
              </a:defRPr>
            </a:lvl2pPr>
          </a:lstStyle>
          <a:p>
            <a:r>
              <a:rPr lang="en-US" dirty="0">
                <a:solidFill>
                  <a:schemeClr val="tx2"/>
                </a:solidFill>
              </a:rPr>
              <a:t>Workstream launch</a:t>
            </a:r>
          </a:p>
          <a:p>
            <a:pPr marL="401638" lvl="1">
              <a:buFont typeface="Courier New" panose="02070309020205020404" pitchFamily="49" charset="0"/>
              <a:buChar char="o"/>
            </a:pPr>
            <a:r>
              <a:rPr lang="en-US" b="0" dirty="0"/>
              <a:t>Kickstarted cross-functional working teams aligned to integration priorities</a:t>
            </a:r>
            <a:endParaRPr lang="en-US" dirty="0"/>
          </a:p>
          <a:p>
            <a:r>
              <a:rPr lang="en-US" dirty="0">
                <a:solidFill>
                  <a:schemeClr val="tx2"/>
                </a:solidFill>
              </a:rPr>
              <a:t>Coordinated integration</a:t>
            </a:r>
          </a:p>
          <a:p>
            <a:pPr marL="401638" lvl="1">
              <a:buFont typeface="Courier New" panose="02070309020205020404" pitchFamily="49" charset="0"/>
              <a:buChar char="o"/>
            </a:pPr>
            <a:r>
              <a:rPr lang="en-US" b="0" dirty="0"/>
              <a:t>Facilitated joint planning workshops to align merged teams on objectives, roles, and systems</a:t>
            </a:r>
          </a:p>
          <a:p>
            <a:r>
              <a:rPr lang="en-US" dirty="0">
                <a:solidFill>
                  <a:schemeClr val="tx2"/>
                </a:solidFill>
              </a:rPr>
              <a:t>Best practices &amp; quick wins</a:t>
            </a:r>
          </a:p>
          <a:p>
            <a:pPr marL="401638" lvl="1">
              <a:buFont typeface="Courier New" panose="02070309020205020404" pitchFamily="49" charset="0"/>
              <a:buChar char="o"/>
            </a:pPr>
            <a:r>
              <a:rPr lang="en-US" dirty="0"/>
              <a:t>Implemented leading practices from both legacy organizations to optimize efficiency</a:t>
            </a:r>
          </a:p>
          <a:p>
            <a:pPr marL="401638" lvl="1">
              <a:buFont typeface="Courier New" panose="02070309020205020404" pitchFamily="49" charset="0"/>
              <a:buChar char="o"/>
            </a:pPr>
            <a:r>
              <a:rPr lang="en-US" dirty="0"/>
              <a:t>Identified and fast-tracked synergy opportunities for immediate impact</a:t>
            </a:r>
          </a:p>
          <a:p>
            <a:pPr marL="0" indent="-227012"/>
            <a:r>
              <a:rPr lang="en-US" dirty="0">
                <a:solidFill>
                  <a:schemeClr val="tx2"/>
                </a:solidFill>
              </a:rPr>
              <a:t>Managed progress</a:t>
            </a:r>
          </a:p>
          <a:p>
            <a:pPr marL="401638" lvl="1">
              <a:buFont typeface="Courier New" panose="02070309020205020404" pitchFamily="49" charset="0"/>
              <a:buChar char="o"/>
            </a:pPr>
            <a:r>
              <a:rPr lang="en-US" dirty="0"/>
              <a:t>Identified potential roadblocks early via issue tracking and escalation protocols</a:t>
            </a:r>
          </a:p>
          <a:p>
            <a:pPr marL="401638" lvl="1">
              <a:buFont typeface="Courier New" panose="02070309020205020404" pitchFamily="49" charset="0"/>
              <a:buChar char="o"/>
            </a:pPr>
            <a:r>
              <a:rPr lang="en-US" dirty="0"/>
              <a:t>Tracked synergies and integration metrics, reporting results to leadership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E79748D-5892-04D9-A1F9-C85B70D59DA1}"/>
              </a:ext>
            </a:extLst>
          </p:cNvPr>
          <p:cNvSpPr txBox="1"/>
          <p:nvPr/>
        </p:nvSpPr>
        <p:spPr>
          <a:xfrm>
            <a:off x="9248239" y="4360261"/>
            <a:ext cx="2743200" cy="2308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45720" rtlCol="0" anchor="b">
            <a:no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Progress Tracking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057A0B76-52D1-26F8-8BC7-9D57E1C842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60241" y="4625018"/>
            <a:ext cx="2743200" cy="15430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064522C1-BC88-961D-8A6B-4A50F193FDC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77814" y="4625018"/>
            <a:ext cx="2743200" cy="154305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50224539-12DF-2061-228E-00EBD4D3534D}"/>
              </a:ext>
            </a:extLst>
          </p:cNvPr>
          <p:cNvSpPr txBox="1"/>
          <p:nvPr/>
        </p:nvSpPr>
        <p:spPr>
          <a:xfrm>
            <a:off x="3670217" y="4360261"/>
            <a:ext cx="5486400" cy="2308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45720" rtlCol="0" anchor="b">
            <a:no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Best Practices/Quick Wins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F3E3EA48-EE62-4360-7749-3EF307C7153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77814" y="1597051"/>
            <a:ext cx="2743200" cy="15430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F270D84F-A154-15FD-D8D6-CFE7E1A70D9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64626" y="2712129"/>
            <a:ext cx="2745863" cy="154454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70B66C4-1C61-D0E1-4BE5-8A124E5E00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77814" y="2713627"/>
            <a:ext cx="2743200" cy="15430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59BD33D4-CF0F-DC3B-4C98-FE1C32F83E9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467289" y="4625018"/>
            <a:ext cx="2743200" cy="1543050"/>
          </a:xfrm>
          <a:prstGeom prst="rect">
            <a:avLst/>
          </a:prstGeom>
          <a:ln>
            <a:solidFill>
              <a:srgbClr val="1E2867"/>
            </a:solidFill>
          </a:ln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12755183-B1A0-138E-5A74-A4FA937797A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260241" y="2713627"/>
            <a:ext cx="2743200" cy="1543050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1C59428-68FD-A07B-FAC3-D3DAEC1C22D2}"/>
              </a:ext>
            </a:extLst>
          </p:cNvPr>
          <p:cNvCxnSpPr>
            <a:cxnSpLocks/>
          </p:cNvCxnSpPr>
          <p:nvPr/>
        </p:nvCxnSpPr>
        <p:spPr>
          <a:xfrm>
            <a:off x="3587713" y="1349268"/>
            <a:ext cx="0" cy="466344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06514A8C-A3D5-DD29-AC43-5CD5B831AA6C}"/>
              </a:ext>
            </a:extLst>
          </p:cNvPr>
          <p:cNvSpPr/>
          <p:nvPr/>
        </p:nvSpPr>
        <p:spPr bwMode="auto">
          <a:xfrm>
            <a:off x="6515109" y="4080826"/>
            <a:ext cx="285745" cy="13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E28F3B7-CD79-D820-6E77-A2E5E113D3A8}"/>
              </a:ext>
            </a:extLst>
          </p:cNvPr>
          <p:cNvSpPr/>
          <p:nvPr/>
        </p:nvSpPr>
        <p:spPr bwMode="auto">
          <a:xfrm>
            <a:off x="9291925" y="4080826"/>
            <a:ext cx="285745" cy="13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5B5AD1B-401F-3991-583E-20DE375430AA}"/>
              </a:ext>
            </a:extLst>
          </p:cNvPr>
          <p:cNvSpPr/>
          <p:nvPr/>
        </p:nvSpPr>
        <p:spPr bwMode="auto">
          <a:xfrm>
            <a:off x="6512251" y="5997418"/>
            <a:ext cx="285745" cy="13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2A6A05-F157-3F2B-EC71-744901807D85}"/>
              </a:ext>
            </a:extLst>
          </p:cNvPr>
          <p:cNvSpPr/>
          <p:nvPr/>
        </p:nvSpPr>
        <p:spPr bwMode="auto">
          <a:xfrm>
            <a:off x="9291925" y="5997418"/>
            <a:ext cx="285745" cy="13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BEC380F-8EBA-AA20-4287-DB6CAA96FC05}"/>
              </a:ext>
            </a:extLst>
          </p:cNvPr>
          <p:cNvGrpSpPr/>
          <p:nvPr/>
        </p:nvGrpSpPr>
        <p:grpSpPr>
          <a:xfrm>
            <a:off x="3435470" y="3615975"/>
            <a:ext cx="298054" cy="298054"/>
            <a:chOff x="7860150" y="3600767"/>
            <a:chExt cx="224402" cy="22440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4AF289D1-0E66-F6E5-7FC0-5996C5803394}"/>
                </a:ext>
              </a:extLst>
            </p:cNvPr>
            <p:cNvSpPr/>
            <p:nvPr/>
          </p:nvSpPr>
          <p:spPr>
            <a:xfrm>
              <a:off x="7860150" y="3600767"/>
              <a:ext cx="224402" cy="224402"/>
            </a:xfrm>
            <a:prstGeom prst="ellipse">
              <a:avLst/>
            </a:prstGeom>
            <a:solidFill>
              <a:schemeClr val="tx2"/>
            </a:solidFill>
            <a:ln w="28575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200A998F-A2FA-420C-D813-11C7193E95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 t="1582" b="18936"/>
            <a:stretch/>
          </p:blipFill>
          <p:spPr>
            <a:xfrm rot="16200000">
              <a:off x="7893736" y="3678904"/>
              <a:ext cx="157231" cy="68128"/>
            </a:xfrm>
            <a:custGeom>
              <a:avLst/>
              <a:gdLst>
                <a:gd name="connsiteX0" fmla="*/ 497774 w 497774"/>
                <a:gd name="connsiteY0" fmla="*/ 0 h 134789"/>
                <a:gd name="connsiteX1" fmla="*/ 497774 w 497774"/>
                <a:gd name="connsiteY1" fmla="*/ 134789 h 134789"/>
                <a:gd name="connsiteX2" fmla="*/ 0 w 497774"/>
                <a:gd name="connsiteY2" fmla="*/ 134789 h 134789"/>
                <a:gd name="connsiteX3" fmla="*/ 0 w 497774"/>
                <a:gd name="connsiteY3" fmla="*/ 2 h 134789"/>
                <a:gd name="connsiteX4" fmla="*/ 248884 w 497774"/>
                <a:gd name="connsiteY4" fmla="*/ 88066 h 13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774" h="134789">
                  <a:moveTo>
                    <a:pt x="497774" y="0"/>
                  </a:moveTo>
                  <a:lnTo>
                    <a:pt x="497774" y="134789"/>
                  </a:lnTo>
                  <a:lnTo>
                    <a:pt x="0" y="134789"/>
                  </a:lnTo>
                  <a:lnTo>
                    <a:pt x="0" y="2"/>
                  </a:lnTo>
                  <a:lnTo>
                    <a:pt x="248884" y="88066"/>
                  </a:lnTo>
                  <a:close/>
                </a:path>
              </a:pathLst>
            </a:custGeom>
          </p:spPr>
        </p:pic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B608BB1-6D68-54AA-1ADD-3A15A3B0B924}"/>
              </a:ext>
            </a:extLst>
          </p:cNvPr>
          <p:cNvSpPr/>
          <p:nvPr/>
        </p:nvSpPr>
        <p:spPr bwMode="auto">
          <a:xfrm>
            <a:off x="3677814" y="6067424"/>
            <a:ext cx="310780" cy="687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4467413-4BCB-87E5-09A5-DA678B50755B}"/>
              </a:ext>
            </a:extLst>
          </p:cNvPr>
          <p:cNvSpPr/>
          <p:nvPr/>
        </p:nvSpPr>
        <p:spPr bwMode="auto">
          <a:xfrm>
            <a:off x="3684957" y="5997418"/>
            <a:ext cx="55710" cy="687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FF6DFD5-591C-FAA7-A18E-D4F90CE9EC24}"/>
              </a:ext>
            </a:extLst>
          </p:cNvPr>
          <p:cNvSpPr/>
          <p:nvPr/>
        </p:nvSpPr>
        <p:spPr bwMode="auto">
          <a:xfrm>
            <a:off x="4890699" y="6067424"/>
            <a:ext cx="310780" cy="687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4210C38-3502-6721-8CC7-662E49CCBC94}"/>
              </a:ext>
            </a:extLst>
          </p:cNvPr>
          <p:cNvSpPr/>
          <p:nvPr/>
        </p:nvSpPr>
        <p:spPr bwMode="auto">
          <a:xfrm>
            <a:off x="6055924" y="4634166"/>
            <a:ext cx="310780" cy="687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E7D006A-7F01-53AD-9BAC-B15F7A07C7E4}"/>
              </a:ext>
            </a:extLst>
          </p:cNvPr>
          <p:cNvSpPr/>
          <p:nvPr/>
        </p:nvSpPr>
        <p:spPr bwMode="auto">
          <a:xfrm>
            <a:off x="8845837" y="4634166"/>
            <a:ext cx="310780" cy="687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D48BDFC-6B4D-F7D7-9465-090F7D6F50ED}"/>
              </a:ext>
            </a:extLst>
          </p:cNvPr>
          <p:cNvSpPr/>
          <p:nvPr/>
        </p:nvSpPr>
        <p:spPr bwMode="auto">
          <a:xfrm>
            <a:off x="11665955" y="4634166"/>
            <a:ext cx="310780" cy="687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02F0BCF-CEAD-2F14-4973-DF5BF65DF3D6}"/>
              </a:ext>
            </a:extLst>
          </p:cNvPr>
          <p:cNvSpPr/>
          <p:nvPr/>
        </p:nvSpPr>
        <p:spPr bwMode="auto">
          <a:xfrm>
            <a:off x="10426911" y="4170525"/>
            <a:ext cx="310780" cy="687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A21AF7E-D7C0-A567-1E8C-10895896C876}"/>
              </a:ext>
            </a:extLst>
          </p:cNvPr>
          <p:cNvSpPr/>
          <p:nvPr/>
        </p:nvSpPr>
        <p:spPr bwMode="auto">
          <a:xfrm>
            <a:off x="8884422" y="1607076"/>
            <a:ext cx="310780" cy="687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483BF05-33D3-9A10-1AB7-F303E4562ED7}"/>
              </a:ext>
            </a:extLst>
          </p:cNvPr>
          <p:cNvSpPr/>
          <p:nvPr/>
        </p:nvSpPr>
        <p:spPr bwMode="auto">
          <a:xfrm>
            <a:off x="8884422" y="2721653"/>
            <a:ext cx="310780" cy="687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AU" sz="1200" b="1" dirty="0">
              <a:solidFill>
                <a:srgbClr val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573E3C2-B911-38C9-6599-A882E08836D3}"/>
              </a:ext>
            </a:extLst>
          </p:cNvPr>
          <p:cNvSpPr txBox="1"/>
          <p:nvPr/>
        </p:nvSpPr>
        <p:spPr>
          <a:xfrm>
            <a:off x="7260613" y="0"/>
            <a:ext cx="1688496" cy="276999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Arial"/>
                <a:sym typeface="Helvetica Neue Medium"/>
              </a:rPr>
              <a:t>PMI EXECUTION</a:t>
            </a:r>
            <a:endParaRPr kumimoji="0" lang="en-US" sz="120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 Medium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D1B51E-FBFD-2F43-8624-E1A47329339C}"/>
              </a:ext>
            </a:extLst>
          </p:cNvPr>
          <p:cNvSpPr txBox="1"/>
          <p:nvPr/>
        </p:nvSpPr>
        <p:spPr>
          <a:xfrm>
            <a:off x="9057515" y="0"/>
            <a:ext cx="1688496" cy="27699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 Medium"/>
              </a:rPr>
              <a:t>NON-EXHAUSTIVE</a:t>
            </a:r>
          </a:p>
        </p:txBody>
      </p:sp>
      <p:graphicFrame>
        <p:nvGraphicFramePr>
          <p:cNvPr id="49" name="Table 48">
            <a:extLst>
              <a:ext uri="{FF2B5EF4-FFF2-40B4-BE49-F238E27FC236}">
                <a16:creationId xmlns:a16="http://schemas.microsoft.com/office/drawing/2014/main" id="{96752C0E-B841-7240-A2AC-24C6982977B6}"/>
              </a:ext>
            </a:extLst>
          </p:cNvPr>
          <p:cNvGraphicFramePr>
            <a:graphicFrameLocks noGrp="1"/>
          </p:cNvGraphicFramePr>
          <p:nvPr/>
        </p:nvGraphicFramePr>
        <p:xfrm>
          <a:off x="770919" y="1350511"/>
          <a:ext cx="2807310" cy="498716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807310">
                  <a:extLst>
                    <a:ext uri="{9D8B030D-6E8A-4147-A177-3AD203B41FA5}">
                      <a16:colId xmlns:a16="http://schemas.microsoft.com/office/drawing/2014/main" val="3857606565"/>
                    </a:ext>
                  </a:extLst>
                </a:gridCol>
              </a:tblGrid>
              <a:tr h="498716"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4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y Deliverables</a:t>
                      </a:r>
                    </a:p>
                  </a:txBody>
                  <a:tcPr marL="9525" marR="9525" marT="9525" marB="9525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742407"/>
                  </a:ext>
                </a:extLst>
              </a:tr>
            </a:tbl>
          </a:graphicData>
        </a:graphic>
      </p:graphicFrame>
      <p:grpSp>
        <p:nvGrpSpPr>
          <p:cNvPr id="50" name="Group 49">
            <a:extLst>
              <a:ext uri="{FF2B5EF4-FFF2-40B4-BE49-F238E27FC236}">
                <a16:creationId xmlns:a16="http://schemas.microsoft.com/office/drawing/2014/main" id="{C0DADC9B-F043-9732-9652-DAD575D63BE3}"/>
              </a:ext>
            </a:extLst>
          </p:cNvPr>
          <p:cNvGrpSpPr/>
          <p:nvPr/>
        </p:nvGrpSpPr>
        <p:grpSpPr>
          <a:xfrm>
            <a:off x="420686" y="1200804"/>
            <a:ext cx="798420" cy="801079"/>
            <a:chOff x="420686" y="1231284"/>
            <a:chExt cx="798420" cy="801079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FE42C580-BEED-5484-7AD7-FAEFB2E2643E}"/>
                </a:ext>
              </a:extLst>
            </p:cNvPr>
            <p:cNvSpPr/>
            <p:nvPr/>
          </p:nvSpPr>
          <p:spPr bwMode="auto">
            <a:xfrm>
              <a:off x="420686" y="1231284"/>
              <a:ext cx="798420" cy="8010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txBody>
            <a:bodyPr wrap="square" lIns="46800" tIns="46800" rIns="46800" bIns="46800" rtlCol="0" anchor="ctr">
              <a:noAutofit/>
            </a:bodyPr>
            <a:lstStyle/>
            <a:p>
              <a:pPr>
                <a:spcBef>
                  <a:spcPts val="300"/>
                </a:spcBef>
              </a:pPr>
              <a:endParaRPr lang="en-US" sz="1600" dirty="0">
                <a:ea typeface="MS PGothic" panose="020B0600070205080204" pitchFamily="34" charset="-128"/>
              </a:endParaRPr>
            </a:p>
          </p:txBody>
        </p:sp>
        <p:pic>
          <p:nvPicPr>
            <p:cNvPr id="52" name="Graphic 51" descr="Receipt outline">
              <a:extLst>
                <a:ext uri="{FF2B5EF4-FFF2-40B4-BE49-F238E27FC236}">
                  <a16:creationId xmlns:a16="http://schemas.microsoft.com/office/drawing/2014/main" id="{A359D948-643A-623B-73F6-CB14D54CF3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77637" y="1394863"/>
              <a:ext cx="484519" cy="473923"/>
            </a:xfrm>
            <a:prstGeom prst="rect">
              <a:avLst/>
            </a:prstGeom>
          </p:spPr>
        </p:pic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BD2C0E5-B336-7872-3E79-763B214A4ECD}"/>
              </a:ext>
            </a:extLst>
          </p:cNvPr>
          <p:cNvCxnSpPr>
            <a:cxnSpLocks/>
          </p:cNvCxnSpPr>
          <p:nvPr/>
        </p:nvCxnSpPr>
        <p:spPr>
          <a:xfrm>
            <a:off x="3677814" y="1542792"/>
            <a:ext cx="8321040" cy="0"/>
          </a:xfrm>
          <a:prstGeom prst="line">
            <a:avLst/>
          </a:prstGeom>
          <a:ln w="19050">
            <a:solidFill>
              <a:srgbClr val="1E28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99E23D-EC9E-D5BE-792F-3148A991E61A}"/>
              </a:ext>
            </a:extLst>
          </p:cNvPr>
          <p:cNvCxnSpPr>
            <a:cxnSpLocks/>
          </p:cNvCxnSpPr>
          <p:nvPr/>
        </p:nvCxnSpPr>
        <p:spPr>
          <a:xfrm>
            <a:off x="3684957" y="4565693"/>
            <a:ext cx="5532120" cy="0"/>
          </a:xfrm>
          <a:prstGeom prst="line">
            <a:avLst/>
          </a:prstGeom>
          <a:ln w="19050">
            <a:solidFill>
              <a:srgbClr val="1E28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12F1A77-4C29-186D-C596-35019BC48E70}"/>
              </a:ext>
            </a:extLst>
          </p:cNvPr>
          <p:cNvCxnSpPr>
            <a:cxnSpLocks/>
          </p:cNvCxnSpPr>
          <p:nvPr/>
        </p:nvCxnSpPr>
        <p:spPr>
          <a:xfrm>
            <a:off x="9260939" y="4565693"/>
            <a:ext cx="2743200" cy="0"/>
          </a:xfrm>
          <a:prstGeom prst="line">
            <a:avLst/>
          </a:prstGeom>
          <a:ln w="19050">
            <a:solidFill>
              <a:srgbClr val="1E28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958290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923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8D1421-3E65-ED70-58D2-36B07635A0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51825BCA-D634-4799-018B-2048815819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3858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825BCA-D634-4799-018B-204881581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6" name="Table 95">
            <a:extLst>
              <a:ext uri="{FF2B5EF4-FFF2-40B4-BE49-F238E27FC236}">
                <a16:creationId xmlns:a16="http://schemas.microsoft.com/office/drawing/2014/main" id="{1F4ECCC1-4B7D-5FED-5F1D-0B548B3031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3852570"/>
              </p:ext>
            </p:extLst>
          </p:nvPr>
        </p:nvGraphicFramePr>
        <p:xfrm>
          <a:off x="420686" y="2073283"/>
          <a:ext cx="11292400" cy="25080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23100">
                  <a:extLst>
                    <a:ext uri="{9D8B030D-6E8A-4147-A177-3AD203B41FA5}">
                      <a16:colId xmlns:a16="http://schemas.microsoft.com/office/drawing/2014/main" val="1619192864"/>
                    </a:ext>
                  </a:extLst>
                </a:gridCol>
                <a:gridCol w="2823100">
                  <a:extLst>
                    <a:ext uri="{9D8B030D-6E8A-4147-A177-3AD203B41FA5}">
                      <a16:colId xmlns:a16="http://schemas.microsoft.com/office/drawing/2014/main" val="1217017563"/>
                    </a:ext>
                  </a:extLst>
                </a:gridCol>
                <a:gridCol w="2823100">
                  <a:extLst>
                    <a:ext uri="{9D8B030D-6E8A-4147-A177-3AD203B41FA5}">
                      <a16:colId xmlns:a16="http://schemas.microsoft.com/office/drawing/2014/main" val="3811776386"/>
                    </a:ext>
                  </a:extLst>
                </a:gridCol>
                <a:gridCol w="2823100">
                  <a:extLst>
                    <a:ext uri="{9D8B030D-6E8A-4147-A177-3AD203B41FA5}">
                      <a16:colId xmlns:a16="http://schemas.microsoft.com/office/drawing/2014/main" val="673855976"/>
                    </a:ext>
                  </a:extLst>
                </a:gridCol>
              </a:tblGrid>
              <a:tr h="68048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Sourcing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Diligence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IMO Planning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(Pre-Close) 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PMI Execution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(Post-Close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5594079"/>
                  </a:ext>
                </a:extLst>
              </a:tr>
              <a:tr h="18276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ea typeface="MS PGothic" panose="020B0600070205080204" pitchFamily="34" charset="-128"/>
                        </a:rPr>
                        <a:t>Identify and shape acquisition opportunities </a:t>
                      </a:r>
                      <a:r>
                        <a:rPr lang="en-US" sz="14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ea typeface="MS PGothic" panose="020B0600070205080204" pitchFamily="34" charset="-128"/>
                        </a:rPr>
                        <a:t>that align with strategic priorities and value creation thesis, building a disciplined and prioritized pipeline of actionable targets</a:t>
                      </a:r>
                      <a:endParaRPr lang="en-US" sz="14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91440" marB="91440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ea typeface="MS PGothic" panose="020B0600070205080204" pitchFamily="34" charset="-128"/>
                        </a:rPr>
                        <a:t>Asses target performance, capabilities, and risks</a:t>
                      </a:r>
                      <a:r>
                        <a:rPr lang="en-US" sz="14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ea typeface="MS PGothic" panose="020B0600070205080204" pitchFamily="34" charset="-128"/>
                        </a:rPr>
                        <a:t> to validate the deal thesis, quantify potential value, and produce concrete recommendations for integration and negotiation</a:t>
                      </a:r>
                    </a:p>
                  </a:txBody>
                  <a:tcPr marT="91440" marB="91440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Design the integration strategy, governance, and readiness plan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to ensure operational, cultural, and leadership alignment before close, enabling a seamless Day-1 and synergy capture</a:t>
                      </a:r>
                    </a:p>
                  </a:txBody>
                  <a:tcPr marT="91440" marB="91440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Execute the integration roadmap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to deliver synergies, stabilize operations, and embed a unified operating model and culture that sustain long-term value creation</a:t>
                      </a:r>
                    </a:p>
                  </a:txBody>
                  <a:tcPr marT="91440" marB="91440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903414"/>
                  </a:ext>
                </a:extLst>
              </a:tr>
            </a:tbl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3A68CD65-D381-5781-D526-CA8CE82EF0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86" y="454014"/>
            <a:ext cx="11363327" cy="658506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en-US" dirty="0"/>
              <a:t>Within the M&amp;A lifecycle, our Integration practice focuses on pre-close and post-close activiti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7DA9047-73D0-2CF7-F655-DBF5793193EC}"/>
              </a:ext>
            </a:extLst>
          </p:cNvPr>
          <p:cNvGrpSpPr/>
          <p:nvPr/>
        </p:nvGrpSpPr>
        <p:grpSpPr>
          <a:xfrm>
            <a:off x="3103374" y="2287004"/>
            <a:ext cx="274320" cy="274320"/>
            <a:chOff x="6338279" y="2055963"/>
            <a:chExt cx="274320" cy="274320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ED73FBB8-EA66-AAF5-892C-DEE1D4D80369}"/>
                </a:ext>
              </a:extLst>
            </p:cNvPr>
            <p:cNvSpPr/>
            <p:nvPr/>
          </p:nvSpPr>
          <p:spPr>
            <a:xfrm>
              <a:off x="6338279" y="2055963"/>
              <a:ext cx="274320" cy="274320"/>
            </a:xfrm>
            <a:prstGeom prst="ellipse">
              <a:avLst/>
            </a:prstGeom>
            <a:solidFill>
              <a:schemeClr val="tx2"/>
            </a:solidFill>
            <a:ln w="28575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</a:p>
          </p:txBody>
        </p:sp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D90A5339-6E06-C4B9-6B27-8A25FBBADB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t="1582" b="18936"/>
            <a:stretch/>
          </p:blipFill>
          <p:spPr>
            <a:xfrm rot="16200000">
              <a:off x="6395114" y="2153739"/>
              <a:ext cx="182880" cy="89879"/>
            </a:xfrm>
            <a:custGeom>
              <a:avLst/>
              <a:gdLst>
                <a:gd name="connsiteX0" fmla="*/ 497774 w 497774"/>
                <a:gd name="connsiteY0" fmla="*/ 0 h 134789"/>
                <a:gd name="connsiteX1" fmla="*/ 497774 w 497774"/>
                <a:gd name="connsiteY1" fmla="*/ 134789 h 134789"/>
                <a:gd name="connsiteX2" fmla="*/ 0 w 497774"/>
                <a:gd name="connsiteY2" fmla="*/ 134789 h 134789"/>
                <a:gd name="connsiteX3" fmla="*/ 0 w 497774"/>
                <a:gd name="connsiteY3" fmla="*/ 2 h 134789"/>
                <a:gd name="connsiteX4" fmla="*/ 248884 w 497774"/>
                <a:gd name="connsiteY4" fmla="*/ 88066 h 13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774" h="134789">
                  <a:moveTo>
                    <a:pt x="497774" y="0"/>
                  </a:moveTo>
                  <a:lnTo>
                    <a:pt x="497774" y="134789"/>
                  </a:lnTo>
                  <a:lnTo>
                    <a:pt x="0" y="134789"/>
                  </a:lnTo>
                  <a:lnTo>
                    <a:pt x="0" y="2"/>
                  </a:lnTo>
                  <a:lnTo>
                    <a:pt x="248884" y="88066"/>
                  </a:lnTo>
                  <a:close/>
                </a:path>
              </a:pathLst>
            </a:cu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483D8E0-CFA0-8C3F-B736-5006B20B7FB4}"/>
              </a:ext>
            </a:extLst>
          </p:cNvPr>
          <p:cNvGrpSpPr/>
          <p:nvPr/>
        </p:nvGrpSpPr>
        <p:grpSpPr>
          <a:xfrm>
            <a:off x="5932164" y="2287004"/>
            <a:ext cx="274320" cy="274320"/>
            <a:chOff x="6338279" y="2055963"/>
            <a:chExt cx="274320" cy="27432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80DFAEE-ED6F-0FE2-8675-4F1DCF2C362F}"/>
                </a:ext>
              </a:extLst>
            </p:cNvPr>
            <p:cNvSpPr/>
            <p:nvPr/>
          </p:nvSpPr>
          <p:spPr>
            <a:xfrm>
              <a:off x="6338279" y="2055963"/>
              <a:ext cx="274320" cy="274320"/>
            </a:xfrm>
            <a:prstGeom prst="ellipse">
              <a:avLst/>
            </a:prstGeom>
            <a:solidFill>
              <a:schemeClr val="tx2"/>
            </a:solidFill>
            <a:ln w="28575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</a:p>
          </p:txBody>
        </p:sp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A4EA1B3B-D261-8808-3A82-4C5E4A22BEA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t="1582" b="18936"/>
            <a:stretch/>
          </p:blipFill>
          <p:spPr>
            <a:xfrm rot="16200000">
              <a:off x="6395114" y="2153739"/>
              <a:ext cx="182880" cy="89879"/>
            </a:xfrm>
            <a:custGeom>
              <a:avLst/>
              <a:gdLst>
                <a:gd name="connsiteX0" fmla="*/ 497774 w 497774"/>
                <a:gd name="connsiteY0" fmla="*/ 0 h 134789"/>
                <a:gd name="connsiteX1" fmla="*/ 497774 w 497774"/>
                <a:gd name="connsiteY1" fmla="*/ 134789 h 134789"/>
                <a:gd name="connsiteX2" fmla="*/ 0 w 497774"/>
                <a:gd name="connsiteY2" fmla="*/ 134789 h 134789"/>
                <a:gd name="connsiteX3" fmla="*/ 0 w 497774"/>
                <a:gd name="connsiteY3" fmla="*/ 2 h 134789"/>
                <a:gd name="connsiteX4" fmla="*/ 248884 w 497774"/>
                <a:gd name="connsiteY4" fmla="*/ 88066 h 13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774" h="134789">
                  <a:moveTo>
                    <a:pt x="497774" y="0"/>
                  </a:moveTo>
                  <a:lnTo>
                    <a:pt x="497774" y="134789"/>
                  </a:lnTo>
                  <a:lnTo>
                    <a:pt x="0" y="134789"/>
                  </a:lnTo>
                  <a:lnTo>
                    <a:pt x="0" y="2"/>
                  </a:lnTo>
                  <a:lnTo>
                    <a:pt x="248884" y="88066"/>
                  </a:lnTo>
                  <a:close/>
                </a:path>
              </a:pathLst>
            </a:cu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B823DC8-7A91-3DB2-9A63-6812DCFA14F0}"/>
              </a:ext>
            </a:extLst>
          </p:cNvPr>
          <p:cNvGrpSpPr/>
          <p:nvPr/>
        </p:nvGrpSpPr>
        <p:grpSpPr>
          <a:xfrm>
            <a:off x="8750184" y="2287004"/>
            <a:ext cx="274320" cy="274320"/>
            <a:chOff x="6319642" y="3659504"/>
            <a:chExt cx="274320" cy="274320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4BD28B03-E66E-50F9-1F75-054F0E3705BD}"/>
                </a:ext>
              </a:extLst>
            </p:cNvPr>
            <p:cNvSpPr/>
            <p:nvPr/>
          </p:nvSpPr>
          <p:spPr>
            <a:xfrm>
              <a:off x="6319642" y="3659504"/>
              <a:ext cx="274320" cy="274320"/>
            </a:xfrm>
            <a:prstGeom prst="ellipse">
              <a:avLst/>
            </a:prstGeom>
            <a:solidFill>
              <a:schemeClr val="tx2"/>
            </a:solidFill>
            <a:ln w="28575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</a:p>
          </p:txBody>
        </p: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2B4C1A34-D452-0D69-0CDF-146AF191A5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t="1582" b="18936"/>
            <a:stretch/>
          </p:blipFill>
          <p:spPr>
            <a:xfrm rot="16200000">
              <a:off x="6366556" y="3754104"/>
              <a:ext cx="182880" cy="89879"/>
            </a:xfrm>
            <a:custGeom>
              <a:avLst/>
              <a:gdLst>
                <a:gd name="connsiteX0" fmla="*/ 497774 w 497774"/>
                <a:gd name="connsiteY0" fmla="*/ 0 h 134789"/>
                <a:gd name="connsiteX1" fmla="*/ 497774 w 497774"/>
                <a:gd name="connsiteY1" fmla="*/ 134789 h 134789"/>
                <a:gd name="connsiteX2" fmla="*/ 0 w 497774"/>
                <a:gd name="connsiteY2" fmla="*/ 134789 h 134789"/>
                <a:gd name="connsiteX3" fmla="*/ 0 w 497774"/>
                <a:gd name="connsiteY3" fmla="*/ 2 h 134789"/>
                <a:gd name="connsiteX4" fmla="*/ 248884 w 497774"/>
                <a:gd name="connsiteY4" fmla="*/ 88066 h 13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774" h="134789">
                  <a:moveTo>
                    <a:pt x="497774" y="0"/>
                  </a:moveTo>
                  <a:lnTo>
                    <a:pt x="497774" y="134789"/>
                  </a:lnTo>
                  <a:lnTo>
                    <a:pt x="0" y="134789"/>
                  </a:lnTo>
                  <a:lnTo>
                    <a:pt x="0" y="2"/>
                  </a:lnTo>
                  <a:lnTo>
                    <a:pt x="248884" y="88066"/>
                  </a:lnTo>
                  <a:close/>
                </a:path>
              </a:pathLst>
            </a:cu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67386763-2E83-7F35-6FBD-1B114206D2A6}"/>
              </a:ext>
            </a:extLst>
          </p:cNvPr>
          <p:cNvSpPr/>
          <p:nvPr/>
        </p:nvSpPr>
        <p:spPr bwMode="auto">
          <a:xfrm>
            <a:off x="9975673" y="6218681"/>
            <a:ext cx="220133" cy="210033"/>
          </a:xfrm>
          <a:prstGeom prst="rect">
            <a:avLst/>
          </a:prstGeom>
          <a:solidFill>
            <a:srgbClr val="5061CC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7420C7-2146-C448-890A-DE9DD231C8E1}"/>
              </a:ext>
            </a:extLst>
          </p:cNvPr>
          <p:cNvSpPr txBox="1"/>
          <p:nvPr/>
        </p:nvSpPr>
        <p:spPr>
          <a:xfrm>
            <a:off x="10276409" y="6240018"/>
            <a:ext cx="1456266" cy="18138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100" b="1" dirty="0">
                <a:solidFill>
                  <a:schemeClr val="tx2"/>
                </a:solidFill>
                <a:latin typeface="+mj-lt"/>
              </a:rPr>
              <a:t>HPA’s Focu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38816FD-3BFC-8FF8-8213-7797EB74EDC7}"/>
              </a:ext>
            </a:extLst>
          </p:cNvPr>
          <p:cNvSpPr txBox="1"/>
          <p:nvPr/>
        </p:nvSpPr>
        <p:spPr>
          <a:xfrm>
            <a:off x="5286354" y="1699634"/>
            <a:ext cx="1580114" cy="2564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600" b="1" dirty="0">
                <a:solidFill>
                  <a:schemeClr val="tx2"/>
                </a:solidFill>
                <a:latin typeface="+mj-lt"/>
              </a:rPr>
              <a:t>M&amp;A Lifecyc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FBF319F-678B-96ED-7717-013E4A8B4B7B}"/>
              </a:ext>
            </a:extLst>
          </p:cNvPr>
          <p:cNvCxnSpPr/>
          <p:nvPr/>
        </p:nvCxnSpPr>
        <p:spPr>
          <a:xfrm>
            <a:off x="420686" y="1989967"/>
            <a:ext cx="11229211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 descr="Magnifying glass with solid fill">
            <a:extLst>
              <a:ext uri="{FF2B5EF4-FFF2-40B4-BE49-F238E27FC236}">
                <a16:creationId xmlns:a16="http://schemas.microsoft.com/office/drawing/2014/main" id="{34CF6D9A-134C-E01D-DFCA-041FC8931F8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2290" y="2165088"/>
            <a:ext cx="498490" cy="498490"/>
          </a:xfrm>
          <a:prstGeom prst="rect">
            <a:avLst/>
          </a:prstGeom>
        </p:spPr>
      </p:pic>
      <p:pic>
        <p:nvPicPr>
          <p:cNvPr id="24" name="Graphic 23" descr="Presentation with checklist with solid fill">
            <a:extLst>
              <a:ext uri="{FF2B5EF4-FFF2-40B4-BE49-F238E27FC236}">
                <a16:creationId xmlns:a16="http://schemas.microsoft.com/office/drawing/2014/main" id="{5EB0CDF2-D020-AB7C-C890-DC308F4B627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93338" y="2165088"/>
            <a:ext cx="529566" cy="529566"/>
          </a:xfrm>
          <a:prstGeom prst="rect">
            <a:avLst/>
          </a:prstGeom>
        </p:spPr>
      </p:pic>
      <p:pic>
        <p:nvPicPr>
          <p:cNvPr id="26" name="Graphic 25" descr="Puzzle pieces outline">
            <a:extLst>
              <a:ext uri="{FF2B5EF4-FFF2-40B4-BE49-F238E27FC236}">
                <a16:creationId xmlns:a16="http://schemas.microsoft.com/office/drawing/2014/main" id="{303F71A5-4BDE-A12E-99A4-8D4B91040A7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246132" y="2141101"/>
            <a:ext cx="546463" cy="546463"/>
          </a:xfrm>
          <a:prstGeom prst="rect">
            <a:avLst/>
          </a:prstGeom>
        </p:spPr>
      </p:pic>
      <p:pic>
        <p:nvPicPr>
          <p:cNvPr id="28" name="Graphic 27" descr="Lightbulb and gear outline">
            <a:extLst>
              <a:ext uri="{FF2B5EF4-FFF2-40B4-BE49-F238E27FC236}">
                <a16:creationId xmlns:a16="http://schemas.microsoft.com/office/drawing/2014/main" id="{ED99A3B2-E4C8-DADA-98C0-105E65DFE56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095353" y="2184646"/>
            <a:ext cx="464487" cy="464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98163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6C5F40-AA76-CFE9-AFB6-DFE35131D8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544586C-13C9-98CC-BF9C-8235AFC43C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554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44586C-13C9-98CC-BF9C-8235AFC43C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Oval 19">
            <a:extLst>
              <a:ext uri="{FF2B5EF4-FFF2-40B4-BE49-F238E27FC236}">
                <a16:creationId xmlns:a16="http://schemas.microsoft.com/office/drawing/2014/main" id="{384440F7-49F9-7D8F-889A-ECBC6FFD0CDD}"/>
              </a:ext>
            </a:extLst>
          </p:cNvPr>
          <p:cNvSpPr/>
          <p:nvPr/>
        </p:nvSpPr>
        <p:spPr bwMode="auto">
          <a:xfrm>
            <a:off x="10532601" y="961818"/>
            <a:ext cx="548640" cy="54864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D40F308-A00A-F20F-5717-35591826ACE5}"/>
              </a:ext>
            </a:extLst>
          </p:cNvPr>
          <p:cNvSpPr/>
          <p:nvPr/>
        </p:nvSpPr>
        <p:spPr bwMode="auto">
          <a:xfrm>
            <a:off x="4627494" y="961818"/>
            <a:ext cx="548640" cy="548640"/>
          </a:xfrm>
          <a:prstGeom prst="ellipse">
            <a:avLst/>
          </a:prstGeom>
          <a:solidFill>
            <a:schemeClr val="bg1"/>
          </a:solidFill>
          <a:ln>
            <a:solidFill>
              <a:srgbClr val="C5CAEE"/>
            </a:solidFill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505B60-24C5-0B4C-6A99-2911BF90933C}"/>
              </a:ext>
            </a:extLst>
          </p:cNvPr>
          <p:cNvSpPr/>
          <p:nvPr/>
        </p:nvSpPr>
        <p:spPr bwMode="auto">
          <a:xfrm>
            <a:off x="3977220" y="1446059"/>
            <a:ext cx="1870625" cy="80440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90000" tIns="46800" rIns="9000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200" b="1" dirty="0">
                <a:ea typeface="MS PGothic" panose="020B0600070205080204" pitchFamily="34" charset="-128"/>
              </a:rPr>
              <a:t>Strategic integration mindset </a:t>
            </a:r>
            <a:r>
              <a:rPr lang="en-US" sz="1200" b="1" i="1" dirty="0">
                <a:ea typeface="MS PGothic" panose="020B0600070205080204" pitchFamily="34" charset="-128"/>
              </a:rPr>
              <a:t>accelerates and sustains valu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5613F7A-A999-404A-30B0-990954C42245}"/>
              </a:ext>
            </a:extLst>
          </p:cNvPr>
          <p:cNvSpPr/>
          <p:nvPr/>
        </p:nvSpPr>
        <p:spPr bwMode="auto">
          <a:xfrm>
            <a:off x="9913389" y="1446059"/>
            <a:ext cx="1870625" cy="80440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square" lIns="90000" tIns="46800" rIns="9000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200" b="1" dirty="0">
                <a:solidFill>
                  <a:schemeClr val="bg1"/>
                </a:solidFill>
                <a:ea typeface="MS PGothic" panose="020B0600070205080204" pitchFamily="34" charset="-128"/>
              </a:rPr>
              <a:t>Integrity and transparency  </a:t>
            </a:r>
            <a:br>
              <a:rPr lang="en-US" sz="1200" b="1" dirty="0">
                <a:solidFill>
                  <a:schemeClr val="bg1"/>
                </a:solidFill>
                <a:ea typeface="MS PGothic" panose="020B0600070205080204" pitchFamily="34" charset="-128"/>
              </a:rPr>
            </a:br>
            <a:r>
              <a:rPr lang="en-US" sz="1200" b="1" dirty="0">
                <a:solidFill>
                  <a:schemeClr val="bg1"/>
                </a:solidFill>
                <a:ea typeface="MS PGothic" panose="020B0600070205080204" pitchFamily="34" charset="-128"/>
              </a:rPr>
              <a:t>for sustainable impact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DB6A9D21-753A-F58B-22AF-B80BE83C9CB2}"/>
              </a:ext>
            </a:extLst>
          </p:cNvPr>
          <p:cNvSpPr txBox="1">
            <a:spLocks/>
          </p:cNvSpPr>
          <p:nvPr/>
        </p:nvSpPr>
        <p:spPr>
          <a:xfrm>
            <a:off x="9913388" y="2321532"/>
            <a:ext cx="1870625" cy="2560320"/>
          </a:xfrm>
          <a:prstGeom prst="rect">
            <a:avLst/>
          </a:prstGeom>
          <a:solidFill>
            <a:schemeClr val="bg1"/>
          </a:solidFill>
          <a:effectLst>
            <a:outerShdw blurRad="127000" algn="ctr" rotWithShape="0">
              <a:srgbClr val="000000">
                <a:alpha val="10000"/>
              </a:srgbClr>
            </a:outerShdw>
          </a:effectLst>
        </p:spPr>
        <p:txBody>
          <a:bodyPr vert="horz" lIns="72000" tIns="18288" rIns="72000" bIns="18288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 cap="none" baseline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19800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tx1"/>
                </a:solidFill>
              </a:rPr>
              <a:t>Has </a:t>
            </a:r>
            <a:r>
              <a:rPr lang="en-US" sz="1100" b="1" dirty="0">
                <a:solidFill>
                  <a:schemeClr val="tx1"/>
                </a:solidFill>
              </a:rPr>
              <a:t>daily touchpoints with senior team</a:t>
            </a:r>
          </a:p>
          <a:p>
            <a:pPr marL="19800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mphasizes that </a:t>
            </a: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 ethical decisions always equal right business decisions</a:t>
            </a:r>
          </a:p>
          <a:p>
            <a:pPr marL="19800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ads with </a:t>
            </a: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mpathy 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</a:t>
            </a: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nsparency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19800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tablishes a </a:t>
            </a: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ear path to transfer know-how 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avoid consultant lock-in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2A5695B-9802-B824-27E0-312C25CF029A}"/>
              </a:ext>
            </a:extLst>
          </p:cNvPr>
          <p:cNvSpPr txBox="1">
            <a:spLocks/>
          </p:cNvSpPr>
          <p:nvPr/>
        </p:nvSpPr>
        <p:spPr>
          <a:xfrm>
            <a:off x="7932846" y="2321532"/>
            <a:ext cx="1870625" cy="2560320"/>
          </a:xfrm>
          <a:prstGeom prst="rect">
            <a:avLst/>
          </a:prstGeom>
          <a:solidFill>
            <a:schemeClr val="bg1"/>
          </a:solidFill>
          <a:effectLst>
            <a:outerShdw blurRad="127000" algn="ctr" rotWithShape="0">
              <a:srgbClr val="000000">
                <a:alpha val="10000"/>
              </a:srgbClr>
            </a:outerShdw>
          </a:effectLst>
        </p:spPr>
        <p:txBody>
          <a:bodyPr vert="horz" lIns="72000" tIns="18288" rIns="72000" bIns="18288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 cap="none" baseline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19800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spc="-1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vides</a:t>
            </a:r>
            <a:r>
              <a:rPr lang="en-US" sz="1100" b="1" spc="-1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xpertise in enterprise-wide organizational change </a:t>
            </a:r>
            <a:r>
              <a:rPr lang="en-US" sz="1100" spc="-1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integration governance</a:t>
            </a:r>
          </a:p>
          <a:p>
            <a:pPr marL="19800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spc="-1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ddresses cultural implications to </a:t>
            </a:r>
            <a:r>
              <a:rPr lang="en-US" sz="1100" b="1" spc="-1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stain engagement, retention</a:t>
            </a:r>
            <a:r>
              <a:rPr lang="en-US" sz="1100" spc="-1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and </a:t>
            </a:r>
            <a:r>
              <a:rPr lang="en-US" sz="1100" b="1" spc="-1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doption</a:t>
            </a:r>
          </a:p>
          <a:p>
            <a:pPr marL="19800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b="1" spc="-1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s clear view of structures, roles</a:t>
            </a:r>
            <a:r>
              <a:rPr lang="en-US" sz="1100" spc="-1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and </a:t>
            </a:r>
            <a:r>
              <a:rPr lang="en-US" sz="1100" b="1" spc="-1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ision rights </a:t>
            </a:r>
            <a:r>
              <a:rPr lang="en-US" sz="1100" spc="-1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ross both legacy organization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C2F7EE7B-79B3-FD96-EE3A-D9A277E49F80}"/>
              </a:ext>
            </a:extLst>
          </p:cNvPr>
          <p:cNvSpPr txBox="1">
            <a:spLocks/>
          </p:cNvSpPr>
          <p:nvPr/>
        </p:nvSpPr>
        <p:spPr>
          <a:xfrm>
            <a:off x="5952302" y="2321532"/>
            <a:ext cx="1870625" cy="2560320"/>
          </a:xfrm>
          <a:prstGeom prst="rect">
            <a:avLst/>
          </a:prstGeom>
          <a:solidFill>
            <a:schemeClr val="bg1"/>
          </a:solidFill>
          <a:effectLst>
            <a:outerShdw blurRad="127000" algn="ctr" rotWithShape="0">
              <a:srgbClr val="000000">
                <a:alpha val="10000"/>
              </a:srgbClr>
            </a:outerShdw>
          </a:effectLst>
        </p:spPr>
        <p:txBody>
          <a:bodyPr vert="horz" lIns="72000" tIns="18288" rIns="72000" bIns="18288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 cap="none" baseline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19800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gages executives and leaders to </a:t>
            </a: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ign on priorities 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consider trade-offs</a:t>
            </a:r>
          </a:p>
          <a:p>
            <a:pPr marL="19800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llaborates side-by-side 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build trust, mobilize teams, and preempt friction</a:t>
            </a:r>
          </a:p>
          <a:p>
            <a:pPr marL="19800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mplements internal team’s skills 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leverage existing resources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BD25A76D-B503-8F1F-5A47-CA9B114E1C50}"/>
              </a:ext>
            </a:extLst>
          </p:cNvPr>
          <p:cNvSpPr txBox="1">
            <a:spLocks/>
          </p:cNvSpPr>
          <p:nvPr/>
        </p:nvSpPr>
        <p:spPr>
          <a:xfrm>
            <a:off x="1991214" y="2321532"/>
            <a:ext cx="1870625" cy="2560320"/>
          </a:xfrm>
          <a:prstGeom prst="rect">
            <a:avLst/>
          </a:prstGeom>
          <a:solidFill>
            <a:schemeClr val="bg1"/>
          </a:solidFill>
          <a:effectLst>
            <a:outerShdw blurRad="127000" algn="ctr" rotWithShape="0">
              <a:srgbClr val="000000">
                <a:alpha val="10000"/>
              </a:srgbClr>
            </a:outerShdw>
          </a:effectLst>
        </p:spPr>
        <p:txBody>
          <a:bodyPr vert="horz" lIns="72000" tIns="18288" rIns="72000" bIns="18288" rtlCol="0" anchor="t">
            <a:noAutofit/>
          </a:bodyPr>
          <a:lstStyle>
            <a:defPPr>
              <a:defRPr lang="en-US"/>
            </a:defPPr>
            <a:lvl1pPr marL="182880" lvl="0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 cap="none" baseline="0"/>
            </a:lvl1pPr>
          </a:lstStyle>
          <a:p>
            <a:pPr marL="198000">
              <a:spcAft>
                <a:spcPts val="600"/>
              </a:spcAft>
            </a:pPr>
            <a:r>
              <a:rPr lang="en-US" dirty="0"/>
              <a:t>Brings consulting-trained and </a:t>
            </a:r>
            <a:r>
              <a:rPr lang="en-US" b="1" dirty="0"/>
              <a:t>proven integration leaders </a:t>
            </a:r>
            <a:r>
              <a:rPr lang="en-US" dirty="0"/>
              <a:t>with </a:t>
            </a:r>
            <a:r>
              <a:rPr lang="en-US" b="1" dirty="0"/>
              <a:t>within-firm execution experience</a:t>
            </a:r>
          </a:p>
          <a:p>
            <a:pPr marL="198000">
              <a:spcAft>
                <a:spcPts val="600"/>
              </a:spcAft>
            </a:pPr>
            <a:r>
              <a:rPr lang="en-US" dirty="0"/>
              <a:t>Drives </a:t>
            </a:r>
            <a:r>
              <a:rPr lang="en-US" b="1" dirty="0"/>
              <a:t>rapid risk recognition</a:t>
            </a:r>
            <a:r>
              <a:rPr lang="en-US" dirty="0"/>
              <a:t> and </a:t>
            </a:r>
            <a:r>
              <a:rPr lang="en-US" b="1" dirty="0"/>
              <a:t>opportunity capture </a:t>
            </a:r>
            <a:r>
              <a:rPr lang="en-US" dirty="0"/>
              <a:t>given integration and M&amp;A experience</a:t>
            </a:r>
          </a:p>
          <a:p>
            <a:pPr marL="198000">
              <a:spcAft>
                <a:spcPts val="600"/>
              </a:spcAft>
            </a:pPr>
            <a:r>
              <a:rPr lang="en-US" b="1" dirty="0"/>
              <a:t>Embeds with management </a:t>
            </a:r>
            <a:r>
              <a:rPr lang="en-US" dirty="0"/>
              <a:t>to align, execute, and deliver measurable impact</a:t>
            </a: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6C1D631A-CEAA-81FD-1065-807238123609}"/>
              </a:ext>
            </a:extLst>
          </p:cNvPr>
          <p:cNvSpPr txBox="1">
            <a:spLocks/>
          </p:cNvSpPr>
          <p:nvPr/>
        </p:nvSpPr>
        <p:spPr>
          <a:xfrm>
            <a:off x="3971758" y="2321532"/>
            <a:ext cx="1870625" cy="2560320"/>
          </a:xfrm>
          <a:prstGeom prst="rect">
            <a:avLst/>
          </a:prstGeom>
          <a:solidFill>
            <a:schemeClr val="bg1"/>
          </a:solidFill>
          <a:effectLst>
            <a:outerShdw blurRad="127000" algn="ctr" rotWithShape="0">
              <a:srgbClr val="000000">
                <a:alpha val="10000"/>
              </a:srgbClr>
            </a:outerShdw>
          </a:effectLst>
        </p:spPr>
        <p:txBody>
          <a:bodyPr vert="horz" lIns="72000" tIns="18288" rIns="72000" bIns="18288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 cap="none" baseline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198000" lvl="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celerates impact and </a:t>
            </a: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alize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nergies quickly 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ile securing long-term value</a:t>
            </a:r>
          </a:p>
          <a:p>
            <a:pPr marL="198000" lvl="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veals </a:t>
            </a: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rdependencies, downstream effects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and </a:t>
            </a: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wth levers</a:t>
            </a:r>
          </a:p>
          <a:p>
            <a:pPr marL="198000" lvl="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rives a results-oriented 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siness transformation approach</a:t>
            </a:r>
          </a:p>
        </p:txBody>
      </p:sp>
      <p:sp>
        <p:nvSpPr>
          <p:cNvPr id="18" name="Title 3">
            <a:extLst>
              <a:ext uri="{FF2B5EF4-FFF2-40B4-BE49-F238E27FC236}">
                <a16:creationId xmlns:a16="http://schemas.microsoft.com/office/drawing/2014/main" id="{231F9350-C4A1-6872-1123-F9063F73CE4A}"/>
              </a:ext>
            </a:extLst>
          </p:cNvPr>
          <p:cNvSpPr txBox="1">
            <a:spLocks/>
          </p:cNvSpPr>
          <p:nvPr/>
        </p:nvSpPr>
        <p:spPr>
          <a:xfrm>
            <a:off x="9913388" y="4910774"/>
            <a:ext cx="1870625" cy="1137094"/>
          </a:xfrm>
          <a:prstGeom prst="rect">
            <a:avLst/>
          </a:prstGeom>
          <a:solidFill>
            <a:schemeClr val="bg1"/>
          </a:solidFill>
          <a:effectLst>
            <a:outerShdw blurRad="127000" algn="ctr" rotWithShape="0">
              <a:srgbClr val="000000">
                <a:alpha val="10000"/>
              </a:srgbClr>
            </a:outerShdw>
          </a:effectLst>
        </p:spPr>
        <p:txBody>
          <a:bodyPr vert="horz" lIns="72000" tIns="18288" rIns="72000" bIns="18288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 cap="none" baseline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19800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ve incentives to </a:t>
            </a: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tend projects indefinitely</a:t>
            </a:r>
          </a:p>
          <a:p>
            <a:pPr marL="19800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ve model of </a:t>
            </a: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‘Senior team sells, junior team shows up for work’</a:t>
            </a:r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56EFD859-6958-2B93-63FA-53D064B9BE77}"/>
              </a:ext>
            </a:extLst>
          </p:cNvPr>
          <p:cNvSpPr txBox="1">
            <a:spLocks/>
          </p:cNvSpPr>
          <p:nvPr/>
        </p:nvSpPr>
        <p:spPr>
          <a:xfrm>
            <a:off x="7932846" y="4910774"/>
            <a:ext cx="1870625" cy="1137094"/>
          </a:xfrm>
          <a:prstGeom prst="rect">
            <a:avLst/>
          </a:prstGeom>
          <a:solidFill>
            <a:schemeClr val="bg1"/>
          </a:solidFill>
          <a:effectLst>
            <a:outerShdw blurRad="127000" algn="ctr" rotWithShape="0">
              <a:srgbClr val="000000">
                <a:alpha val="10000"/>
              </a:srgbClr>
            </a:outerShdw>
          </a:effectLst>
        </p:spPr>
        <p:txBody>
          <a:bodyPr vert="horz" lIns="72000" tIns="18288" rIns="72000" bIns="18288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 cap="none" baseline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19800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vide primarily a </a:t>
            </a: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ject management 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killset</a:t>
            </a:r>
          </a:p>
          <a:p>
            <a:pPr marL="19800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ve</a:t>
            </a: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imited ability to shape culture 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 alignment</a:t>
            </a: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CF547FEE-CF9F-1AF9-FE90-5067404D9C8D}"/>
              </a:ext>
            </a:extLst>
          </p:cNvPr>
          <p:cNvSpPr txBox="1">
            <a:spLocks/>
          </p:cNvSpPr>
          <p:nvPr/>
        </p:nvSpPr>
        <p:spPr>
          <a:xfrm>
            <a:off x="5952302" y="4910774"/>
            <a:ext cx="1870625" cy="1137094"/>
          </a:xfrm>
          <a:prstGeom prst="rect">
            <a:avLst/>
          </a:prstGeom>
          <a:solidFill>
            <a:schemeClr val="bg1"/>
          </a:solidFill>
          <a:effectLst>
            <a:outerShdw blurRad="127000" algn="ctr" rotWithShape="0">
              <a:srgbClr val="000000">
                <a:alpha val="10000"/>
              </a:srgbClr>
            </a:outerShdw>
          </a:effectLst>
        </p:spPr>
        <p:txBody>
          <a:bodyPr vert="horz" lIns="72000" tIns="18288" rIns="72000" bIns="18288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 cap="none" baseline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19800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ve</a:t>
            </a: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imited ability to marshal support 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ross levels</a:t>
            </a:r>
          </a:p>
          <a:p>
            <a:pPr marL="19800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mpose decisions 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stead of co-owning them</a:t>
            </a:r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7B496B6C-97A5-42CB-95B2-D3441C2F327F}"/>
              </a:ext>
            </a:extLst>
          </p:cNvPr>
          <p:cNvSpPr txBox="1">
            <a:spLocks/>
          </p:cNvSpPr>
          <p:nvPr/>
        </p:nvSpPr>
        <p:spPr>
          <a:xfrm>
            <a:off x="1991214" y="4910774"/>
            <a:ext cx="1870625" cy="1137094"/>
          </a:xfrm>
          <a:prstGeom prst="rect">
            <a:avLst/>
          </a:prstGeom>
          <a:solidFill>
            <a:schemeClr val="bg1"/>
          </a:solidFill>
          <a:effectLst>
            <a:outerShdw blurRad="127000" algn="ctr" rotWithShape="0">
              <a:srgbClr val="000000">
                <a:alpha val="10000"/>
              </a:srgbClr>
            </a:outerShdw>
          </a:effectLst>
        </p:spPr>
        <p:txBody>
          <a:bodyPr vert="horz" lIns="72000" tIns="18288" rIns="72000" bIns="18288" rtlCol="0" anchor="t">
            <a:noAutofit/>
          </a:bodyPr>
          <a:lstStyle>
            <a:defPPr>
              <a:defRPr lang="en-US"/>
            </a:defPPr>
            <a:lvl1pPr marL="182880" lvl="0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 cap="none" baseline="0"/>
            </a:lvl1pPr>
          </a:lstStyle>
          <a:p>
            <a:pPr marL="198000">
              <a:spcAft>
                <a:spcPts val="600"/>
              </a:spcAft>
            </a:pPr>
            <a:r>
              <a:rPr lang="en-US" dirty="0"/>
              <a:t>Bring experience concentrated at Partner/SME level</a:t>
            </a:r>
          </a:p>
          <a:p>
            <a:pPr marL="198000">
              <a:spcAft>
                <a:spcPts val="600"/>
              </a:spcAft>
            </a:pPr>
            <a:r>
              <a:rPr lang="en-US" b="1" dirty="0"/>
              <a:t>Execute generic playbooks with junior team</a:t>
            </a:r>
          </a:p>
        </p:txBody>
      </p:sp>
      <p:sp>
        <p:nvSpPr>
          <p:cNvPr id="23" name="Title 3">
            <a:extLst>
              <a:ext uri="{FF2B5EF4-FFF2-40B4-BE49-F238E27FC236}">
                <a16:creationId xmlns:a16="http://schemas.microsoft.com/office/drawing/2014/main" id="{2E6BD61A-DDF6-CA21-367C-1EE1DD2A6792}"/>
              </a:ext>
            </a:extLst>
          </p:cNvPr>
          <p:cNvSpPr txBox="1">
            <a:spLocks/>
          </p:cNvSpPr>
          <p:nvPr/>
        </p:nvSpPr>
        <p:spPr>
          <a:xfrm>
            <a:off x="3971758" y="4910774"/>
            <a:ext cx="1870625" cy="1137094"/>
          </a:xfrm>
          <a:prstGeom prst="rect">
            <a:avLst/>
          </a:prstGeom>
          <a:solidFill>
            <a:schemeClr val="bg1"/>
          </a:solidFill>
          <a:effectLst>
            <a:outerShdw blurRad="127000" algn="ctr" rotWithShape="0">
              <a:srgbClr val="000000">
                <a:alpha val="10000"/>
              </a:srgbClr>
            </a:outerShdw>
          </a:effectLst>
        </p:spPr>
        <p:txBody>
          <a:bodyPr vert="horz" lIns="72000" tIns="18288" rIns="72000" bIns="18288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 cap="none" baseline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198000" lvl="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mphasize </a:t>
            </a: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cess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lestone tracking</a:t>
            </a:r>
          </a:p>
          <a:p>
            <a:pPr marL="198000" lvl="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cus solely on long-term 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siness val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B0945B3-742D-0FBA-8CA9-8E93FBEA6CAA}"/>
              </a:ext>
            </a:extLst>
          </p:cNvPr>
          <p:cNvSpPr/>
          <p:nvPr/>
        </p:nvSpPr>
        <p:spPr bwMode="auto">
          <a:xfrm>
            <a:off x="433666" y="4910774"/>
            <a:ext cx="1478488" cy="11370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r>
              <a:rPr lang="en-US" sz="1200" b="1" dirty="0">
                <a:solidFill>
                  <a:schemeClr val="tx2"/>
                </a:solidFill>
                <a:ea typeface="MS PGothic" panose="020B0600070205080204" pitchFamily="34" charset="-128"/>
              </a:rPr>
              <a:t>Traditional Consulting Firm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9E648F8-9019-6E66-8587-D1552D9B413F}"/>
              </a:ext>
            </a:extLst>
          </p:cNvPr>
          <p:cNvSpPr/>
          <p:nvPr/>
        </p:nvSpPr>
        <p:spPr bwMode="auto">
          <a:xfrm>
            <a:off x="433666" y="2321532"/>
            <a:ext cx="1478488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endParaRPr lang="en-US" sz="1200" dirty="0">
              <a:solidFill>
                <a:schemeClr val="bg1"/>
              </a:solidFill>
              <a:ea typeface="MS PGothic" panose="020B0600070205080204" pitchFamily="34" charset="-128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B57ABD45-3FE4-70EC-1C0D-65F848563C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2177" y="3365131"/>
            <a:ext cx="1321466" cy="414022"/>
          </a:xfrm>
          <a:prstGeom prst="rect">
            <a:avLst/>
          </a:prstGeom>
        </p:spPr>
      </p:pic>
      <p:sp>
        <p:nvSpPr>
          <p:cNvPr id="33" name="Title 32">
            <a:extLst>
              <a:ext uri="{FF2B5EF4-FFF2-40B4-BE49-F238E27FC236}">
                <a16:creationId xmlns:a16="http://schemas.microsoft.com/office/drawing/2014/main" id="{4836BE31-70B7-3D17-0359-A3BB8982EF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ur Integration practice drives significantly more value than those at other firms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E6484F52-76BF-7E8A-523E-6864750C9926}"/>
              </a:ext>
            </a:extLst>
          </p:cNvPr>
          <p:cNvSpPr/>
          <p:nvPr/>
        </p:nvSpPr>
        <p:spPr bwMode="auto">
          <a:xfrm>
            <a:off x="2648830" y="961818"/>
            <a:ext cx="548640" cy="54864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 dirty="0">
              <a:solidFill>
                <a:srgbClr val="000000"/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D1CEE4A7-FFD6-32C7-C6D7-CBF07E1C2E5C}"/>
              </a:ext>
            </a:extLst>
          </p:cNvPr>
          <p:cNvGrpSpPr/>
          <p:nvPr/>
        </p:nvGrpSpPr>
        <p:grpSpPr>
          <a:xfrm>
            <a:off x="2729720" y="1018533"/>
            <a:ext cx="393615" cy="384316"/>
            <a:chOff x="-727624" y="1219957"/>
            <a:chExt cx="769246" cy="751069"/>
          </a:xfrm>
          <a:solidFill>
            <a:schemeClr val="tx2"/>
          </a:solidFill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3092BA8-2261-AB86-BB91-790A0CBD5912}"/>
                </a:ext>
              </a:extLst>
            </p:cNvPr>
            <p:cNvSpPr/>
            <p:nvPr/>
          </p:nvSpPr>
          <p:spPr>
            <a:xfrm>
              <a:off x="-387299" y="1345984"/>
              <a:ext cx="88999" cy="88776"/>
            </a:xfrm>
            <a:custGeom>
              <a:avLst/>
              <a:gdLst>
                <a:gd name="connsiteX0" fmla="*/ 44500 w 88999"/>
                <a:gd name="connsiteY0" fmla="*/ 0 h 88776"/>
                <a:gd name="connsiteX1" fmla="*/ 0 w 88999"/>
                <a:gd name="connsiteY1" fmla="*/ 44388 h 88776"/>
                <a:gd name="connsiteX2" fmla="*/ 44500 w 88999"/>
                <a:gd name="connsiteY2" fmla="*/ 88777 h 88776"/>
                <a:gd name="connsiteX3" fmla="*/ 89000 w 88999"/>
                <a:gd name="connsiteY3" fmla="*/ 44388 h 88776"/>
                <a:gd name="connsiteX4" fmla="*/ 44500 w 88999"/>
                <a:gd name="connsiteY4" fmla="*/ 0 h 88776"/>
                <a:gd name="connsiteX5" fmla="*/ 44500 w 88999"/>
                <a:gd name="connsiteY5" fmla="*/ 70395 h 88776"/>
                <a:gd name="connsiteX6" fmla="*/ 18492 w 88999"/>
                <a:gd name="connsiteY6" fmla="*/ 44499 h 88776"/>
                <a:gd name="connsiteX7" fmla="*/ 44500 w 88999"/>
                <a:gd name="connsiteY7" fmla="*/ 18602 h 88776"/>
                <a:gd name="connsiteX8" fmla="*/ 70508 w 88999"/>
                <a:gd name="connsiteY8" fmla="*/ 44499 h 88776"/>
                <a:gd name="connsiteX9" fmla="*/ 44500 w 88999"/>
                <a:gd name="connsiteY9" fmla="*/ 70395 h 88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999" h="88776">
                  <a:moveTo>
                    <a:pt x="44500" y="0"/>
                  </a:moveTo>
                  <a:cubicBezTo>
                    <a:pt x="20018" y="0"/>
                    <a:pt x="0" y="19905"/>
                    <a:pt x="0" y="44388"/>
                  </a:cubicBezTo>
                  <a:cubicBezTo>
                    <a:pt x="0" y="68871"/>
                    <a:pt x="19905" y="88777"/>
                    <a:pt x="44500" y="88777"/>
                  </a:cubicBezTo>
                  <a:cubicBezTo>
                    <a:pt x="68982" y="88777"/>
                    <a:pt x="89000" y="68871"/>
                    <a:pt x="89000" y="44388"/>
                  </a:cubicBezTo>
                  <a:cubicBezTo>
                    <a:pt x="89000" y="19906"/>
                    <a:pt x="68982" y="0"/>
                    <a:pt x="44500" y="0"/>
                  </a:cubicBezTo>
                  <a:close/>
                  <a:moveTo>
                    <a:pt x="44500" y="70395"/>
                  </a:moveTo>
                  <a:cubicBezTo>
                    <a:pt x="30212" y="70395"/>
                    <a:pt x="18492" y="58786"/>
                    <a:pt x="18492" y="44499"/>
                  </a:cubicBezTo>
                  <a:cubicBezTo>
                    <a:pt x="18492" y="30211"/>
                    <a:pt x="30101" y="18602"/>
                    <a:pt x="44500" y="18602"/>
                  </a:cubicBezTo>
                  <a:cubicBezTo>
                    <a:pt x="58899" y="18602"/>
                    <a:pt x="70508" y="30211"/>
                    <a:pt x="70508" y="44499"/>
                  </a:cubicBezTo>
                  <a:cubicBezTo>
                    <a:pt x="70508" y="58675"/>
                    <a:pt x="58787" y="70395"/>
                    <a:pt x="44500" y="703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20BB3F8-386A-88A8-0BAA-0B18445E0259}"/>
                </a:ext>
              </a:extLst>
            </p:cNvPr>
            <p:cNvSpPr/>
            <p:nvPr/>
          </p:nvSpPr>
          <p:spPr>
            <a:xfrm>
              <a:off x="-464729" y="1308436"/>
              <a:ext cx="243853" cy="243479"/>
            </a:xfrm>
            <a:custGeom>
              <a:avLst/>
              <a:gdLst>
                <a:gd name="connsiteX0" fmla="*/ 121930 w 243853"/>
                <a:gd name="connsiteY0" fmla="*/ 0 h 243479"/>
                <a:gd name="connsiteX1" fmla="*/ 0 w 243853"/>
                <a:gd name="connsiteY1" fmla="*/ 121739 h 243479"/>
                <a:gd name="connsiteX2" fmla="*/ 24668 w 243853"/>
                <a:gd name="connsiteY2" fmla="*/ 195185 h 243479"/>
                <a:gd name="connsiteX3" fmla="*/ 121928 w 243853"/>
                <a:gd name="connsiteY3" fmla="*/ 243480 h 243479"/>
                <a:gd name="connsiteX4" fmla="*/ 219073 w 243853"/>
                <a:gd name="connsiteY4" fmla="*/ 195185 h 243479"/>
                <a:gd name="connsiteX5" fmla="*/ 243853 w 243853"/>
                <a:gd name="connsiteY5" fmla="*/ 121739 h 243479"/>
                <a:gd name="connsiteX6" fmla="*/ 121924 w 243853"/>
                <a:gd name="connsiteY6" fmla="*/ 0 h 243479"/>
                <a:gd name="connsiteX7" fmla="*/ 47441 w 243853"/>
                <a:gd name="connsiteY7" fmla="*/ 193367 h 243479"/>
                <a:gd name="connsiteX8" fmla="*/ 123530 w 243853"/>
                <a:gd name="connsiteY8" fmla="*/ 156904 h 243479"/>
                <a:gd name="connsiteX9" fmla="*/ 196381 w 243853"/>
                <a:gd name="connsiteY9" fmla="*/ 193293 h 243479"/>
                <a:gd name="connsiteX10" fmla="*/ 121892 w 243853"/>
                <a:gd name="connsiteY10" fmla="*/ 224919 h 243479"/>
                <a:gd name="connsiteX11" fmla="*/ 47441 w 243853"/>
                <a:gd name="connsiteY11" fmla="*/ 193367 h 243479"/>
                <a:gd name="connsiteX12" fmla="*/ 208137 w 243853"/>
                <a:gd name="connsiteY12" fmla="*/ 178596 h 243479"/>
                <a:gd name="connsiteX13" fmla="*/ 123826 w 243853"/>
                <a:gd name="connsiteY13" fmla="*/ 138412 h 243479"/>
                <a:gd name="connsiteX14" fmla="*/ 121928 w 243853"/>
                <a:gd name="connsiteY14" fmla="*/ 138412 h 243479"/>
                <a:gd name="connsiteX15" fmla="*/ 35645 w 243853"/>
                <a:gd name="connsiteY15" fmla="*/ 178596 h 243479"/>
                <a:gd name="connsiteX16" fmla="*/ 18493 w 243853"/>
                <a:gd name="connsiteY16" fmla="*/ 121631 h 243479"/>
                <a:gd name="connsiteX17" fmla="*/ 121925 w 243853"/>
                <a:gd name="connsiteY17" fmla="*/ 18380 h 243479"/>
                <a:gd name="connsiteX18" fmla="*/ 225357 w 243853"/>
                <a:gd name="connsiteY18" fmla="*/ 121631 h 243479"/>
                <a:gd name="connsiteX19" fmla="*/ 208130 w 243853"/>
                <a:gd name="connsiteY19" fmla="*/ 178596 h 243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43853" h="243479">
                  <a:moveTo>
                    <a:pt x="121930" y="0"/>
                  </a:moveTo>
                  <a:cubicBezTo>
                    <a:pt x="54696" y="0"/>
                    <a:pt x="0" y="54583"/>
                    <a:pt x="0" y="121739"/>
                  </a:cubicBezTo>
                  <a:cubicBezTo>
                    <a:pt x="0" y="148491"/>
                    <a:pt x="8558" y="173941"/>
                    <a:pt x="24668" y="195185"/>
                  </a:cubicBezTo>
                  <a:cubicBezTo>
                    <a:pt x="47922" y="225844"/>
                    <a:pt x="83344" y="243480"/>
                    <a:pt x="121928" y="243480"/>
                  </a:cubicBezTo>
                  <a:cubicBezTo>
                    <a:pt x="160400" y="243480"/>
                    <a:pt x="195858" y="225843"/>
                    <a:pt x="219073" y="195185"/>
                  </a:cubicBezTo>
                  <a:cubicBezTo>
                    <a:pt x="235258" y="173866"/>
                    <a:pt x="243853" y="148416"/>
                    <a:pt x="243853" y="121739"/>
                  </a:cubicBezTo>
                  <a:cubicBezTo>
                    <a:pt x="243853" y="54580"/>
                    <a:pt x="189159" y="0"/>
                    <a:pt x="121924" y="0"/>
                  </a:cubicBezTo>
                  <a:close/>
                  <a:moveTo>
                    <a:pt x="47441" y="193367"/>
                  </a:moveTo>
                  <a:cubicBezTo>
                    <a:pt x="54101" y="185070"/>
                    <a:pt x="80481" y="156122"/>
                    <a:pt x="123530" y="156904"/>
                  </a:cubicBezTo>
                  <a:cubicBezTo>
                    <a:pt x="164495" y="157574"/>
                    <a:pt x="189832" y="185294"/>
                    <a:pt x="196381" y="193293"/>
                  </a:cubicBezTo>
                  <a:cubicBezTo>
                    <a:pt x="176958" y="213496"/>
                    <a:pt x="150467" y="224919"/>
                    <a:pt x="121892" y="224919"/>
                  </a:cubicBezTo>
                  <a:cubicBezTo>
                    <a:pt x="93355" y="224993"/>
                    <a:pt x="66864" y="213571"/>
                    <a:pt x="47441" y="193367"/>
                  </a:cubicBezTo>
                  <a:close/>
                  <a:moveTo>
                    <a:pt x="208137" y="178596"/>
                  </a:moveTo>
                  <a:cubicBezTo>
                    <a:pt x="196901" y="165722"/>
                    <a:pt x="168326" y="139156"/>
                    <a:pt x="123826" y="138412"/>
                  </a:cubicBezTo>
                  <a:lnTo>
                    <a:pt x="121928" y="138412"/>
                  </a:lnTo>
                  <a:cubicBezTo>
                    <a:pt x="76499" y="138412"/>
                    <a:pt x="46770" y="166131"/>
                    <a:pt x="35645" y="178596"/>
                  </a:cubicBezTo>
                  <a:cubicBezTo>
                    <a:pt x="24409" y="161741"/>
                    <a:pt x="18493" y="142207"/>
                    <a:pt x="18493" y="121631"/>
                  </a:cubicBezTo>
                  <a:cubicBezTo>
                    <a:pt x="18493" y="64667"/>
                    <a:pt x="64890" y="18380"/>
                    <a:pt x="121925" y="18380"/>
                  </a:cubicBezTo>
                  <a:cubicBezTo>
                    <a:pt x="178959" y="18380"/>
                    <a:pt x="225357" y="64666"/>
                    <a:pt x="225357" y="121631"/>
                  </a:cubicBezTo>
                  <a:cubicBezTo>
                    <a:pt x="225357" y="142207"/>
                    <a:pt x="219366" y="161740"/>
                    <a:pt x="208130" y="17859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A4E44BF-FD8B-3A80-CD9D-FE77CA7F1AA6}"/>
                </a:ext>
              </a:extLst>
            </p:cNvPr>
            <p:cNvSpPr/>
            <p:nvPr/>
          </p:nvSpPr>
          <p:spPr>
            <a:xfrm>
              <a:off x="-398235" y="1710570"/>
              <a:ext cx="110876" cy="110876"/>
            </a:xfrm>
            <a:custGeom>
              <a:avLst/>
              <a:gdLst>
                <a:gd name="connsiteX0" fmla="*/ 0 w 110876"/>
                <a:gd name="connsiteY0" fmla="*/ 55438 h 110876"/>
                <a:gd name="connsiteX1" fmla="*/ 55438 w 110876"/>
                <a:gd name="connsiteY1" fmla="*/ 110877 h 110876"/>
                <a:gd name="connsiteX2" fmla="*/ 110877 w 110876"/>
                <a:gd name="connsiteY2" fmla="*/ 55438 h 110876"/>
                <a:gd name="connsiteX3" fmla="*/ 55438 w 110876"/>
                <a:gd name="connsiteY3" fmla="*/ 0 h 110876"/>
                <a:gd name="connsiteX4" fmla="*/ 0 w 110876"/>
                <a:gd name="connsiteY4" fmla="*/ 55438 h 110876"/>
                <a:gd name="connsiteX5" fmla="*/ 92311 w 110876"/>
                <a:gd name="connsiteY5" fmla="*/ 55438 h 110876"/>
                <a:gd name="connsiteX6" fmla="*/ 55438 w 110876"/>
                <a:gd name="connsiteY6" fmla="*/ 92311 h 110876"/>
                <a:gd name="connsiteX7" fmla="*/ 18566 w 110876"/>
                <a:gd name="connsiteY7" fmla="*/ 55438 h 110876"/>
                <a:gd name="connsiteX8" fmla="*/ 55438 w 110876"/>
                <a:gd name="connsiteY8" fmla="*/ 18566 h 110876"/>
                <a:gd name="connsiteX9" fmla="*/ 92311 w 110876"/>
                <a:gd name="connsiteY9" fmla="*/ 55438 h 110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876" h="110876">
                  <a:moveTo>
                    <a:pt x="0" y="55438"/>
                  </a:moveTo>
                  <a:cubicBezTo>
                    <a:pt x="0" y="86022"/>
                    <a:pt x="24855" y="110877"/>
                    <a:pt x="55438" y="110877"/>
                  </a:cubicBezTo>
                  <a:cubicBezTo>
                    <a:pt x="86022" y="110877"/>
                    <a:pt x="110877" y="86022"/>
                    <a:pt x="110877" y="55438"/>
                  </a:cubicBezTo>
                  <a:cubicBezTo>
                    <a:pt x="110877" y="24855"/>
                    <a:pt x="86022" y="0"/>
                    <a:pt x="55438" y="0"/>
                  </a:cubicBezTo>
                  <a:cubicBezTo>
                    <a:pt x="24855" y="0"/>
                    <a:pt x="0" y="24966"/>
                    <a:pt x="0" y="55438"/>
                  </a:cubicBezTo>
                  <a:close/>
                  <a:moveTo>
                    <a:pt x="92311" y="55438"/>
                  </a:moveTo>
                  <a:cubicBezTo>
                    <a:pt x="92311" y="75828"/>
                    <a:pt x="75753" y="92311"/>
                    <a:pt x="55438" y="92311"/>
                  </a:cubicBezTo>
                  <a:cubicBezTo>
                    <a:pt x="35161" y="92311"/>
                    <a:pt x="18566" y="75753"/>
                    <a:pt x="18566" y="55438"/>
                  </a:cubicBezTo>
                  <a:cubicBezTo>
                    <a:pt x="18566" y="35049"/>
                    <a:pt x="35123" y="18566"/>
                    <a:pt x="55438" y="18566"/>
                  </a:cubicBezTo>
                  <a:cubicBezTo>
                    <a:pt x="75716" y="18603"/>
                    <a:pt x="92311" y="35161"/>
                    <a:pt x="92311" y="554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B31E7E0-643B-B64B-6365-C425E4EBDBBD}"/>
                </a:ext>
              </a:extLst>
            </p:cNvPr>
            <p:cNvSpPr/>
            <p:nvPr/>
          </p:nvSpPr>
          <p:spPr>
            <a:xfrm>
              <a:off x="-727624" y="1219957"/>
              <a:ext cx="769246" cy="751069"/>
            </a:xfrm>
            <a:custGeom>
              <a:avLst/>
              <a:gdLst>
                <a:gd name="connsiteX0" fmla="*/ 745137 w 769246"/>
                <a:gd name="connsiteY0" fmla="*/ 564434 h 751069"/>
                <a:gd name="connsiteX1" fmla="*/ 769246 w 769246"/>
                <a:gd name="connsiteY1" fmla="*/ 492141 h 751069"/>
                <a:gd name="connsiteX2" fmla="*/ 655918 w 769246"/>
                <a:gd name="connsiteY2" fmla="*/ 370698 h 751069"/>
                <a:gd name="connsiteX3" fmla="*/ 655918 w 769246"/>
                <a:gd name="connsiteY3" fmla="*/ 210220 h 751069"/>
                <a:gd name="connsiteX4" fmla="*/ 646690 w 769246"/>
                <a:gd name="connsiteY4" fmla="*/ 200993 h 751069"/>
                <a:gd name="connsiteX5" fmla="*/ 595345 w 769246"/>
                <a:gd name="connsiteY5" fmla="*/ 200993 h 751069"/>
                <a:gd name="connsiteX6" fmla="*/ 595345 w 769246"/>
                <a:gd name="connsiteY6" fmla="*/ 187933 h 751069"/>
                <a:gd name="connsiteX7" fmla="*/ 589169 w 769246"/>
                <a:gd name="connsiteY7" fmla="*/ 179152 h 751069"/>
                <a:gd name="connsiteX8" fmla="*/ 556389 w 769246"/>
                <a:gd name="connsiteY8" fmla="*/ 167730 h 751069"/>
                <a:gd name="connsiteX9" fmla="*/ 536112 w 769246"/>
                <a:gd name="connsiteY9" fmla="*/ 118877 h 751069"/>
                <a:gd name="connsiteX10" fmla="*/ 551143 w 769246"/>
                <a:gd name="connsiteY10" fmla="*/ 87735 h 751069"/>
                <a:gd name="connsiteX11" fmla="*/ 549320 w 769246"/>
                <a:gd name="connsiteY11" fmla="*/ 77168 h 751069"/>
                <a:gd name="connsiteX12" fmla="*/ 517805 w 769246"/>
                <a:gd name="connsiteY12" fmla="*/ 45840 h 751069"/>
                <a:gd name="connsiteX13" fmla="*/ 507238 w 769246"/>
                <a:gd name="connsiteY13" fmla="*/ 44016 h 751069"/>
                <a:gd name="connsiteX14" fmla="*/ 475985 w 769246"/>
                <a:gd name="connsiteY14" fmla="*/ 59048 h 751069"/>
                <a:gd name="connsiteX15" fmla="*/ 427132 w 769246"/>
                <a:gd name="connsiteY15" fmla="*/ 38844 h 751069"/>
                <a:gd name="connsiteX16" fmla="*/ 415598 w 769246"/>
                <a:gd name="connsiteY16" fmla="*/ 6176 h 751069"/>
                <a:gd name="connsiteX17" fmla="*/ 406817 w 769246"/>
                <a:gd name="connsiteY17" fmla="*/ 0 h 751069"/>
                <a:gd name="connsiteX18" fmla="*/ 362243 w 769246"/>
                <a:gd name="connsiteY18" fmla="*/ 0 h 751069"/>
                <a:gd name="connsiteX19" fmla="*/ 353462 w 769246"/>
                <a:gd name="connsiteY19" fmla="*/ 6176 h 751069"/>
                <a:gd name="connsiteX20" fmla="*/ 342040 w 769246"/>
                <a:gd name="connsiteY20" fmla="*/ 38844 h 751069"/>
                <a:gd name="connsiteX21" fmla="*/ 293187 w 769246"/>
                <a:gd name="connsiteY21" fmla="*/ 59048 h 751069"/>
                <a:gd name="connsiteX22" fmla="*/ 261934 w 769246"/>
                <a:gd name="connsiteY22" fmla="*/ 44016 h 751069"/>
                <a:gd name="connsiteX23" fmla="*/ 251367 w 769246"/>
                <a:gd name="connsiteY23" fmla="*/ 45840 h 751069"/>
                <a:gd name="connsiteX24" fmla="*/ 219927 w 769246"/>
                <a:gd name="connsiteY24" fmla="*/ 77168 h 751069"/>
                <a:gd name="connsiteX25" fmla="*/ 218103 w 769246"/>
                <a:gd name="connsiteY25" fmla="*/ 87735 h 751069"/>
                <a:gd name="connsiteX26" fmla="*/ 233135 w 769246"/>
                <a:gd name="connsiteY26" fmla="*/ 118877 h 751069"/>
                <a:gd name="connsiteX27" fmla="*/ 212857 w 769246"/>
                <a:gd name="connsiteY27" fmla="*/ 167730 h 751069"/>
                <a:gd name="connsiteX28" fmla="*/ 180078 w 769246"/>
                <a:gd name="connsiteY28" fmla="*/ 179152 h 751069"/>
                <a:gd name="connsiteX29" fmla="*/ 173901 w 769246"/>
                <a:gd name="connsiteY29" fmla="*/ 187933 h 751069"/>
                <a:gd name="connsiteX30" fmla="*/ 173901 w 769246"/>
                <a:gd name="connsiteY30" fmla="*/ 200993 h 751069"/>
                <a:gd name="connsiteX31" fmla="*/ 122556 w 769246"/>
                <a:gd name="connsiteY31" fmla="*/ 200993 h 751069"/>
                <a:gd name="connsiteX32" fmla="*/ 113328 w 769246"/>
                <a:gd name="connsiteY32" fmla="*/ 210220 h 751069"/>
                <a:gd name="connsiteX33" fmla="*/ 113328 w 769246"/>
                <a:gd name="connsiteY33" fmla="*/ 370736 h 751069"/>
                <a:gd name="connsiteX34" fmla="*/ 0 w 769246"/>
                <a:gd name="connsiteY34" fmla="*/ 492179 h 751069"/>
                <a:gd name="connsiteX35" fmla="*/ 24110 w 769246"/>
                <a:gd name="connsiteY35" fmla="*/ 564472 h 751069"/>
                <a:gd name="connsiteX36" fmla="*/ 25263 w 769246"/>
                <a:gd name="connsiteY36" fmla="*/ 565998 h 751069"/>
                <a:gd name="connsiteX37" fmla="*/ 122599 w 769246"/>
                <a:gd name="connsiteY37" fmla="*/ 614107 h 751069"/>
                <a:gd name="connsiteX38" fmla="*/ 219935 w 769246"/>
                <a:gd name="connsiteY38" fmla="*/ 565998 h 751069"/>
                <a:gd name="connsiteX39" fmla="*/ 221088 w 769246"/>
                <a:gd name="connsiteY39" fmla="*/ 564472 h 751069"/>
                <a:gd name="connsiteX40" fmla="*/ 245198 w 769246"/>
                <a:gd name="connsiteY40" fmla="*/ 492179 h 751069"/>
                <a:gd name="connsiteX41" fmla="*/ 131870 w 769246"/>
                <a:gd name="connsiteY41" fmla="*/ 370736 h 751069"/>
                <a:gd name="connsiteX42" fmla="*/ 131870 w 769246"/>
                <a:gd name="connsiteY42" fmla="*/ 219450 h 751069"/>
                <a:gd name="connsiteX43" fmla="*/ 173988 w 769246"/>
                <a:gd name="connsiteY43" fmla="*/ 219450 h 751069"/>
                <a:gd name="connsiteX44" fmla="*/ 173988 w 769246"/>
                <a:gd name="connsiteY44" fmla="*/ 232398 h 751069"/>
                <a:gd name="connsiteX45" fmla="*/ 180165 w 769246"/>
                <a:gd name="connsiteY45" fmla="*/ 241179 h 751069"/>
                <a:gd name="connsiteX46" fmla="*/ 212944 w 769246"/>
                <a:gd name="connsiteY46" fmla="*/ 252602 h 751069"/>
                <a:gd name="connsiteX47" fmla="*/ 233147 w 769246"/>
                <a:gd name="connsiteY47" fmla="*/ 301380 h 751069"/>
                <a:gd name="connsiteX48" fmla="*/ 218190 w 769246"/>
                <a:gd name="connsiteY48" fmla="*/ 332522 h 751069"/>
                <a:gd name="connsiteX49" fmla="*/ 220014 w 769246"/>
                <a:gd name="connsiteY49" fmla="*/ 343089 h 751069"/>
                <a:gd name="connsiteX50" fmla="*/ 251454 w 769246"/>
                <a:gd name="connsiteY50" fmla="*/ 374529 h 751069"/>
                <a:gd name="connsiteX51" fmla="*/ 262021 w 769246"/>
                <a:gd name="connsiteY51" fmla="*/ 376352 h 751069"/>
                <a:gd name="connsiteX52" fmla="*/ 293274 w 769246"/>
                <a:gd name="connsiteY52" fmla="*/ 361321 h 751069"/>
                <a:gd name="connsiteX53" fmla="*/ 342127 w 769246"/>
                <a:gd name="connsiteY53" fmla="*/ 381525 h 751069"/>
                <a:gd name="connsiteX54" fmla="*/ 353549 w 769246"/>
                <a:gd name="connsiteY54" fmla="*/ 414192 h 751069"/>
                <a:gd name="connsiteX55" fmla="*/ 362330 w 769246"/>
                <a:gd name="connsiteY55" fmla="*/ 420369 h 751069"/>
                <a:gd name="connsiteX56" fmla="*/ 375390 w 769246"/>
                <a:gd name="connsiteY56" fmla="*/ 420369 h 751069"/>
                <a:gd name="connsiteX57" fmla="*/ 375390 w 769246"/>
                <a:gd name="connsiteY57" fmla="*/ 458953 h 751069"/>
                <a:gd name="connsiteX58" fmla="*/ 238316 w 769246"/>
                <a:gd name="connsiteY58" fmla="*/ 604771 h 751069"/>
                <a:gd name="connsiteX59" fmla="*/ 267188 w 769246"/>
                <a:gd name="connsiteY59" fmla="*/ 691649 h 751069"/>
                <a:gd name="connsiteX60" fmla="*/ 268602 w 769246"/>
                <a:gd name="connsiteY60" fmla="*/ 693547 h 751069"/>
                <a:gd name="connsiteX61" fmla="*/ 384616 w 769246"/>
                <a:gd name="connsiteY61" fmla="*/ 751069 h 751069"/>
                <a:gd name="connsiteX62" fmla="*/ 500631 w 769246"/>
                <a:gd name="connsiteY62" fmla="*/ 693547 h 751069"/>
                <a:gd name="connsiteX63" fmla="*/ 502045 w 769246"/>
                <a:gd name="connsiteY63" fmla="*/ 691649 h 751069"/>
                <a:gd name="connsiteX64" fmla="*/ 530917 w 769246"/>
                <a:gd name="connsiteY64" fmla="*/ 604771 h 751069"/>
                <a:gd name="connsiteX65" fmla="*/ 393842 w 769246"/>
                <a:gd name="connsiteY65" fmla="*/ 458953 h 751069"/>
                <a:gd name="connsiteX66" fmla="*/ 393842 w 769246"/>
                <a:gd name="connsiteY66" fmla="*/ 420369 h 751069"/>
                <a:gd name="connsiteX67" fmla="*/ 406791 w 769246"/>
                <a:gd name="connsiteY67" fmla="*/ 420369 h 751069"/>
                <a:gd name="connsiteX68" fmla="*/ 415572 w 769246"/>
                <a:gd name="connsiteY68" fmla="*/ 414192 h 751069"/>
                <a:gd name="connsiteX69" fmla="*/ 427105 w 769246"/>
                <a:gd name="connsiteY69" fmla="*/ 381525 h 751069"/>
                <a:gd name="connsiteX70" fmla="*/ 475958 w 769246"/>
                <a:gd name="connsiteY70" fmla="*/ 361321 h 751069"/>
                <a:gd name="connsiteX71" fmla="*/ 507212 w 769246"/>
                <a:gd name="connsiteY71" fmla="*/ 376352 h 751069"/>
                <a:gd name="connsiteX72" fmla="*/ 517779 w 769246"/>
                <a:gd name="connsiteY72" fmla="*/ 374529 h 751069"/>
                <a:gd name="connsiteX73" fmla="*/ 549293 w 769246"/>
                <a:gd name="connsiteY73" fmla="*/ 343089 h 751069"/>
                <a:gd name="connsiteX74" fmla="*/ 551116 w 769246"/>
                <a:gd name="connsiteY74" fmla="*/ 332522 h 751069"/>
                <a:gd name="connsiteX75" fmla="*/ 536159 w 769246"/>
                <a:gd name="connsiteY75" fmla="*/ 301380 h 751069"/>
                <a:gd name="connsiteX76" fmla="*/ 556363 w 769246"/>
                <a:gd name="connsiteY76" fmla="*/ 252602 h 751069"/>
                <a:gd name="connsiteX77" fmla="*/ 589142 w 769246"/>
                <a:gd name="connsiteY77" fmla="*/ 241179 h 751069"/>
                <a:gd name="connsiteX78" fmla="*/ 595318 w 769246"/>
                <a:gd name="connsiteY78" fmla="*/ 232398 h 751069"/>
                <a:gd name="connsiteX79" fmla="*/ 595318 w 769246"/>
                <a:gd name="connsiteY79" fmla="*/ 219450 h 751069"/>
                <a:gd name="connsiteX80" fmla="*/ 637437 w 769246"/>
                <a:gd name="connsiteY80" fmla="*/ 219450 h 751069"/>
                <a:gd name="connsiteX81" fmla="*/ 637437 w 769246"/>
                <a:gd name="connsiteY81" fmla="*/ 370698 h 751069"/>
                <a:gd name="connsiteX82" fmla="*/ 524108 w 769246"/>
                <a:gd name="connsiteY82" fmla="*/ 492141 h 751069"/>
                <a:gd name="connsiteX83" fmla="*/ 548218 w 769246"/>
                <a:gd name="connsiteY83" fmla="*/ 564434 h 751069"/>
                <a:gd name="connsiteX84" fmla="*/ 549260 w 769246"/>
                <a:gd name="connsiteY84" fmla="*/ 565848 h 751069"/>
                <a:gd name="connsiteX85" fmla="*/ 646596 w 769246"/>
                <a:gd name="connsiteY85" fmla="*/ 614031 h 751069"/>
                <a:gd name="connsiteX86" fmla="*/ 743932 w 769246"/>
                <a:gd name="connsiteY86" fmla="*/ 565922 h 751069"/>
                <a:gd name="connsiteX87" fmla="*/ 745160 w 769246"/>
                <a:gd name="connsiteY87" fmla="*/ 564434 h 751069"/>
                <a:gd name="connsiteX88" fmla="*/ 123002 w 769246"/>
                <a:gd name="connsiteY88" fmla="*/ 595613 h 751069"/>
                <a:gd name="connsiteX89" fmla="*/ 44718 w 769246"/>
                <a:gd name="connsiteY89" fmla="*/ 560192 h 751069"/>
                <a:gd name="connsiteX90" fmla="*/ 124712 w 769246"/>
                <a:gd name="connsiteY90" fmla="*/ 524101 h 751069"/>
                <a:gd name="connsiteX91" fmla="*/ 201210 w 769246"/>
                <a:gd name="connsiteY91" fmla="*/ 560192 h 751069"/>
                <a:gd name="connsiteX92" fmla="*/ 123001 w 769246"/>
                <a:gd name="connsiteY92" fmla="*/ 595613 h 751069"/>
                <a:gd name="connsiteX93" fmla="*/ 227110 w 769246"/>
                <a:gd name="connsiteY93" fmla="*/ 492143 h 751069"/>
                <a:gd name="connsiteX94" fmla="*/ 212450 w 769246"/>
                <a:gd name="connsiteY94" fmla="*/ 544828 h 751069"/>
                <a:gd name="connsiteX95" fmla="*/ 125199 w 769246"/>
                <a:gd name="connsiteY95" fmla="*/ 505500 h 751069"/>
                <a:gd name="connsiteX96" fmla="*/ 33744 w 769246"/>
                <a:gd name="connsiteY96" fmla="*/ 544828 h 751069"/>
                <a:gd name="connsiteX97" fmla="*/ 18972 w 769246"/>
                <a:gd name="connsiteY97" fmla="*/ 492068 h 751069"/>
                <a:gd name="connsiteX98" fmla="*/ 123081 w 769246"/>
                <a:gd name="connsiteY98" fmla="*/ 388636 h 751069"/>
                <a:gd name="connsiteX99" fmla="*/ 227113 w 769246"/>
                <a:gd name="connsiteY99" fmla="*/ 492144 h 751069"/>
                <a:gd name="connsiteX100" fmla="*/ 384834 w 769246"/>
                <a:gd name="connsiteY100" fmla="*/ 732650 h 751069"/>
                <a:gd name="connsiteX101" fmla="*/ 287575 w 769246"/>
                <a:gd name="connsiteY101" fmla="*/ 687517 h 751069"/>
                <a:gd name="connsiteX102" fmla="*/ 387025 w 769246"/>
                <a:gd name="connsiteY102" fmla="*/ 641604 h 751069"/>
                <a:gd name="connsiteX103" fmla="*/ 482164 w 769246"/>
                <a:gd name="connsiteY103" fmla="*/ 687517 h 751069"/>
                <a:gd name="connsiteX104" fmla="*/ 384828 w 769246"/>
                <a:gd name="connsiteY104" fmla="*/ 732650 h 751069"/>
                <a:gd name="connsiteX105" fmla="*/ 512679 w 769246"/>
                <a:gd name="connsiteY105" fmla="*/ 604843 h 751069"/>
                <a:gd name="connsiteX106" fmla="*/ 493257 w 769246"/>
                <a:gd name="connsiteY106" fmla="*/ 672188 h 751069"/>
                <a:gd name="connsiteX107" fmla="*/ 387329 w 769246"/>
                <a:gd name="connsiteY107" fmla="*/ 623149 h 751069"/>
                <a:gd name="connsiteX108" fmla="*/ 276448 w 769246"/>
                <a:gd name="connsiteY108" fmla="*/ 672300 h 751069"/>
                <a:gd name="connsiteX109" fmla="*/ 257026 w 769246"/>
                <a:gd name="connsiteY109" fmla="*/ 604881 h 751069"/>
                <a:gd name="connsiteX110" fmla="*/ 384871 w 769246"/>
                <a:gd name="connsiteY110" fmla="*/ 477037 h 751069"/>
                <a:gd name="connsiteX111" fmla="*/ 512677 w 769246"/>
                <a:gd name="connsiteY111" fmla="*/ 604843 h 751069"/>
                <a:gd name="connsiteX112" fmla="*/ 576861 w 769246"/>
                <a:gd name="connsiteY112" fmla="*/ 225853 h 751069"/>
                <a:gd name="connsiteX113" fmla="*/ 545533 w 769246"/>
                <a:gd name="connsiteY113" fmla="*/ 236791 h 751069"/>
                <a:gd name="connsiteX114" fmla="*/ 539542 w 769246"/>
                <a:gd name="connsiteY114" fmla="*/ 243563 h 751069"/>
                <a:gd name="connsiteX115" fmla="*/ 517925 w 769246"/>
                <a:gd name="connsiteY115" fmla="*/ 295765 h 751069"/>
                <a:gd name="connsiteX116" fmla="*/ 517367 w 769246"/>
                <a:gd name="connsiteY116" fmla="*/ 304806 h 751069"/>
                <a:gd name="connsiteX117" fmla="*/ 531766 w 769246"/>
                <a:gd name="connsiteY117" fmla="*/ 334609 h 751069"/>
                <a:gd name="connsiteX118" fmla="*/ 509591 w 769246"/>
                <a:gd name="connsiteY118" fmla="*/ 356784 h 751069"/>
                <a:gd name="connsiteX119" fmla="*/ 479602 w 769246"/>
                <a:gd name="connsiteY119" fmla="*/ 342385 h 751069"/>
                <a:gd name="connsiteX120" fmla="*/ 470561 w 769246"/>
                <a:gd name="connsiteY120" fmla="*/ 342943 h 751069"/>
                <a:gd name="connsiteX121" fmla="*/ 418359 w 769246"/>
                <a:gd name="connsiteY121" fmla="*/ 364560 h 751069"/>
                <a:gd name="connsiteX122" fmla="*/ 411588 w 769246"/>
                <a:gd name="connsiteY122" fmla="*/ 370551 h 751069"/>
                <a:gd name="connsiteX123" fmla="*/ 400649 w 769246"/>
                <a:gd name="connsiteY123" fmla="*/ 401879 h 751069"/>
                <a:gd name="connsiteX124" fmla="*/ 369209 w 769246"/>
                <a:gd name="connsiteY124" fmla="*/ 401879 h 751069"/>
                <a:gd name="connsiteX125" fmla="*/ 358270 w 769246"/>
                <a:gd name="connsiteY125" fmla="*/ 370551 h 751069"/>
                <a:gd name="connsiteX126" fmla="*/ 351499 w 769246"/>
                <a:gd name="connsiteY126" fmla="*/ 364560 h 751069"/>
                <a:gd name="connsiteX127" fmla="*/ 299223 w 769246"/>
                <a:gd name="connsiteY127" fmla="*/ 342943 h 751069"/>
                <a:gd name="connsiteX128" fmla="*/ 290181 w 769246"/>
                <a:gd name="connsiteY128" fmla="*/ 342385 h 751069"/>
                <a:gd name="connsiteX129" fmla="*/ 260193 w 769246"/>
                <a:gd name="connsiteY129" fmla="*/ 356784 h 751069"/>
                <a:gd name="connsiteX130" fmla="*/ 238018 w 769246"/>
                <a:gd name="connsiteY130" fmla="*/ 334609 h 751069"/>
                <a:gd name="connsiteX131" fmla="*/ 252417 w 769246"/>
                <a:gd name="connsiteY131" fmla="*/ 304806 h 751069"/>
                <a:gd name="connsiteX132" fmla="*/ 251859 w 769246"/>
                <a:gd name="connsiteY132" fmla="*/ 295765 h 751069"/>
                <a:gd name="connsiteX133" fmla="*/ 230242 w 769246"/>
                <a:gd name="connsiteY133" fmla="*/ 243563 h 751069"/>
                <a:gd name="connsiteX134" fmla="*/ 224251 w 769246"/>
                <a:gd name="connsiteY134" fmla="*/ 236791 h 751069"/>
                <a:gd name="connsiteX135" fmla="*/ 192923 w 769246"/>
                <a:gd name="connsiteY135" fmla="*/ 225853 h 751069"/>
                <a:gd name="connsiteX136" fmla="*/ 192923 w 769246"/>
                <a:gd name="connsiteY136" fmla="*/ 194524 h 751069"/>
                <a:gd name="connsiteX137" fmla="*/ 224251 w 769246"/>
                <a:gd name="connsiteY137" fmla="*/ 183586 h 751069"/>
                <a:gd name="connsiteX138" fmla="*/ 230242 w 769246"/>
                <a:gd name="connsiteY138" fmla="*/ 176740 h 751069"/>
                <a:gd name="connsiteX139" fmla="*/ 251859 w 769246"/>
                <a:gd name="connsiteY139" fmla="*/ 124649 h 751069"/>
                <a:gd name="connsiteX140" fmla="*/ 252417 w 769246"/>
                <a:gd name="connsiteY140" fmla="*/ 115608 h 751069"/>
                <a:gd name="connsiteX141" fmla="*/ 238018 w 769246"/>
                <a:gd name="connsiteY141" fmla="*/ 85694 h 751069"/>
                <a:gd name="connsiteX142" fmla="*/ 260119 w 769246"/>
                <a:gd name="connsiteY142" fmla="*/ 63593 h 751069"/>
                <a:gd name="connsiteX143" fmla="*/ 290107 w 769246"/>
                <a:gd name="connsiteY143" fmla="*/ 77992 h 751069"/>
                <a:gd name="connsiteX144" fmla="*/ 299148 w 769246"/>
                <a:gd name="connsiteY144" fmla="*/ 77434 h 751069"/>
                <a:gd name="connsiteX145" fmla="*/ 351424 w 769246"/>
                <a:gd name="connsiteY145" fmla="*/ 55817 h 751069"/>
                <a:gd name="connsiteX146" fmla="*/ 358196 w 769246"/>
                <a:gd name="connsiteY146" fmla="*/ 49826 h 751069"/>
                <a:gd name="connsiteX147" fmla="*/ 369135 w 769246"/>
                <a:gd name="connsiteY147" fmla="*/ 18498 h 751069"/>
                <a:gd name="connsiteX148" fmla="*/ 400575 w 769246"/>
                <a:gd name="connsiteY148" fmla="*/ 18498 h 751069"/>
                <a:gd name="connsiteX149" fmla="*/ 411513 w 769246"/>
                <a:gd name="connsiteY149" fmla="*/ 49826 h 751069"/>
                <a:gd name="connsiteX150" fmla="*/ 418285 w 769246"/>
                <a:gd name="connsiteY150" fmla="*/ 55817 h 751069"/>
                <a:gd name="connsiteX151" fmla="*/ 470487 w 769246"/>
                <a:gd name="connsiteY151" fmla="*/ 77434 h 751069"/>
                <a:gd name="connsiteX152" fmla="*/ 479528 w 769246"/>
                <a:gd name="connsiteY152" fmla="*/ 77992 h 751069"/>
                <a:gd name="connsiteX153" fmla="*/ 509517 w 769246"/>
                <a:gd name="connsiteY153" fmla="*/ 63593 h 751069"/>
                <a:gd name="connsiteX154" fmla="*/ 531692 w 769246"/>
                <a:gd name="connsiteY154" fmla="*/ 85694 h 751069"/>
                <a:gd name="connsiteX155" fmla="*/ 517293 w 769246"/>
                <a:gd name="connsiteY155" fmla="*/ 115608 h 751069"/>
                <a:gd name="connsiteX156" fmla="*/ 517851 w 769246"/>
                <a:gd name="connsiteY156" fmla="*/ 124649 h 751069"/>
                <a:gd name="connsiteX157" fmla="*/ 539468 w 769246"/>
                <a:gd name="connsiteY157" fmla="*/ 176740 h 751069"/>
                <a:gd name="connsiteX158" fmla="*/ 545458 w 769246"/>
                <a:gd name="connsiteY158" fmla="*/ 183586 h 751069"/>
                <a:gd name="connsiteX159" fmla="*/ 576787 w 769246"/>
                <a:gd name="connsiteY159" fmla="*/ 194524 h 751069"/>
                <a:gd name="connsiteX160" fmla="*/ 576750 w 769246"/>
                <a:gd name="connsiteY160" fmla="*/ 225853 h 751069"/>
                <a:gd name="connsiteX161" fmla="*/ 646661 w 769246"/>
                <a:gd name="connsiteY161" fmla="*/ 388711 h 751069"/>
                <a:gd name="connsiteX162" fmla="*/ 750770 w 769246"/>
                <a:gd name="connsiteY162" fmla="*/ 492143 h 751069"/>
                <a:gd name="connsiteX163" fmla="*/ 736110 w 769246"/>
                <a:gd name="connsiteY163" fmla="*/ 544828 h 751069"/>
                <a:gd name="connsiteX164" fmla="*/ 648859 w 769246"/>
                <a:gd name="connsiteY164" fmla="*/ 505500 h 751069"/>
                <a:gd name="connsiteX165" fmla="*/ 557404 w 769246"/>
                <a:gd name="connsiteY165" fmla="*/ 544828 h 751069"/>
                <a:gd name="connsiteX166" fmla="*/ 542632 w 769246"/>
                <a:gd name="connsiteY166" fmla="*/ 492068 h 751069"/>
                <a:gd name="connsiteX167" fmla="*/ 646664 w 769246"/>
                <a:gd name="connsiteY167" fmla="*/ 388703 h 751069"/>
                <a:gd name="connsiteX168" fmla="*/ 646661 w 769246"/>
                <a:gd name="connsiteY168" fmla="*/ 595623 h 751069"/>
                <a:gd name="connsiteX169" fmla="*/ 568377 w 769246"/>
                <a:gd name="connsiteY169" fmla="*/ 560201 h 751069"/>
                <a:gd name="connsiteX170" fmla="*/ 646661 w 769246"/>
                <a:gd name="connsiteY170" fmla="*/ 524110 h 751069"/>
                <a:gd name="connsiteX171" fmla="*/ 648373 w 769246"/>
                <a:gd name="connsiteY171" fmla="*/ 524110 h 751069"/>
                <a:gd name="connsiteX172" fmla="*/ 724870 w 769246"/>
                <a:gd name="connsiteY172" fmla="*/ 560201 h 751069"/>
                <a:gd name="connsiteX173" fmla="*/ 646661 w 769246"/>
                <a:gd name="connsiteY173" fmla="*/ 595623 h 751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</a:cxnLst>
              <a:rect l="l" t="t" r="r" b="b"/>
              <a:pathLst>
                <a:path w="769246" h="751069">
                  <a:moveTo>
                    <a:pt x="745137" y="564434"/>
                  </a:moveTo>
                  <a:cubicBezTo>
                    <a:pt x="760168" y="544156"/>
                    <a:pt x="769246" y="519190"/>
                    <a:pt x="769246" y="492141"/>
                  </a:cubicBezTo>
                  <a:cubicBezTo>
                    <a:pt x="769246" y="428033"/>
                    <a:pt x="719240" y="375460"/>
                    <a:pt x="655918" y="370698"/>
                  </a:cubicBezTo>
                  <a:lnTo>
                    <a:pt x="655918" y="210220"/>
                  </a:lnTo>
                  <a:cubicBezTo>
                    <a:pt x="655918" y="205086"/>
                    <a:pt x="651825" y="200993"/>
                    <a:pt x="646690" y="200993"/>
                  </a:cubicBezTo>
                  <a:lnTo>
                    <a:pt x="595345" y="200993"/>
                  </a:lnTo>
                  <a:lnTo>
                    <a:pt x="595345" y="187933"/>
                  </a:lnTo>
                  <a:cubicBezTo>
                    <a:pt x="595345" y="184027"/>
                    <a:pt x="592852" y="180492"/>
                    <a:pt x="589169" y="179152"/>
                  </a:cubicBezTo>
                  <a:lnTo>
                    <a:pt x="556389" y="167730"/>
                  </a:lnTo>
                  <a:cubicBezTo>
                    <a:pt x="552185" y="150503"/>
                    <a:pt x="545338" y="134095"/>
                    <a:pt x="536112" y="118877"/>
                  </a:cubicBezTo>
                  <a:lnTo>
                    <a:pt x="551143" y="87735"/>
                  </a:lnTo>
                  <a:cubicBezTo>
                    <a:pt x="552854" y="84201"/>
                    <a:pt x="552110" y="79922"/>
                    <a:pt x="549320" y="77168"/>
                  </a:cubicBezTo>
                  <a:lnTo>
                    <a:pt x="517805" y="45840"/>
                  </a:lnTo>
                  <a:cubicBezTo>
                    <a:pt x="515052" y="43086"/>
                    <a:pt x="510848" y="42305"/>
                    <a:pt x="507238" y="44016"/>
                  </a:cubicBezTo>
                  <a:lnTo>
                    <a:pt x="475985" y="59048"/>
                  </a:lnTo>
                  <a:cubicBezTo>
                    <a:pt x="460842" y="49820"/>
                    <a:pt x="444470" y="43049"/>
                    <a:pt x="427132" y="38844"/>
                  </a:cubicBezTo>
                  <a:lnTo>
                    <a:pt x="415598" y="6176"/>
                  </a:lnTo>
                  <a:cubicBezTo>
                    <a:pt x="414259" y="2456"/>
                    <a:pt x="410836" y="0"/>
                    <a:pt x="406817" y="0"/>
                  </a:cubicBezTo>
                  <a:lnTo>
                    <a:pt x="362243" y="0"/>
                  </a:lnTo>
                  <a:cubicBezTo>
                    <a:pt x="358336" y="0"/>
                    <a:pt x="354802" y="2493"/>
                    <a:pt x="353462" y="6176"/>
                  </a:cubicBezTo>
                  <a:lnTo>
                    <a:pt x="342040" y="38844"/>
                  </a:lnTo>
                  <a:cubicBezTo>
                    <a:pt x="324813" y="43123"/>
                    <a:pt x="308330" y="49895"/>
                    <a:pt x="293187" y="59048"/>
                  </a:cubicBezTo>
                  <a:lnTo>
                    <a:pt x="261934" y="44016"/>
                  </a:lnTo>
                  <a:cubicBezTo>
                    <a:pt x="258399" y="42305"/>
                    <a:pt x="254120" y="43049"/>
                    <a:pt x="251367" y="45840"/>
                  </a:cubicBezTo>
                  <a:lnTo>
                    <a:pt x="219927" y="77168"/>
                  </a:lnTo>
                  <a:cubicBezTo>
                    <a:pt x="217173" y="79922"/>
                    <a:pt x="216392" y="84200"/>
                    <a:pt x="218103" y="87735"/>
                  </a:cubicBezTo>
                  <a:lnTo>
                    <a:pt x="233135" y="118877"/>
                  </a:lnTo>
                  <a:cubicBezTo>
                    <a:pt x="223907" y="134020"/>
                    <a:pt x="217024" y="150392"/>
                    <a:pt x="212857" y="167730"/>
                  </a:cubicBezTo>
                  <a:lnTo>
                    <a:pt x="180078" y="179152"/>
                  </a:lnTo>
                  <a:cubicBezTo>
                    <a:pt x="176357" y="180492"/>
                    <a:pt x="173901" y="183915"/>
                    <a:pt x="173901" y="187933"/>
                  </a:cubicBezTo>
                  <a:lnTo>
                    <a:pt x="173901" y="200993"/>
                  </a:lnTo>
                  <a:lnTo>
                    <a:pt x="122556" y="200993"/>
                  </a:lnTo>
                  <a:cubicBezTo>
                    <a:pt x="117421" y="200993"/>
                    <a:pt x="113328" y="205086"/>
                    <a:pt x="113328" y="210220"/>
                  </a:cubicBezTo>
                  <a:lnTo>
                    <a:pt x="113328" y="370736"/>
                  </a:lnTo>
                  <a:cubicBezTo>
                    <a:pt x="50077" y="375498"/>
                    <a:pt x="0" y="428071"/>
                    <a:pt x="0" y="492179"/>
                  </a:cubicBezTo>
                  <a:cubicBezTo>
                    <a:pt x="0" y="519229"/>
                    <a:pt x="9041" y="544195"/>
                    <a:pt x="24110" y="564472"/>
                  </a:cubicBezTo>
                  <a:cubicBezTo>
                    <a:pt x="24407" y="565030"/>
                    <a:pt x="24854" y="565514"/>
                    <a:pt x="25263" y="565998"/>
                  </a:cubicBezTo>
                  <a:cubicBezTo>
                    <a:pt x="47662" y="595131"/>
                    <a:pt x="82897" y="614107"/>
                    <a:pt x="122599" y="614107"/>
                  </a:cubicBezTo>
                  <a:cubicBezTo>
                    <a:pt x="162336" y="614107"/>
                    <a:pt x="197571" y="595168"/>
                    <a:pt x="219935" y="565998"/>
                  </a:cubicBezTo>
                  <a:cubicBezTo>
                    <a:pt x="220307" y="565514"/>
                    <a:pt x="220791" y="565030"/>
                    <a:pt x="221088" y="564472"/>
                  </a:cubicBezTo>
                  <a:cubicBezTo>
                    <a:pt x="236120" y="544195"/>
                    <a:pt x="245198" y="519229"/>
                    <a:pt x="245198" y="492179"/>
                  </a:cubicBezTo>
                  <a:cubicBezTo>
                    <a:pt x="245198" y="428071"/>
                    <a:pt x="195192" y="375498"/>
                    <a:pt x="131870" y="370736"/>
                  </a:cubicBezTo>
                  <a:lnTo>
                    <a:pt x="131870" y="219450"/>
                  </a:lnTo>
                  <a:lnTo>
                    <a:pt x="173988" y="219450"/>
                  </a:lnTo>
                  <a:lnTo>
                    <a:pt x="173988" y="232398"/>
                  </a:lnTo>
                  <a:cubicBezTo>
                    <a:pt x="173988" y="236305"/>
                    <a:pt x="176481" y="239840"/>
                    <a:pt x="180165" y="241179"/>
                  </a:cubicBezTo>
                  <a:lnTo>
                    <a:pt x="212944" y="252602"/>
                  </a:lnTo>
                  <a:cubicBezTo>
                    <a:pt x="217148" y="269829"/>
                    <a:pt x="223882" y="286236"/>
                    <a:pt x="233147" y="301380"/>
                  </a:cubicBezTo>
                  <a:lnTo>
                    <a:pt x="218190" y="332522"/>
                  </a:lnTo>
                  <a:cubicBezTo>
                    <a:pt x="216479" y="336057"/>
                    <a:pt x="217223" y="340336"/>
                    <a:pt x="220014" y="343089"/>
                  </a:cubicBezTo>
                  <a:lnTo>
                    <a:pt x="251454" y="374529"/>
                  </a:lnTo>
                  <a:cubicBezTo>
                    <a:pt x="254207" y="377283"/>
                    <a:pt x="258411" y="378064"/>
                    <a:pt x="262021" y="376352"/>
                  </a:cubicBezTo>
                  <a:lnTo>
                    <a:pt x="293274" y="361321"/>
                  </a:lnTo>
                  <a:cubicBezTo>
                    <a:pt x="308529" y="370548"/>
                    <a:pt x="324900" y="377320"/>
                    <a:pt x="342127" y="381525"/>
                  </a:cubicBezTo>
                  <a:lnTo>
                    <a:pt x="353549" y="414192"/>
                  </a:lnTo>
                  <a:cubicBezTo>
                    <a:pt x="354889" y="417913"/>
                    <a:pt x="358312" y="420369"/>
                    <a:pt x="362330" y="420369"/>
                  </a:cubicBezTo>
                  <a:lnTo>
                    <a:pt x="375390" y="420369"/>
                  </a:lnTo>
                  <a:lnTo>
                    <a:pt x="375390" y="458953"/>
                  </a:lnTo>
                  <a:cubicBezTo>
                    <a:pt x="299004" y="463715"/>
                    <a:pt x="238316" y="527265"/>
                    <a:pt x="238316" y="604771"/>
                  </a:cubicBezTo>
                  <a:cubicBezTo>
                    <a:pt x="238316" y="637365"/>
                    <a:pt x="249180" y="667353"/>
                    <a:pt x="267188" y="691649"/>
                  </a:cubicBezTo>
                  <a:cubicBezTo>
                    <a:pt x="267560" y="692319"/>
                    <a:pt x="268044" y="692989"/>
                    <a:pt x="268602" y="693547"/>
                  </a:cubicBezTo>
                  <a:cubicBezTo>
                    <a:pt x="295354" y="728410"/>
                    <a:pt x="337361" y="751069"/>
                    <a:pt x="384616" y="751069"/>
                  </a:cubicBezTo>
                  <a:cubicBezTo>
                    <a:pt x="431869" y="751069"/>
                    <a:pt x="473876" y="728410"/>
                    <a:pt x="500631" y="693547"/>
                  </a:cubicBezTo>
                  <a:cubicBezTo>
                    <a:pt x="501189" y="692989"/>
                    <a:pt x="501673" y="692394"/>
                    <a:pt x="502045" y="691649"/>
                  </a:cubicBezTo>
                  <a:cubicBezTo>
                    <a:pt x="520127" y="667353"/>
                    <a:pt x="530917" y="637253"/>
                    <a:pt x="530917" y="604771"/>
                  </a:cubicBezTo>
                  <a:cubicBezTo>
                    <a:pt x="530917" y="527232"/>
                    <a:pt x="470232" y="463715"/>
                    <a:pt x="393842" y="458953"/>
                  </a:cubicBezTo>
                  <a:lnTo>
                    <a:pt x="393842" y="420369"/>
                  </a:lnTo>
                  <a:lnTo>
                    <a:pt x="406791" y="420369"/>
                  </a:lnTo>
                  <a:cubicBezTo>
                    <a:pt x="410698" y="420369"/>
                    <a:pt x="414232" y="417876"/>
                    <a:pt x="415572" y="414192"/>
                  </a:cubicBezTo>
                  <a:lnTo>
                    <a:pt x="427105" y="381525"/>
                  </a:lnTo>
                  <a:cubicBezTo>
                    <a:pt x="444444" y="377246"/>
                    <a:pt x="460815" y="370474"/>
                    <a:pt x="475958" y="361321"/>
                  </a:cubicBezTo>
                  <a:lnTo>
                    <a:pt x="507212" y="376352"/>
                  </a:lnTo>
                  <a:cubicBezTo>
                    <a:pt x="510746" y="378064"/>
                    <a:pt x="515025" y="377320"/>
                    <a:pt x="517779" y="374529"/>
                  </a:cubicBezTo>
                  <a:lnTo>
                    <a:pt x="549293" y="343089"/>
                  </a:lnTo>
                  <a:cubicBezTo>
                    <a:pt x="552046" y="340336"/>
                    <a:pt x="552828" y="336057"/>
                    <a:pt x="551116" y="332522"/>
                  </a:cubicBezTo>
                  <a:lnTo>
                    <a:pt x="536159" y="301380"/>
                  </a:lnTo>
                  <a:cubicBezTo>
                    <a:pt x="545386" y="286125"/>
                    <a:pt x="552158" y="269754"/>
                    <a:pt x="556363" y="252602"/>
                  </a:cubicBezTo>
                  <a:lnTo>
                    <a:pt x="589142" y="241179"/>
                  </a:lnTo>
                  <a:cubicBezTo>
                    <a:pt x="592863" y="239840"/>
                    <a:pt x="595318" y="236417"/>
                    <a:pt x="595318" y="232398"/>
                  </a:cubicBezTo>
                  <a:lnTo>
                    <a:pt x="595318" y="219450"/>
                  </a:lnTo>
                  <a:lnTo>
                    <a:pt x="637437" y="219450"/>
                  </a:lnTo>
                  <a:lnTo>
                    <a:pt x="637437" y="370698"/>
                  </a:lnTo>
                  <a:cubicBezTo>
                    <a:pt x="574185" y="375460"/>
                    <a:pt x="524108" y="428033"/>
                    <a:pt x="524108" y="492141"/>
                  </a:cubicBezTo>
                  <a:cubicBezTo>
                    <a:pt x="524108" y="519190"/>
                    <a:pt x="533150" y="544156"/>
                    <a:pt x="548218" y="564434"/>
                  </a:cubicBezTo>
                  <a:cubicBezTo>
                    <a:pt x="548516" y="564992"/>
                    <a:pt x="548888" y="565402"/>
                    <a:pt x="549260" y="565848"/>
                  </a:cubicBezTo>
                  <a:cubicBezTo>
                    <a:pt x="571659" y="595093"/>
                    <a:pt x="606894" y="614031"/>
                    <a:pt x="646596" y="614031"/>
                  </a:cubicBezTo>
                  <a:cubicBezTo>
                    <a:pt x="686333" y="614031"/>
                    <a:pt x="721568" y="595093"/>
                    <a:pt x="743932" y="565922"/>
                  </a:cubicBezTo>
                  <a:cubicBezTo>
                    <a:pt x="744416" y="565513"/>
                    <a:pt x="744899" y="565029"/>
                    <a:pt x="745160" y="564434"/>
                  </a:cubicBezTo>
                  <a:close/>
                  <a:moveTo>
                    <a:pt x="123002" y="595613"/>
                  </a:moveTo>
                  <a:cubicBezTo>
                    <a:pt x="91748" y="595613"/>
                    <a:pt x="63843" y="581810"/>
                    <a:pt x="44718" y="560192"/>
                  </a:cubicBezTo>
                  <a:cubicBezTo>
                    <a:pt x="55396" y="548397"/>
                    <a:pt x="83003" y="523319"/>
                    <a:pt x="124712" y="524101"/>
                  </a:cubicBezTo>
                  <a:cubicBezTo>
                    <a:pt x="164524" y="524770"/>
                    <a:pt x="190829" y="548768"/>
                    <a:pt x="201210" y="560192"/>
                  </a:cubicBezTo>
                  <a:cubicBezTo>
                    <a:pt x="182122" y="581772"/>
                    <a:pt x="154217" y="595613"/>
                    <a:pt x="123001" y="595613"/>
                  </a:cubicBezTo>
                  <a:close/>
                  <a:moveTo>
                    <a:pt x="227110" y="492143"/>
                  </a:moveTo>
                  <a:cubicBezTo>
                    <a:pt x="227110" y="511379"/>
                    <a:pt x="221678" y="529388"/>
                    <a:pt x="212450" y="544828"/>
                  </a:cubicBezTo>
                  <a:cubicBezTo>
                    <a:pt x="198460" y="530168"/>
                    <a:pt x="169029" y="506244"/>
                    <a:pt x="125199" y="505500"/>
                  </a:cubicBezTo>
                  <a:cubicBezTo>
                    <a:pt x="79211" y="504756"/>
                    <a:pt x="47957" y="530168"/>
                    <a:pt x="33744" y="544828"/>
                  </a:cubicBezTo>
                  <a:cubicBezTo>
                    <a:pt x="24516" y="529387"/>
                    <a:pt x="18972" y="511379"/>
                    <a:pt x="18972" y="492068"/>
                  </a:cubicBezTo>
                  <a:cubicBezTo>
                    <a:pt x="18972" y="435029"/>
                    <a:pt x="65630" y="388636"/>
                    <a:pt x="123081" y="388636"/>
                  </a:cubicBezTo>
                  <a:cubicBezTo>
                    <a:pt x="180532" y="388636"/>
                    <a:pt x="227113" y="435108"/>
                    <a:pt x="227113" y="492144"/>
                  </a:cubicBezTo>
                  <a:close/>
                  <a:moveTo>
                    <a:pt x="384834" y="732650"/>
                  </a:moveTo>
                  <a:cubicBezTo>
                    <a:pt x="345879" y="732650"/>
                    <a:pt x="311016" y="715125"/>
                    <a:pt x="287575" y="687517"/>
                  </a:cubicBezTo>
                  <a:cubicBezTo>
                    <a:pt x="299667" y="673602"/>
                    <a:pt x="333972" y="640636"/>
                    <a:pt x="387025" y="641604"/>
                  </a:cubicBezTo>
                  <a:cubicBezTo>
                    <a:pt x="437590" y="642460"/>
                    <a:pt x="470369" y="673974"/>
                    <a:pt x="482164" y="687517"/>
                  </a:cubicBezTo>
                  <a:cubicBezTo>
                    <a:pt x="458648" y="715050"/>
                    <a:pt x="423786" y="732650"/>
                    <a:pt x="384828" y="732650"/>
                  </a:cubicBezTo>
                  <a:close/>
                  <a:moveTo>
                    <a:pt x="512679" y="604843"/>
                  </a:moveTo>
                  <a:cubicBezTo>
                    <a:pt x="512679" y="629623"/>
                    <a:pt x="505535" y="652579"/>
                    <a:pt x="493257" y="672188"/>
                  </a:cubicBezTo>
                  <a:cubicBezTo>
                    <a:pt x="477332" y="654849"/>
                    <a:pt x="441613" y="624079"/>
                    <a:pt x="387329" y="623149"/>
                  </a:cubicBezTo>
                  <a:cubicBezTo>
                    <a:pt x="330923" y="622405"/>
                    <a:pt x="292637" y="655073"/>
                    <a:pt x="276448" y="672300"/>
                  </a:cubicBezTo>
                  <a:cubicBezTo>
                    <a:pt x="264170" y="652692"/>
                    <a:pt x="257026" y="629623"/>
                    <a:pt x="257026" y="604881"/>
                  </a:cubicBezTo>
                  <a:cubicBezTo>
                    <a:pt x="257026" y="534411"/>
                    <a:pt x="314362" y="477037"/>
                    <a:pt x="384871" y="477037"/>
                  </a:cubicBezTo>
                  <a:cubicBezTo>
                    <a:pt x="455303" y="476999"/>
                    <a:pt x="512677" y="534372"/>
                    <a:pt x="512677" y="604843"/>
                  </a:cubicBezTo>
                  <a:close/>
                  <a:moveTo>
                    <a:pt x="576861" y="225853"/>
                  </a:moveTo>
                  <a:lnTo>
                    <a:pt x="545533" y="236791"/>
                  </a:lnTo>
                  <a:cubicBezTo>
                    <a:pt x="542482" y="237833"/>
                    <a:pt x="540212" y="240400"/>
                    <a:pt x="539542" y="243563"/>
                  </a:cubicBezTo>
                  <a:cubicBezTo>
                    <a:pt x="535635" y="262129"/>
                    <a:pt x="528306" y="279654"/>
                    <a:pt x="517925" y="295765"/>
                  </a:cubicBezTo>
                  <a:cubicBezTo>
                    <a:pt x="516214" y="298444"/>
                    <a:pt x="515916" y="301867"/>
                    <a:pt x="517367" y="304806"/>
                  </a:cubicBezTo>
                  <a:lnTo>
                    <a:pt x="531766" y="334609"/>
                  </a:lnTo>
                  <a:lnTo>
                    <a:pt x="509591" y="356784"/>
                  </a:lnTo>
                  <a:lnTo>
                    <a:pt x="479602" y="342385"/>
                  </a:lnTo>
                  <a:cubicBezTo>
                    <a:pt x="476737" y="340971"/>
                    <a:pt x="473203" y="341232"/>
                    <a:pt x="470561" y="342943"/>
                  </a:cubicBezTo>
                  <a:cubicBezTo>
                    <a:pt x="454636" y="353212"/>
                    <a:pt x="437112" y="360580"/>
                    <a:pt x="418359" y="364560"/>
                  </a:cubicBezTo>
                  <a:cubicBezTo>
                    <a:pt x="415234" y="365230"/>
                    <a:pt x="412629" y="367499"/>
                    <a:pt x="411588" y="370551"/>
                  </a:cubicBezTo>
                  <a:lnTo>
                    <a:pt x="400649" y="401879"/>
                  </a:lnTo>
                  <a:lnTo>
                    <a:pt x="369209" y="401879"/>
                  </a:lnTo>
                  <a:lnTo>
                    <a:pt x="358270" y="370551"/>
                  </a:lnTo>
                  <a:cubicBezTo>
                    <a:pt x="357229" y="367500"/>
                    <a:pt x="354661" y="365230"/>
                    <a:pt x="351499" y="364560"/>
                  </a:cubicBezTo>
                  <a:cubicBezTo>
                    <a:pt x="332821" y="360542"/>
                    <a:pt x="315222" y="353324"/>
                    <a:pt x="299223" y="342943"/>
                  </a:cubicBezTo>
                  <a:cubicBezTo>
                    <a:pt x="296544" y="341232"/>
                    <a:pt x="293121" y="340934"/>
                    <a:pt x="290181" y="342385"/>
                  </a:cubicBezTo>
                  <a:lnTo>
                    <a:pt x="260193" y="356784"/>
                  </a:lnTo>
                  <a:lnTo>
                    <a:pt x="238018" y="334609"/>
                  </a:lnTo>
                  <a:lnTo>
                    <a:pt x="252417" y="304806"/>
                  </a:lnTo>
                  <a:cubicBezTo>
                    <a:pt x="253831" y="301867"/>
                    <a:pt x="253570" y="298407"/>
                    <a:pt x="251859" y="295765"/>
                  </a:cubicBezTo>
                  <a:cubicBezTo>
                    <a:pt x="241478" y="279766"/>
                    <a:pt x="234222" y="262130"/>
                    <a:pt x="230242" y="243563"/>
                  </a:cubicBezTo>
                  <a:cubicBezTo>
                    <a:pt x="229572" y="240438"/>
                    <a:pt x="227302" y="237833"/>
                    <a:pt x="224251" y="236791"/>
                  </a:cubicBezTo>
                  <a:lnTo>
                    <a:pt x="192923" y="225853"/>
                  </a:lnTo>
                  <a:lnTo>
                    <a:pt x="192923" y="194524"/>
                  </a:lnTo>
                  <a:lnTo>
                    <a:pt x="224251" y="183586"/>
                  </a:lnTo>
                  <a:cubicBezTo>
                    <a:pt x="227302" y="182544"/>
                    <a:pt x="229572" y="179977"/>
                    <a:pt x="230242" y="176740"/>
                  </a:cubicBezTo>
                  <a:cubicBezTo>
                    <a:pt x="234148" y="158173"/>
                    <a:pt x="241478" y="140537"/>
                    <a:pt x="251859" y="124649"/>
                  </a:cubicBezTo>
                  <a:cubicBezTo>
                    <a:pt x="253682" y="121970"/>
                    <a:pt x="253868" y="118473"/>
                    <a:pt x="252417" y="115608"/>
                  </a:cubicBezTo>
                  <a:lnTo>
                    <a:pt x="238018" y="85694"/>
                  </a:lnTo>
                  <a:lnTo>
                    <a:pt x="260119" y="63593"/>
                  </a:lnTo>
                  <a:lnTo>
                    <a:pt x="290107" y="77992"/>
                  </a:lnTo>
                  <a:cubicBezTo>
                    <a:pt x="292972" y="79406"/>
                    <a:pt x="296395" y="79145"/>
                    <a:pt x="299148" y="77434"/>
                  </a:cubicBezTo>
                  <a:cubicBezTo>
                    <a:pt x="315148" y="67053"/>
                    <a:pt x="332783" y="59797"/>
                    <a:pt x="351424" y="55817"/>
                  </a:cubicBezTo>
                  <a:cubicBezTo>
                    <a:pt x="354550" y="55147"/>
                    <a:pt x="357154" y="52877"/>
                    <a:pt x="358196" y="49826"/>
                  </a:cubicBezTo>
                  <a:lnTo>
                    <a:pt x="369135" y="18498"/>
                  </a:lnTo>
                  <a:lnTo>
                    <a:pt x="400575" y="18498"/>
                  </a:lnTo>
                  <a:lnTo>
                    <a:pt x="411513" y="49826"/>
                  </a:lnTo>
                  <a:cubicBezTo>
                    <a:pt x="412555" y="52877"/>
                    <a:pt x="415122" y="55147"/>
                    <a:pt x="418285" y="55817"/>
                  </a:cubicBezTo>
                  <a:cubicBezTo>
                    <a:pt x="437038" y="59835"/>
                    <a:pt x="454562" y="67165"/>
                    <a:pt x="470487" y="77434"/>
                  </a:cubicBezTo>
                  <a:cubicBezTo>
                    <a:pt x="473166" y="79257"/>
                    <a:pt x="476663" y="79443"/>
                    <a:pt x="479528" y="77992"/>
                  </a:cubicBezTo>
                  <a:lnTo>
                    <a:pt x="509517" y="63593"/>
                  </a:lnTo>
                  <a:lnTo>
                    <a:pt x="531692" y="85694"/>
                  </a:lnTo>
                  <a:lnTo>
                    <a:pt x="517293" y="115608"/>
                  </a:lnTo>
                  <a:cubicBezTo>
                    <a:pt x="515879" y="118547"/>
                    <a:pt x="516139" y="122008"/>
                    <a:pt x="517851" y="124649"/>
                  </a:cubicBezTo>
                  <a:cubicBezTo>
                    <a:pt x="528231" y="140648"/>
                    <a:pt x="535562" y="158172"/>
                    <a:pt x="539468" y="176740"/>
                  </a:cubicBezTo>
                  <a:cubicBezTo>
                    <a:pt x="540138" y="179865"/>
                    <a:pt x="542407" y="182469"/>
                    <a:pt x="545458" y="183586"/>
                  </a:cubicBezTo>
                  <a:lnTo>
                    <a:pt x="576787" y="194524"/>
                  </a:lnTo>
                  <a:lnTo>
                    <a:pt x="576750" y="225853"/>
                  </a:lnTo>
                  <a:close/>
                  <a:moveTo>
                    <a:pt x="646661" y="388711"/>
                  </a:moveTo>
                  <a:cubicBezTo>
                    <a:pt x="703997" y="388711"/>
                    <a:pt x="750770" y="435108"/>
                    <a:pt x="750770" y="492143"/>
                  </a:cubicBezTo>
                  <a:cubicBezTo>
                    <a:pt x="750770" y="511379"/>
                    <a:pt x="745337" y="529388"/>
                    <a:pt x="736110" y="544828"/>
                  </a:cubicBezTo>
                  <a:cubicBezTo>
                    <a:pt x="722119" y="530168"/>
                    <a:pt x="692689" y="506244"/>
                    <a:pt x="648859" y="505500"/>
                  </a:cubicBezTo>
                  <a:cubicBezTo>
                    <a:pt x="602871" y="504942"/>
                    <a:pt x="571691" y="530280"/>
                    <a:pt x="557404" y="544828"/>
                  </a:cubicBezTo>
                  <a:cubicBezTo>
                    <a:pt x="548065" y="529387"/>
                    <a:pt x="542632" y="511305"/>
                    <a:pt x="542632" y="492068"/>
                  </a:cubicBezTo>
                  <a:cubicBezTo>
                    <a:pt x="542558" y="435104"/>
                    <a:pt x="589327" y="388703"/>
                    <a:pt x="646664" y="388703"/>
                  </a:cubicBezTo>
                  <a:close/>
                  <a:moveTo>
                    <a:pt x="646661" y="595623"/>
                  </a:moveTo>
                  <a:cubicBezTo>
                    <a:pt x="615408" y="595623"/>
                    <a:pt x="587503" y="581819"/>
                    <a:pt x="568377" y="560201"/>
                  </a:cubicBezTo>
                  <a:cubicBezTo>
                    <a:pt x="578870" y="548592"/>
                    <a:pt x="605919" y="524110"/>
                    <a:pt x="646661" y="524110"/>
                  </a:cubicBezTo>
                  <a:lnTo>
                    <a:pt x="648373" y="524110"/>
                  </a:lnTo>
                  <a:cubicBezTo>
                    <a:pt x="688185" y="524780"/>
                    <a:pt x="714490" y="548778"/>
                    <a:pt x="724870" y="560201"/>
                  </a:cubicBezTo>
                  <a:cubicBezTo>
                    <a:pt x="705820" y="581781"/>
                    <a:pt x="677915" y="595623"/>
                    <a:pt x="646661" y="5956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A59C5409-DFC8-9BB8-E652-E6260B2F790C}"/>
                </a:ext>
              </a:extLst>
            </p:cNvPr>
            <p:cNvSpPr/>
            <p:nvPr/>
          </p:nvSpPr>
          <p:spPr>
            <a:xfrm>
              <a:off x="-123281" y="1621801"/>
              <a:ext cx="84608" cy="84237"/>
            </a:xfrm>
            <a:custGeom>
              <a:avLst/>
              <a:gdLst>
                <a:gd name="connsiteX0" fmla="*/ 42304 w 84608"/>
                <a:gd name="connsiteY0" fmla="*/ 84237 h 84237"/>
                <a:gd name="connsiteX1" fmla="*/ 84609 w 84608"/>
                <a:gd name="connsiteY1" fmla="*/ 42119 h 84237"/>
                <a:gd name="connsiteX2" fmla="*/ 42304 w 84608"/>
                <a:gd name="connsiteY2" fmla="*/ 0 h 84237"/>
                <a:gd name="connsiteX3" fmla="*/ 0 w 84608"/>
                <a:gd name="connsiteY3" fmla="*/ 42119 h 84237"/>
                <a:gd name="connsiteX4" fmla="*/ 42304 w 84608"/>
                <a:gd name="connsiteY4" fmla="*/ 84237 h 84237"/>
                <a:gd name="connsiteX5" fmla="*/ 42304 w 84608"/>
                <a:gd name="connsiteY5" fmla="*/ 18418 h 84237"/>
                <a:gd name="connsiteX6" fmla="*/ 66117 w 84608"/>
                <a:gd name="connsiteY6" fmla="*/ 42044 h 84237"/>
                <a:gd name="connsiteX7" fmla="*/ 42304 w 84608"/>
                <a:gd name="connsiteY7" fmla="*/ 65671 h 84237"/>
                <a:gd name="connsiteX8" fmla="*/ 18492 w 84608"/>
                <a:gd name="connsiteY8" fmla="*/ 42044 h 84237"/>
                <a:gd name="connsiteX9" fmla="*/ 42304 w 84608"/>
                <a:gd name="connsiteY9" fmla="*/ 18418 h 8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608" h="84237">
                  <a:moveTo>
                    <a:pt x="42304" y="84237"/>
                  </a:moveTo>
                  <a:cubicBezTo>
                    <a:pt x="65633" y="84237"/>
                    <a:pt x="84609" y="65373"/>
                    <a:pt x="84609" y="42119"/>
                  </a:cubicBezTo>
                  <a:cubicBezTo>
                    <a:pt x="84609" y="18864"/>
                    <a:pt x="65670" y="0"/>
                    <a:pt x="42304" y="0"/>
                  </a:cubicBezTo>
                  <a:cubicBezTo>
                    <a:pt x="18976" y="0"/>
                    <a:pt x="0" y="18864"/>
                    <a:pt x="0" y="42119"/>
                  </a:cubicBezTo>
                  <a:cubicBezTo>
                    <a:pt x="37" y="65261"/>
                    <a:pt x="18976" y="84237"/>
                    <a:pt x="42304" y="84237"/>
                  </a:cubicBezTo>
                  <a:close/>
                  <a:moveTo>
                    <a:pt x="42304" y="18418"/>
                  </a:moveTo>
                  <a:cubicBezTo>
                    <a:pt x="55438" y="18418"/>
                    <a:pt x="66117" y="28985"/>
                    <a:pt x="66117" y="42044"/>
                  </a:cubicBezTo>
                  <a:cubicBezTo>
                    <a:pt x="66117" y="55104"/>
                    <a:pt x="55438" y="65671"/>
                    <a:pt x="42304" y="65671"/>
                  </a:cubicBezTo>
                  <a:cubicBezTo>
                    <a:pt x="29170" y="65671"/>
                    <a:pt x="18492" y="55104"/>
                    <a:pt x="18492" y="42044"/>
                  </a:cubicBezTo>
                  <a:cubicBezTo>
                    <a:pt x="18492" y="28985"/>
                    <a:pt x="29170" y="18418"/>
                    <a:pt x="42304" y="184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B7E278E-8A41-554B-32FC-903ECF6CDA48}"/>
                </a:ext>
              </a:extLst>
            </p:cNvPr>
            <p:cNvSpPr/>
            <p:nvPr/>
          </p:nvSpPr>
          <p:spPr>
            <a:xfrm>
              <a:off x="-646933" y="1621724"/>
              <a:ext cx="84608" cy="84237"/>
            </a:xfrm>
            <a:custGeom>
              <a:avLst/>
              <a:gdLst>
                <a:gd name="connsiteX0" fmla="*/ 0 w 84608"/>
                <a:gd name="connsiteY0" fmla="*/ 42119 h 84237"/>
                <a:gd name="connsiteX1" fmla="*/ 42304 w 84608"/>
                <a:gd name="connsiteY1" fmla="*/ 84237 h 84237"/>
                <a:gd name="connsiteX2" fmla="*/ 84609 w 84608"/>
                <a:gd name="connsiteY2" fmla="*/ 42119 h 84237"/>
                <a:gd name="connsiteX3" fmla="*/ 42304 w 84608"/>
                <a:gd name="connsiteY3" fmla="*/ 0 h 84237"/>
                <a:gd name="connsiteX4" fmla="*/ 0 w 84608"/>
                <a:gd name="connsiteY4" fmla="*/ 42119 h 84237"/>
                <a:gd name="connsiteX5" fmla="*/ 66117 w 84608"/>
                <a:gd name="connsiteY5" fmla="*/ 42119 h 84237"/>
                <a:gd name="connsiteX6" fmla="*/ 42304 w 84608"/>
                <a:gd name="connsiteY6" fmla="*/ 65745 h 84237"/>
                <a:gd name="connsiteX7" fmla="*/ 18492 w 84608"/>
                <a:gd name="connsiteY7" fmla="*/ 42119 h 84237"/>
                <a:gd name="connsiteX8" fmla="*/ 42304 w 84608"/>
                <a:gd name="connsiteY8" fmla="*/ 18492 h 84237"/>
                <a:gd name="connsiteX9" fmla="*/ 66117 w 84608"/>
                <a:gd name="connsiteY9" fmla="*/ 42119 h 8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608" h="84237">
                  <a:moveTo>
                    <a:pt x="0" y="42119"/>
                  </a:moveTo>
                  <a:cubicBezTo>
                    <a:pt x="0" y="65373"/>
                    <a:pt x="18939" y="84237"/>
                    <a:pt x="42304" y="84237"/>
                  </a:cubicBezTo>
                  <a:cubicBezTo>
                    <a:pt x="65633" y="84237"/>
                    <a:pt x="84609" y="65373"/>
                    <a:pt x="84609" y="42119"/>
                  </a:cubicBezTo>
                  <a:cubicBezTo>
                    <a:pt x="84609" y="18864"/>
                    <a:pt x="65670" y="0"/>
                    <a:pt x="42304" y="0"/>
                  </a:cubicBezTo>
                  <a:cubicBezTo>
                    <a:pt x="18939" y="0"/>
                    <a:pt x="0" y="18864"/>
                    <a:pt x="0" y="42119"/>
                  </a:cubicBezTo>
                  <a:close/>
                  <a:moveTo>
                    <a:pt x="66117" y="42119"/>
                  </a:moveTo>
                  <a:cubicBezTo>
                    <a:pt x="66117" y="55178"/>
                    <a:pt x="55438" y="65745"/>
                    <a:pt x="42304" y="65745"/>
                  </a:cubicBezTo>
                  <a:cubicBezTo>
                    <a:pt x="29170" y="65745"/>
                    <a:pt x="18492" y="55178"/>
                    <a:pt x="18492" y="42119"/>
                  </a:cubicBezTo>
                  <a:cubicBezTo>
                    <a:pt x="18492" y="29059"/>
                    <a:pt x="29170" y="18492"/>
                    <a:pt x="42304" y="18492"/>
                  </a:cubicBezTo>
                  <a:cubicBezTo>
                    <a:pt x="55438" y="18492"/>
                    <a:pt x="66117" y="29059"/>
                    <a:pt x="66117" y="4211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4B63EFB7-E3CD-67F8-798A-B2DD8F409954}"/>
              </a:ext>
            </a:extLst>
          </p:cNvPr>
          <p:cNvSpPr/>
          <p:nvPr/>
        </p:nvSpPr>
        <p:spPr bwMode="auto">
          <a:xfrm>
            <a:off x="1991215" y="1446059"/>
            <a:ext cx="1870625" cy="804406"/>
          </a:xfrm>
          <a:prstGeom prst="rect">
            <a:avLst/>
          </a:prstGeom>
          <a:solidFill>
            <a:srgbClr val="112369"/>
          </a:solidFill>
          <a:ln>
            <a:noFill/>
          </a:ln>
          <a:effectLst/>
        </p:spPr>
        <p:txBody>
          <a:bodyPr wrap="square" lIns="90000" tIns="46800" rIns="9000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200" b="1" dirty="0">
                <a:solidFill>
                  <a:schemeClr val="bg1"/>
                </a:solidFill>
                <a:ea typeface="MS PGothic" panose="020B0600070205080204" pitchFamily="34" charset="-128"/>
              </a:rPr>
              <a:t>Robust experience with </a:t>
            </a:r>
            <a:r>
              <a:rPr lang="en-US" sz="1200" b="1" i="1" dirty="0">
                <a:solidFill>
                  <a:schemeClr val="bg1"/>
                </a:solidFill>
                <a:ea typeface="MS PGothic" panose="020B0600070205080204" pitchFamily="34" charset="-128"/>
              </a:rPr>
              <a:t>integration,</a:t>
            </a:r>
            <a:br>
              <a:rPr lang="en-US" sz="1200" b="1" dirty="0">
                <a:solidFill>
                  <a:schemeClr val="bg1"/>
                </a:solidFill>
                <a:ea typeface="MS PGothic" panose="020B0600070205080204" pitchFamily="34" charset="-128"/>
              </a:rPr>
            </a:br>
            <a:r>
              <a:rPr lang="en-US" sz="1200" b="1" dirty="0">
                <a:solidFill>
                  <a:schemeClr val="bg1"/>
                </a:solidFill>
                <a:ea typeface="MS PGothic" panose="020B0600070205080204" pitchFamily="34" charset="-128"/>
              </a:rPr>
              <a:t>not just consulting</a:t>
            </a: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1F0F323B-0EEA-1FAB-E95D-9D0DD4193137}"/>
              </a:ext>
            </a:extLst>
          </p:cNvPr>
          <p:cNvSpPr/>
          <p:nvPr/>
        </p:nvSpPr>
        <p:spPr>
          <a:xfrm>
            <a:off x="4754994" y="1033657"/>
            <a:ext cx="320040" cy="365760"/>
          </a:xfrm>
          <a:custGeom>
            <a:avLst/>
            <a:gdLst>
              <a:gd name="connsiteX0" fmla="*/ 333421 w 749787"/>
              <a:gd name="connsiteY0" fmla="*/ 730718 h 857258"/>
              <a:gd name="connsiteX1" fmla="*/ 161151 w 749787"/>
              <a:gd name="connsiteY1" fmla="*/ 730718 h 857258"/>
              <a:gd name="connsiteX2" fmla="*/ 144185 w 749787"/>
              <a:gd name="connsiteY2" fmla="*/ 747684 h 857258"/>
              <a:gd name="connsiteX3" fmla="*/ 144185 w 749787"/>
              <a:gd name="connsiteY3" fmla="*/ 765320 h 857258"/>
              <a:gd name="connsiteX4" fmla="*/ 350383 w 749787"/>
              <a:gd name="connsiteY4" fmla="*/ 765320 h 857258"/>
              <a:gd name="connsiteX5" fmla="*/ 350383 w 749787"/>
              <a:gd name="connsiteY5" fmla="*/ 747721 h 857258"/>
              <a:gd name="connsiteX6" fmla="*/ 333417 w 749787"/>
              <a:gd name="connsiteY6" fmla="*/ 730755 h 857258"/>
              <a:gd name="connsiteX7" fmla="*/ 137301 w 749787"/>
              <a:gd name="connsiteY7" fmla="*/ 788128 h 857258"/>
              <a:gd name="connsiteX8" fmla="*/ 103479 w 749787"/>
              <a:gd name="connsiteY8" fmla="*/ 821949 h 857258"/>
              <a:gd name="connsiteX9" fmla="*/ 103479 w 749787"/>
              <a:gd name="connsiteY9" fmla="*/ 834414 h 857258"/>
              <a:gd name="connsiteX10" fmla="*/ 391087 w 749787"/>
              <a:gd name="connsiteY10" fmla="*/ 834414 h 857258"/>
              <a:gd name="connsiteX11" fmla="*/ 391087 w 749787"/>
              <a:gd name="connsiteY11" fmla="*/ 821912 h 857258"/>
              <a:gd name="connsiteX12" fmla="*/ 357265 w 749787"/>
              <a:gd name="connsiteY12" fmla="*/ 788091 h 857258"/>
              <a:gd name="connsiteX13" fmla="*/ 373197 w 749787"/>
              <a:gd name="connsiteY13" fmla="*/ 767590 h 857258"/>
              <a:gd name="connsiteX14" fmla="*/ 407762 w 749787"/>
              <a:gd name="connsiteY14" fmla="*/ 796351 h 857258"/>
              <a:gd name="connsiteX15" fmla="*/ 452634 w 749787"/>
              <a:gd name="connsiteY15" fmla="*/ 736634 h 857258"/>
              <a:gd name="connsiteX16" fmla="*/ 452634 w 749787"/>
              <a:gd name="connsiteY16" fmla="*/ 704524 h 857258"/>
              <a:gd name="connsiteX17" fmla="*/ 461749 w 749787"/>
              <a:gd name="connsiteY17" fmla="*/ 693362 h 857258"/>
              <a:gd name="connsiteX18" fmla="*/ 522545 w 749787"/>
              <a:gd name="connsiteY18" fmla="*/ 666833 h 857258"/>
              <a:gd name="connsiteX19" fmla="*/ 576272 w 749787"/>
              <a:gd name="connsiteY19" fmla="*/ 627132 h 857258"/>
              <a:gd name="connsiteX20" fmla="*/ 590300 w 749787"/>
              <a:gd name="connsiteY20" fmla="*/ 624975 h 857258"/>
              <a:gd name="connsiteX21" fmla="*/ 618205 w 749787"/>
              <a:gd name="connsiteY21" fmla="*/ 641085 h 857258"/>
              <a:gd name="connsiteX22" fmla="*/ 703223 w 749787"/>
              <a:gd name="connsiteY22" fmla="*/ 618166 h 857258"/>
              <a:gd name="connsiteX23" fmla="*/ 718776 w 749787"/>
              <a:gd name="connsiteY23" fmla="*/ 591340 h 857258"/>
              <a:gd name="connsiteX24" fmla="*/ 696005 w 749787"/>
              <a:gd name="connsiteY24" fmla="*/ 506396 h 857258"/>
              <a:gd name="connsiteX25" fmla="*/ 668881 w 749787"/>
              <a:gd name="connsiteY25" fmla="*/ 490695 h 857258"/>
              <a:gd name="connsiteX26" fmla="*/ 662779 w 749787"/>
              <a:gd name="connsiteY26" fmla="*/ 477933 h 857258"/>
              <a:gd name="connsiteX27" fmla="*/ 662779 w 749787"/>
              <a:gd name="connsiteY27" fmla="*/ 343764 h 857258"/>
              <a:gd name="connsiteX28" fmla="*/ 668472 w 749787"/>
              <a:gd name="connsiteY28" fmla="*/ 331151 h 857258"/>
              <a:gd name="connsiteX29" fmla="*/ 696005 w 749787"/>
              <a:gd name="connsiteY29" fmla="*/ 315263 h 857258"/>
              <a:gd name="connsiteX30" fmla="*/ 718775 w 749787"/>
              <a:gd name="connsiteY30" fmla="*/ 230357 h 857258"/>
              <a:gd name="connsiteX31" fmla="*/ 703148 w 749787"/>
              <a:gd name="connsiteY31" fmla="*/ 203345 h 857258"/>
              <a:gd name="connsiteX32" fmla="*/ 618167 w 749787"/>
              <a:gd name="connsiteY32" fmla="*/ 180537 h 857258"/>
              <a:gd name="connsiteX33" fmla="*/ 590262 w 749787"/>
              <a:gd name="connsiteY33" fmla="*/ 196610 h 857258"/>
              <a:gd name="connsiteX34" fmla="*/ 576570 w 749787"/>
              <a:gd name="connsiteY34" fmla="*/ 194787 h 857258"/>
              <a:gd name="connsiteX35" fmla="*/ 461746 w 749787"/>
              <a:gd name="connsiteY35" fmla="*/ 128261 h 857258"/>
              <a:gd name="connsiteX36" fmla="*/ 452630 w 749787"/>
              <a:gd name="connsiteY36" fmla="*/ 117061 h 857258"/>
              <a:gd name="connsiteX37" fmla="*/ 452630 w 749787"/>
              <a:gd name="connsiteY37" fmla="*/ 84989 h 857258"/>
              <a:gd name="connsiteX38" fmla="*/ 390532 w 749787"/>
              <a:gd name="connsiteY38" fmla="*/ 22853 h 857258"/>
              <a:gd name="connsiteX39" fmla="*/ 359278 w 749787"/>
              <a:gd name="connsiteY39" fmla="*/ 22853 h 857258"/>
              <a:gd name="connsiteX40" fmla="*/ 297143 w 749787"/>
              <a:gd name="connsiteY40" fmla="*/ 85026 h 857258"/>
              <a:gd name="connsiteX41" fmla="*/ 297143 w 749787"/>
              <a:gd name="connsiteY41" fmla="*/ 117136 h 857258"/>
              <a:gd name="connsiteX42" fmla="*/ 297143 w 749787"/>
              <a:gd name="connsiteY42" fmla="*/ 117098 h 857258"/>
              <a:gd name="connsiteX43" fmla="*/ 288102 w 749787"/>
              <a:gd name="connsiteY43" fmla="*/ 128298 h 857258"/>
              <a:gd name="connsiteX44" fmla="*/ 173278 w 749787"/>
              <a:gd name="connsiteY44" fmla="*/ 194787 h 857258"/>
              <a:gd name="connsiteX45" fmla="*/ 159511 w 749787"/>
              <a:gd name="connsiteY45" fmla="*/ 196685 h 857258"/>
              <a:gd name="connsiteX46" fmla="*/ 131606 w 749787"/>
              <a:gd name="connsiteY46" fmla="*/ 180611 h 857258"/>
              <a:gd name="connsiteX47" fmla="*/ 46699 w 749787"/>
              <a:gd name="connsiteY47" fmla="*/ 203345 h 857258"/>
              <a:gd name="connsiteX48" fmla="*/ 31035 w 749787"/>
              <a:gd name="connsiteY48" fmla="*/ 230320 h 857258"/>
              <a:gd name="connsiteX49" fmla="*/ 53917 w 749787"/>
              <a:gd name="connsiteY49" fmla="*/ 315301 h 857258"/>
              <a:gd name="connsiteX50" fmla="*/ 81450 w 749787"/>
              <a:gd name="connsiteY50" fmla="*/ 331188 h 857258"/>
              <a:gd name="connsiteX51" fmla="*/ 87068 w 749787"/>
              <a:gd name="connsiteY51" fmla="*/ 343801 h 857258"/>
              <a:gd name="connsiteX52" fmla="*/ 87106 w 749787"/>
              <a:gd name="connsiteY52" fmla="*/ 477932 h 857258"/>
              <a:gd name="connsiteX53" fmla="*/ 81041 w 749787"/>
              <a:gd name="connsiteY53" fmla="*/ 490694 h 857258"/>
              <a:gd name="connsiteX54" fmla="*/ 53879 w 749787"/>
              <a:gd name="connsiteY54" fmla="*/ 506395 h 857258"/>
              <a:gd name="connsiteX55" fmla="*/ 31035 w 749787"/>
              <a:gd name="connsiteY55" fmla="*/ 591302 h 857258"/>
              <a:gd name="connsiteX56" fmla="*/ 46624 w 749787"/>
              <a:gd name="connsiteY56" fmla="*/ 618351 h 857258"/>
              <a:gd name="connsiteX57" fmla="*/ 46624 w 749787"/>
              <a:gd name="connsiteY57" fmla="*/ 618314 h 857258"/>
              <a:gd name="connsiteX58" fmla="*/ 109355 w 749787"/>
              <a:gd name="connsiteY58" fmla="*/ 648786 h 857258"/>
              <a:gd name="connsiteX59" fmla="*/ 98155 w 749787"/>
              <a:gd name="connsiteY59" fmla="*/ 555657 h 857258"/>
              <a:gd name="connsiteX60" fmla="*/ 98193 w 749787"/>
              <a:gd name="connsiteY60" fmla="*/ 555657 h 857258"/>
              <a:gd name="connsiteX61" fmla="*/ 119996 w 749787"/>
              <a:gd name="connsiteY61" fmla="*/ 457464 h 857258"/>
              <a:gd name="connsiteX62" fmla="*/ 189350 w 749787"/>
              <a:gd name="connsiteY62" fmla="*/ 394287 h 857258"/>
              <a:gd name="connsiteX63" fmla="*/ 189312 w 749787"/>
              <a:gd name="connsiteY63" fmla="*/ 394287 h 857258"/>
              <a:gd name="connsiteX64" fmla="*/ 249253 w 749787"/>
              <a:gd name="connsiteY64" fmla="*/ 392575 h 857258"/>
              <a:gd name="connsiteX65" fmla="*/ 264806 w 749787"/>
              <a:gd name="connsiteY65" fmla="*/ 393394 h 857258"/>
              <a:gd name="connsiteX66" fmla="*/ 278126 w 749787"/>
              <a:gd name="connsiteY66" fmla="*/ 401951 h 857258"/>
              <a:gd name="connsiteX67" fmla="*/ 278163 w 749787"/>
              <a:gd name="connsiteY67" fmla="*/ 401988 h 857258"/>
              <a:gd name="connsiteX68" fmla="*/ 278944 w 749787"/>
              <a:gd name="connsiteY68" fmla="*/ 415532 h 857258"/>
              <a:gd name="connsiteX69" fmla="*/ 269345 w 749787"/>
              <a:gd name="connsiteY69" fmla="*/ 437447 h 857258"/>
              <a:gd name="connsiteX70" fmla="*/ 303315 w 749787"/>
              <a:gd name="connsiteY70" fmla="*/ 459846 h 857258"/>
              <a:gd name="connsiteX71" fmla="*/ 330551 w 749787"/>
              <a:gd name="connsiteY71" fmla="*/ 503267 h 857258"/>
              <a:gd name="connsiteX72" fmla="*/ 368651 w 749787"/>
              <a:gd name="connsiteY72" fmla="*/ 544343 h 857258"/>
              <a:gd name="connsiteX73" fmla="*/ 373190 w 749787"/>
              <a:gd name="connsiteY73" fmla="*/ 573737 h 857258"/>
              <a:gd name="connsiteX74" fmla="*/ 353954 w 749787"/>
              <a:gd name="connsiteY74" fmla="*/ 598777 h 857258"/>
              <a:gd name="connsiteX75" fmla="*/ 339889 w 749787"/>
              <a:gd name="connsiteY75" fmla="*/ 604246 h 857258"/>
              <a:gd name="connsiteX76" fmla="*/ 309119 w 749787"/>
              <a:gd name="connsiteY76" fmla="*/ 592043 h 857258"/>
              <a:gd name="connsiteX77" fmla="*/ 295091 w 749787"/>
              <a:gd name="connsiteY77" fmla="*/ 585643 h 857258"/>
              <a:gd name="connsiteX78" fmla="*/ 259113 w 749787"/>
              <a:gd name="connsiteY78" fmla="*/ 591075 h 857258"/>
              <a:gd name="connsiteX79" fmla="*/ 335424 w 749787"/>
              <a:gd name="connsiteY79" fmla="*/ 690497 h 857258"/>
              <a:gd name="connsiteX80" fmla="*/ 335424 w 749787"/>
              <a:gd name="connsiteY80" fmla="*/ 690535 h 857258"/>
              <a:gd name="connsiteX81" fmla="*/ 340038 w 749787"/>
              <a:gd name="connsiteY81" fmla="*/ 708468 h 857258"/>
              <a:gd name="connsiteX82" fmla="*/ 373190 w 749787"/>
              <a:gd name="connsiteY82" fmla="*/ 747722 h 857258"/>
              <a:gd name="connsiteX83" fmla="*/ 413752 w 749787"/>
              <a:gd name="connsiteY83" fmla="*/ 818303 h 857258"/>
              <a:gd name="connsiteX84" fmla="*/ 413901 w 749787"/>
              <a:gd name="connsiteY84" fmla="*/ 821949 h 857258"/>
              <a:gd name="connsiteX85" fmla="*/ 413901 w 749787"/>
              <a:gd name="connsiteY85" fmla="*/ 845836 h 857258"/>
              <a:gd name="connsiteX86" fmla="*/ 402516 w 749787"/>
              <a:gd name="connsiteY86" fmla="*/ 857258 h 857258"/>
              <a:gd name="connsiteX87" fmla="*/ 92096 w 749787"/>
              <a:gd name="connsiteY87" fmla="*/ 857258 h 857258"/>
              <a:gd name="connsiteX88" fmla="*/ 80637 w 749787"/>
              <a:gd name="connsiteY88" fmla="*/ 845836 h 857258"/>
              <a:gd name="connsiteX89" fmla="*/ 80637 w 749787"/>
              <a:gd name="connsiteY89" fmla="*/ 821949 h 857258"/>
              <a:gd name="connsiteX90" fmla="*/ 121341 w 749787"/>
              <a:gd name="connsiteY90" fmla="*/ 767590 h 857258"/>
              <a:gd name="connsiteX91" fmla="*/ 121341 w 749787"/>
              <a:gd name="connsiteY91" fmla="*/ 747722 h 857258"/>
              <a:gd name="connsiteX92" fmla="*/ 153414 w 749787"/>
              <a:gd name="connsiteY92" fmla="*/ 708654 h 857258"/>
              <a:gd name="connsiteX93" fmla="*/ 156799 w 749787"/>
              <a:gd name="connsiteY93" fmla="*/ 697418 h 857258"/>
              <a:gd name="connsiteX94" fmla="*/ 113640 w 749787"/>
              <a:gd name="connsiteY94" fmla="*/ 701957 h 857258"/>
              <a:gd name="connsiteX95" fmla="*/ 107240 w 749787"/>
              <a:gd name="connsiteY95" fmla="*/ 696078 h 857258"/>
              <a:gd name="connsiteX96" fmla="*/ 106905 w 749787"/>
              <a:gd name="connsiteY96" fmla="*/ 687372 h 857258"/>
              <a:gd name="connsiteX97" fmla="*/ 110031 w 749787"/>
              <a:gd name="connsiteY97" fmla="*/ 671633 h 857258"/>
              <a:gd name="connsiteX98" fmla="*/ 27022 w 749787"/>
              <a:gd name="connsiteY98" fmla="*/ 629702 h 857258"/>
              <a:gd name="connsiteX99" fmla="*/ 11358 w 749787"/>
              <a:gd name="connsiteY99" fmla="*/ 602727 h 857258"/>
              <a:gd name="connsiteX100" fmla="*/ 42500 w 749787"/>
              <a:gd name="connsiteY100" fmla="*/ 486674 h 857258"/>
              <a:gd name="connsiteX101" fmla="*/ 63076 w 749787"/>
              <a:gd name="connsiteY101" fmla="*/ 474805 h 857258"/>
              <a:gd name="connsiteX102" fmla="*/ 63039 w 749787"/>
              <a:gd name="connsiteY102" fmla="*/ 474768 h 857258"/>
              <a:gd name="connsiteX103" fmla="*/ 63039 w 749787"/>
              <a:gd name="connsiteY103" fmla="*/ 346847 h 857258"/>
              <a:gd name="connsiteX104" fmla="*/ 42501 w 749787"/>
              <a:gd name="connsiteY104" fmla="*/ 334941 h 857258"/>
              <a:gd name="connsiteX105" fmla="*/ 11359 w 749787"/>
              <a:gd name="connsiteY105" fmla="*/ 218964 h 857258"/>
              <a:gd name="connsiteX106" fmla="*/ 27023 w 749787"/>
              <a:gd name="connsiteY106" fmla="*/ 191877 h 857258"/>
              <a:gd name="connsiteX107" fmla="*/ 142733 w 749787"/>
              <a:gd name="connsiteY107" fmla="*/ 160661 h 857258"/>
              <a:gd name="connsiteX108" fmla="*/ 163680 w 749787"/>
              <a:gd name="connsiteY108" fmla="*/ 172753 h 857258"/>
              <a:gd name="connsiteX109" fmla="*/ 163717 w 749787"/>
              <a:gd name="connsiteY109" fmla="*/ 172790 h 857258"/>
              <a:gd name="connsiteX110" fmla="*/ 274369 w 749787"/>
              <a:gd name="connsiteY110" fmla="*/ 108794 h 857258"/>
              <a:gd name="connsiteX111" fmla="*/ 274369 w 749787"/>
              <a:gd name="connsiteY111" fmla="*/ 84981 h 857258"/>
              <a:gd name="connsiteX112" fmla="*/ 359276 w 749787"/>
              <a:gd name="connsiteY112" fmla="*/ 0 h 857258"/>
              <a:gd name="connsiteX113" fmla="*/ 390529 w 749787"/>
              <a:gd name="connsiteY113" fmla="*/ 0 h 857258"/>
              <a:gd name="connsiteX114" fmla="*/ 475473 w 749787"/>
              <a:gd name="connsiteY114" fmla="*/ 84981 h 857258"/>
              <a:gd name="connsiteX115" fmla="*/ 475473 w 749787"/>
              <a:gd name="connsiteY115" fmla="*/ 108794 h 857258"/>
              <a:gd name="connsiteX116" fmla="*/ 586125 w 749787"/>
              <a:gd name="connsiteY116" fmla="*/ 172790 h 857258"/>
              <a:gd name="connsiteX117" fmla="*/ 606850 w 749787"/>
              <a:gd name="connsiteY117" fmla="*/ 160810 h 857258"/>
              <a:gd name="connsiteX118" fmla="*/ 722826 w 749787"/>
              <a:gd name="connsiteY118" fmla="*/ 191914 h 857258"/>
              <a:gd name="connsiteX119" fmla="*/ 738453 w 749787"/>
              <a:gd name="connsiteY119" fmla="*/ 218926 h 857258"/>
              <a:gd name="connsiteX120" fmla="*/ 738416 w 749787"/>
              <a:gd name="connsiteY120" fmla="*/ 218926 h 857258"/>
              <a:gd name="connsiteX121" fmla="*/ 707311 w 749787"/>
              <a:gd name="connsiteY121" fmla="*/ 334941 h 857258"/>
              <a:gd name="connsiteX122" fmla="*/ 686698 w 749787"/>
              <a:gd name="connsiteY122" fmla="*/ 346847 h 857258"/>
              <a:gd name="connsiteX123" fmla="*/ 686735 w 749787"/>
              <a:gd name="connsiteY123" fmla="*/ 346847 h 857258"/>
              <a:gd name="connsiteX124" fmla="*/ 686735 w 749787"/>
              <a:gd name="connsiteY124" fmla="*/ 474768 h 857258"/>
              <a:gd name="connsiteX125" fmla="*/ 707385 w 749787"/>
              <a:gd name="connsiteY125" fmla="*/ 486637 h 857258"/>
              <a:gd name="connsiteX126" fmla="*/ 707385 w 749787"/>
              <a:gd name="connsiteY126" fmla="*/ 486674 h 857258"/>
              <a:gd name="connsiteX127" fmla="*/ 738527 w 749787"/>
              <a:gd name="connsiteY127" fmla="*/ 602460 h 857258"/>
              <a:gd name="connsiteX128" fmla="*/ 722826 w 749787"/>
              <a:gd name="connsiteY128" fmla="*/ 629733 h 857258"/>
              <a:gd name="connsiteX129" fmla="*/ 722789 w 749787"/>
              <a:gd name="connsiteY129" fmla="*/ 629733 h 857258"/>
              <a:gd name="connsiteX130" fmla="*/ 606813 w 749787"/>
              <a:gd name="connsiteY130" fmla="*/ 660764 h 857258"/>
              <a:gd name="connsiteX131" fmla="*/ 586125 w 749787"/>
              <a:gd name="connsiteY131" fmla="*/ 648857 h 857258"/>
              <a:gd name="connsiteX132" fmla="*/ 475473 w 749787"/>
              <a:gd name="connsiteY132" fmla="*/ 712854 h 857258"/>
              <a:gd name="connsiteX133" fmla="*/ 475473 w 749787"/>
              <a:gd name="connsiteY133" fmla="*/ 736666 h 857258"/>
              <a:gd name="connsiteX134" fmla="*/ 413747 w 749787"/>
              <a:gd name="connsiteY134" fmla="*/ 818336 h 857258"/>
              <a:gd name="connsiteX135" fmla="*/ 316940 w 749787"/>
              <a:gd name="connsiteY135" fmla="*/ 707908 h 857258"/>
              <a:gd name="connsiteX136" fmla="*/ 301462 w 749787"/>
              <a:gd name="connsiteY136" fmla="*/ 679482 h 857258"/>
              <a:gd name="connsiteX137" fmla="*/ 289072 w 749787"/>
              <a:gd name="connsiteY137" fmla="*/ 668060 h 857258"/>
              <a:gd name="connsiteX138" fmla="*/ 237764 w 749787"/>
              <a:gd name="connsiteY138" fmla="*/ 599300 h 857258"/>
              <a:gd name="connsiteX139" fmla="*/ 229504 w 749787"/>
              <a:gd name="connsiteY139" fmla="*/ 561647 h 857258"/>
              <a:gd name="connsiteX140" fmla="*/ 247810 w 749787"/>
              <a:gd name="connsiteY140" fmla="*/ 559638 h 857258"/>
              <a:gd name="connsiteX141" fmla="*/ 274189 w 749787"/>
              <a:gd name="connsiteY141" fmla="*/ 567451 h 857258"/>
              <a:gd name="connsiteX142" fmla="*/ 319730 w 749787"/>
              <a:gd name="connsiteY142" fmla="*/ 571433 h 857258"/>
              <a:gd name="connsiteX143" fmla="*/ 336883 w 749787"/>
              <a:gd name="connsiteY143" fmla="*/ 581701 h 857258"/>
              <a:gd name="connsiteX144" fmla="*/ 336846 w 749787"/>
              <a:gd name="connsiteY144" fmla="*/ 581701 h 857258"/>
              <a:gd name="connsiteX145" fmla="*/ 351506 w 749787"/>
              <a:gd name="connsiteY145" fmla="*/ 561684 h 857258"/>
              <a:gd name="connsiteX146" fmla="*/ 343469 w 749787"/>
              <a:gd name="connsiteY146" fmla="*/ 547545 h 857258"/>
              <a:gd name="connsiteX147" fmla="*/ 311471 w 749787"/>
              <a:gd name="connsiteY147" fmla="*/ 515398 h 857258"/>
              <a:gd name="connsiteX148" fmla="*/ 273073 w 749787"/>
              <a:gd name="connsiteY148" fmla="*/ 463717 h 857258"/>
              <a:gd name="connsiteX149" fmla="*/ 267269 w 749787"/>
              <a:gd name="connsiteY149" fmla="*/ 460071 h 857258"/>
              <a:gd name="connsiteX150" fmla="*/ 259604 w 749787"/>
              <a:gd name="connsiteY150" fmla="*/ 456015 h 857258"/>
              <a:gd name="connsiteX151" fmla="*/ 257074 w 749787"/>
              <a:gd name="connsiteY151" fmla="*/ 447681 h 857258"/>
              <a:gd name="connsiteX152" fmla="*/ 257856 w 749787"/>
              <a:gd name="connsiteY152" fmla="*/ 444444 h 857258"/>
              <a:gd name="connsiteX153" fmla="*/ 256256 w 749787"/>
              <a:gd name="connsiteY153" fmla="*/ 418399 h 857258"/>
              <a:gd name="connsiteX154" fmla="*/ 238918 w 749787"/>
              <a:gd name="connsiteY154" fmla="*/ 433691 h 857258"/>
              <a:gd name="connsiteX155" fmla="*/ 235532 w 749787"/>
              <a:gd name="connsiteY155" fmla="*/ 448239 h 857258"/>
              <a:gd name="connsiteX156" fmla="*/ 232518 w 749787"/>
              <a:gd name="connsiteY156" fmla="*/ 456238 h 857258"/>
              <a:gd name="connsiteX157" fmla="*/ 221095 w 749787"/>
              <a:gd name="connsiteY157" fmla="*/ 461708 h 857258"/>
              <a:gd name="connsiteX158" fmla="*/ 221095 w 749787"/>
              <a:gd name="connsiteY158" fmla="*/ 461671 h 857258"/>
              <a:gd name="connsiteX159" fmla="*/ 192223 w 749787"/>
              <a:gd name="connsiteY159" fmla="*/ 481353 h 857258"/>
              <a:gd name="connsiteX160" fmla="*/ 162495 w 749787"/>
              <a:gd name="connsiteY160" fmla="*/ 537796 h 857258"/>
              <a:gd name="connsiteX161" fmla="*/ 161565 w 749787"/>
              <a:gd name="connsiteY161" fmla="*/ 566781 h 857258"/>
              <a:gd name="connsiteX162" fmla="*/ 172280 w 749787"/>
              <a:gd name="connsiteY162" fmla="*/ 618201 h 857258"/>
              <a:gd name="connsiteX163" fmla="*/ 175034 w 749787"/>
              <a:gd name="connsiteY163" fmla="*/ 629102 h 857258"/>
              <a:gd name="connsiteX164" fmla="*/ 176485 w 749787"/>
              <a:gd name="connsiteY164" fmla="*/ 636060 h 857258"/>
              <a:gd name="connsiteX165" fmla="*/ 180801 w 749787"/>
              <a:gd name="connsiteY165" fmla="*/ 664970 h 857258"/>
              <a:gd name="connsiteX166" fmla="*/ 177452 w 749787"/>
              <a:gd name="connsiteY166" fmla="*/ 707870 h 857258"/>
              <a:gd name="connsiteX167" fmla="*/ 224295 w 749787"/>
              <a:gd name="connsiteY167" fmla="*/ 414157 h 857258"/>
              <a:gd name="connsiteX168" fmla="*/ 173321 w 749787"/>
              <a:gd name="connsiteY168" fmla="*/ 426249 h 857258"/>
              <a:gd name="connsiteX169" fmla="*/ 128746 w 749787"/>
              <a:gd name="connsiteY169" fmla="*/ 495789 h 857258"/>
              <a:gd name="connsiteX170" fmla="*/ 128746 w 749787"/>
              <a:gd name="connsiteY170" fmla="*/ 495827 h 857258"/>
              <a:gd name="connsiteX171" fmla="*/ 120970 w 749787"/>
              <a:gd name="connsiteY171" fmla="*/ 555506 h 857258"/>
              <a:gd name="connsiteX172" fmla="*/ 132467 w 749787"/>
              <a:gd name="connsiteY172" fmla="*/ 676731 h 857258"/>
              <a:gd name="connsiteX173" fmla="*/ 158586 w 749787"/>
              <a:gd name="connsiteY173" fmla="*/ 674685 h 857258"/>
              <a:gd name="connsiteX174" fmla="*/ 150177 w 749787"/>
              <a:gd name="connsiteY174" fmla="*/ 623562 h 857258"/>
              <a:gd name="connsiteX175" fmla="*/ 138829 w 749787"/>
              <a:gd name="connsiteY175" fmla="*/ 568645 h 857258"/>
              <a:gd name="connsiteX176" fmla="*/ 139834 w 749787"/>
              <a:gd name="connsiteY176" fmla="*/ 535456 h 857258"/>
              <a:gd name="connsiteX177" fmla="*/ 177116 w 749787"/>
              <a:gd name="connsiteY177" fmla="*/ 464316 h 857258"/>
              <a:gd name="connsiteX178" fmla="*/ 213728 w 749787"/>
              <a:gd name="connsiteY178" fmla="*/ 440056 h 857258"/>
              <a:gd name="connsiteX179" fmla="*/ 224295 w 749787"/>
              <a:gd name="connsiteY179" fmla="*/ 414160 h 857258"/>
              <a:gd name="connsiteX180" fmla="*/ 391725 w 749787"/>
              <a:gd name="connsiteY180" fmla="*/ 596542 h 857258"/>
              <a:gd name="connsiteX181" fmla="*/ 457805 w 749787"/>
              <a:gd name="connsiteY181" fmla="*/ 600226 h 857258"/>
              <a:gd name="connsiteX182" fmla="*/ 450549 w 749787"/>
              <a:gd name="connsiteY182" fmla="*/ 583557 h 857258"/>
              <a:gd name="connsiteX183" fmla="*/ 450512 w 749787"/>
              <a:gd name="connsiteY183" fmla="*/ 583594 h 857258"/>
              <a:gd name="connsiteX184" fmla="*/ 551010 w 749787"/>
              <a:gd name="connsiteY184" fmla="*/ 477705 h 857258"/>
              <a:gd name="connsiteX185" fmla="*/ 545950 w 749787"/>
              <a:gd name="connsiteY185" fmla="*/ 331858 h 857258"/>
              <a:gd name="connsiteX186" fmla="*/ 438384 w 749787"/>
              <a:gd name="connsiteY186" fmla="*/ 233188 h 857258"/>
              <a:gd name="connsiteX187" fmla="*/ 292604 w 749787"/>
              <a:gd name="connsiteY187" fmla="*/ 240741 h 857258"/>
              <a:gd name="connsiteX188" fmla="*/ 190772 w 749787"/>
              <a:gd name="connsiteY188" fmla="*/ 364081 h 857258"/>
              <a:gd name="connsiteX189" fmla="*/ 191814 w 749787"/>
              <a:gd name="connsiteY189" fmla="*/ 373122 h 857258"/>
              <a:gd name="connsiteX190" fmla="*/ 199144 w 749787"/>
              <a:gd name="connsiteY190" fmla="*/ 378554 h 857258"/>
              <a:gd name="connsiteX191" fmla="*/ 208074 w 749787"/>
              <a:gd name="connsiteY191" fmla="*/ 376917 h 857258"/>
              <a:gd name="connsiteX192" fmla="*/ 212985 w 749787"/>
              <a:gd name="connsiteY192" fmla="*/ 369215 h 857258"/>
              <a:gd name="connsiteX193" fmla="*/ 326390 w 749787"/>
              <a:gd name="connsiteY193" fmla="*/ 252200 h 857258"/>
              <a:gd name="connsiteX194" fmla="*/ 483143 w 749787"/>
              <a:gd name="connsiteY194" fmla="*/ 285241 h 857258"/>
              <a:gd name="connsiteX195" fmla="*/ 538842 w 749787"/>
              <a:gd name="connsiteY195" fmla="*/ 435450 h 857258"/>
              <a:gd name="connsiteX196" fmla="*/ 441468 w 749787"/>
              <a:gd name="connsiteY196" fmla="*/ 562656 h 857258"/>
              <a:gd name="connsiteX197" fmla="*/ 434250 w 749787"/>
              <a:gd name="connsiteY197" fmla="*/ 545988 h 857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749787" h="857258">
                <a:moveTo>
                  <a:pt x="333421" y="730718"/>
                </a:moveTo>
                <a:lnTo>
                  <a:pt x="161151" y="730718"/>
                </a:lnTo>
                <a:cubicBezTo>
                  <a:pt x="151812" y="730755"/>
                  <a:pt x="144260" y="738345"/>
                  <a:pt x="144185" y="747684"/>
                </a:cubicBezTo>
                <a:lnTo>
                  <a:pt x="144185" y="765320"/>
                </a:lnTo>
                <a:lnTo>
                  <a:pt x="350383" y="765320"/>
                </a:lnTo>
                <a:lnTo>
                  <a:pt x="350383" y="747721"/>
                </a:lnTo>
                <a:cubicBezTo>
                  <a:pt x="350308" y="738382"/>
                  <a:pt x="342755" y="730829"/>
                  <a:pt x="333417" y="730755"/>
                </a:cubicBezTo>
                <a:close/>
                <a:moveTo>
                  <a:pt x="137301" y="788128"/>
                </a:moveTo>
                <a:cubicBezTo>
                  <a:pt x="118660" y="788202"/>
                  <a:pt x="103554" y="803309"/>
                  <a:pt x="103479" y="821949"/>
                </a:cubicBezTo>
                <a:lnTo>
                  <a:pt x="103479" y="834414"/>
                </a:lnTo>
                <a:lnTo>
                  <a:pt x="391087" y="834414"/>
                </a:lnTo>
                <a:lnTo>
                  <a:pt x="391087" y="821912"/>
                </a:lnTo>
                <a:cubicBezTo>
                  <a:pt x="391012" y="803272"/>
                  <a:pt x="375944" y="788165"/>
                  <a:pt x="357265" y="788091"/>
                </a:cubicBezTo>
                <a:close/>
                <a:moveTo>
                  <a:pt x="373197" y="767590"/>
                </a:moveTo>
                <a:cubicBezTo>
                  <a:pt x="388154" y="772055"/>
                  <a:pt x="400656" y="782473"/>
                  <a:pt x="407762" y="796351"/>
                </a:cubicBezTo>
                <a:cubicBezTo>
                  <a:pt x="434328" y="788649"/>
                  <a:pt x="452596" y="764315"/>
                  <a:pt x="452634" y="736634"/>
                </a:cubicBezTo>
                <a:lnTo>
                  <a:pt x="452634" y="704524"/>
                </a:lnTo>
                <a:cubicBezTo>
                  <a:pt x="452671" y="699129"/>
                  <a:pt x="456466" y="694441"/>
                  <a:pt x="461749" y="693362"/>
                </a:cubicBezTo>
                <a:cubicBezTo>
                  <a:pt x="482958" y="686851"/>
                  <a:pt x="503347" y="677958"/>
                  <a:pt x="522545" y="666833"/>
                </a:cubicBezTo>
                <a:cubicBezTo>
                  <a:pt x="541893" y="655670"/>
                  <a:pt x="559902" y="642351"/>
                  <a:pt x="576272" y="627132"/>
                </a:cubicBezTo>
                <a:cubicBezTo>
                  <a:pt x="579844" y="623189"/>
                  <a:pt x="585723" y="622296"/>
                  <a:pt x="590300" y="624975"/>
                </a:cubicBezTo>
                <a:lnTo>
                  <a:pt x="618205" y="641085"/>
                </a:lnTo>
                <a:cubicBezTo>
                  <a:pt x="648045" y="658089"/>
                  <a:pt x="685996" y="647857"/>
                  <a:pt x="703223" y="618166"/>
                </a:cubicBezTo>
                <a:lnTo>
                  <a:pt x="718776" y="591340"/>
                </a:lnTo>
                <a:cubicBezTo>
                  <a:pt x="735854" y="561574"/>
                  <a:pt x="725659" y="523623"/>
                  <a:pt x="696005" y="506396"/>
                </a:cubicBezTo>
                <a:lnTo>
                  <a:pt x="668881" y="490695"/>
                </a:lnTo>
                <a:cubicBezTo>
                  <a:pt x="664118" y="488351"/>
                  <a:pt x="661588" y="483067"/>
                  <a:pt x="662779" y="477933"/>
                </a:cubicBezTo>
                <a:cubicBezTo>
                  <a:pt x="672974" y="433769"/>
                  <a:pt x="672974" y="387892"/>
                  <a:pt x="662779" y="343764"/>
                </a:cubicBezTo>
                <a:cubicBezTo>
                  <a:pt x="661588" y="338741"/>
                  <a:pt x="663932" y="333570"/>
                  <a:pt x="668472" y="331151"/>
                </a:cubicBezTo>
                <a:lnTo>
                  <a:pt x="696005" y="315263"/>
                </a:lnTo>
                <a:cubicBezTo>
                  <a:pt x="725659" y="298036"/>
                  <a:pt x="735816" y="260085"/>
                  <a:pt x="718775" y="230357"/>
                </a:cubicBezTo>
                <a:lnTo>
                  <a:pt x="703148" y="203345"/>
                </a:lnTo>
                <a:cubicBezTo>
                  <a:pt x="685921" y="173653"/>
                  <a:pt x="647933" y="163496"/>
                  <a:pt x="618167" y="180537"/>
                </a:cubicBezTo>
                <a:lnTo>
                  <a:pt x="590262" y="196610"/>
                </a:lnTo>
                <a:cubicBezTo>
                  <a:pt x="585834" y="199178"/>
                  <a:pt x="580179" y="198434"/>
                  <a:pt x="576570" y="194787"/>
                </a:cubicBezTo>
                <a:cubicBezTo>
                  <a:pt x="543828" y="164203"/>
                  <a:pt x="504574" y="141432"/>
                  <a:pt x="461746" y="128261"/>
                </a:cubicBezTo>
                <a:cubicBezTo>
                  <a:pt x="456462" y="127145"/>
                  <a:pt x="452667" y="122494"/>
                  <a:pt x="452630" y="117061"/>
                </a:cubicBezTo>
                <a:lnTo>
                  <a:pt x="452630" y="84989"/>
                </a:lnTo>
                <a:cubicBezTo>
                  <a:pt x="452556" y="50684"/>
                  <a:pt x="424799" y="22928"/>
                  <a:pt x="390532" y="22853"/>
                </a:cubicBezTo>
                <a:lnTo>
                  <a:pt x="359278" y="22853"/>
                </a:lnTo>
                <a:cubicBezTo>
                  <a:pt x="325010" y="22965"/>
                  <a:pt x="297255" y="50722"/>
                  <a:pt x="297143" y="85026"/>
                </a:cubicBezTo>
                <a:lnTo>
                  <a:pt x="297143" y="117136"/>
                </a:lnTo>
                <a:lnTo>
                  <a:pt x="297143" y="117098"/>
                </a:lnTo>
                <a:cubicBezTo>
                  <a:pt x="297143" y="122494"/>
                  <a:pt x="293385" y="127182"/>
                  <a:pt x="288102" y="128298"/>
                </a:cubicBezTo>
                <a:cubicBezTo>
                  <a:pt x="245276" y="141469"/>
                  <a:pt x="206023" y="164202"/>
                  <a:pt x="173278" y="194787"/>
                </a:cubicBezTo>
                <a:cubicBezTo>
                  <a:pt x="169669" y="198471"/>
                  <a:pt x="164013" y="199252"/>
                  <a:pt x="159511" y="196685"/>
                </a:cubicBezTo>
                <a:lnTo>
                  <a:pt x="131606" y="180611"/>
                </a:lnTo>
                <a:cubicBezTo>
                  <a:pt x="101877" y="163533"/>
                  <a:pt x="63926" y="173691"/>
                  <a:pt x="46699" y="203345"/>
                </a:cubicBezTo>
                <a:lnTo>
                  <a:pt x="31035" y="230320"/>
                </a:lnTo>
                <a:cubicBezTo>
                  <a:pt x="13994" y="260085"/>
                  <a:pt x="24189" y="298074"/>
                  <a:pt x="53917" y="315301"/>
                </a:cubicBezTo>
                <a:lnTo>
                  <a:pt x="81450" y="331188"/>
                </a:lnTo>
                <a:cubicBezTo>
                  <a:pt x="85952" y="333607"/>
                  <a:pt x="88296" y="338779"/>
                  <a:pt x="87068" y="343801"/>
                </a:cubicBezTo>
                <a:cubicBezTo>
                  <a:pt x="76911" y="387929"/>
                  <a:pt x="76948" y="433805"/>
                  <a:pt x="87106" y="477932"/>
                </a:cubicBezTo>
                <a:cubicBezTo>
                  <a:pt x="88296" y="483104"/>
                  <a:pt x="85766" y="488351"/>
                  <a:pt x="81041" y="490694"/>
                </a:cubicBezTo>
                <a:lnTo>
                  <a:pt x="53879" y="506395"/>
                </a:lnTo>
                <a:cubicBezTo>
                  <a:pt x="24225" y="523622"/>
                  <a:pt x="14031" y="561536"/>
                  <a:pt x="31035" y="591302"/>
                </a:cubicBezTo>
                <a:lnTo>
                  <a:pt x="46624" y="618351"/>
                </a:lnTo>
                <a:lnTo>
                  <a:pt x="46624" y="618314"/>
                </a:lnTo>
                <a:cubicBezTo>
                  <a:pt x="59349" y="640340"/>
                  <a:pt x="84203" y="652395"/>
                  <a:pt x="109355" y="648786"/>
                </a:cubicBezTo>
                <a:cubicBezTo>
                  <a:pt x="106230" y="617756"/>
                  <a:pt x="98304" y="589739"/>
                  <a:pt x="98155" y="555657"/>
                </a:cubicBezTo>
                <a:lnTo>
                  <a:pt x="98193" y="555657"/>
                </a:lnTo>
                <a:cubicBezTo>
                  <a:pt x="96928" y="521613"/>
                  <a:pt x="104443" y="487792"/>
                  <a:pt x="119996" y="457464"/>
                </a:cubicBezTo>
                <a:cubicBezTo>
                  <a:pt x="135252" y="427996"/>
                  <a:pt x="156310" y="402770"/>
                  <a:pt x="189350" y="394287"/>
                </a:cubicBezTo>
                <a:lnTo>
                  <a:pt x="189312" y="394287"/>
                </a:lnTo>
                <a:cubicBezTo>
                  <a:pt x="209106" y="390901"/>
                  <a:pt x="229310" y="390343"/>
                  <a:pt x="249253" y="392575"/>
                </a:cubicBezTo>
                <a:cubicBezTo>
                  <a:pt x="254797" y="392910"/>
                  <a:pt x="260229" y="393208"/>
                  <a:pt x="264806" y="393394"/>
                </a:cubicBezTo>
                <a:cubicBezTo>
                  <a:pt x="271577" y="392426"/>
                  <a:pt x="275149" y="392575"/>
                  <a:pt x="278126" y="401951"/>
                </a:cubicBezTo>
                <a:lnTo>
                  <a:pt x="278163" y="401988"/>
                </a:lnTo>
                <a:cubicBezTo>
                  <a:pt x="279093" y="406453"/>
                  <a:pt x="279353" y="410993"/>
                  <a:pt x="278944" y="415532"/>
                </a:cubicBezTo>
                <a:cubicBezTo>
                  <a:pt x="278944" y="422006"/>
                  <a:pt x="259820" y="436628"/>
                  <a:pt x="269345" y="437447"/>
                </a:cubicBezTo>
                <a:cubicBezTo>
                  <a:pt x="280023" y="438340"/>
                  <a:pt x="297139" y="453185"/>
                  <a:pt x="303315" y="459846"/>
                </a:cubicBezTo>
                <a:cubicBezTo>
                  <a:pt x="315444" y="473017"/>
                  <a:pt x="321621" y="489165"/>
                  <a:pt x="330551" y="503267"/>
                </a:cubicBezTo>
                <a:cubicBezTo>
                  <a:pt x="340485" y="518856"/>
                  <a:pt x="357154" y="523507"/>
                  <a:pt x="368651" y="544343"/>
                </a:cubicBezTo>
                <a:cubicBezTo>
                  <a:pt x="374194" y="553050"/>
                  <a:pt x="375869" y="563729"/>
                  <a:pt x="373190" y="573737"/>
                </a:cubicBezTo>
                <a:cubicBezTo>
                  <a:pt x="370213" y="584229"/>
                  <a:pt x="363329" y="593196"/>
                  <a:pt x="353954" y="598777"/>
                </a:cubicBezTo>
                <a:cubicBezTo>
                  <a:pt x="349675" y="601530"/>
                  <a:pt x="344913" y="603391"/>
                  <a:pt x="339889" y="604246"/>
                </a:cubicBezTo>
                <a:cubicBezTo>
                  <a:pt x="328356" y="604767"/>
                  <a:pt x="317156" y="600302"/>
                  <a:pt x="309119" y="592043"/>
                </a:cubicBezTo>
                <a:cubicBezTo>
                  <a:pt x="305473" y="588136"/>
                  <a:pt x="300412" y="585866"/>
                  <a:pt x="295091" y="585643"/>
                </a:cubicBezTo>
                <a:cubicBezTo>
                  <a:pt x="285157" y="585866"/>
                  <a:pt x="274814" y="594350"/>
                  <a:pt x="259113" y="591075"/>
                </a:cubicBezTo>
                <a:cubicBezTo>
                  <a:pt x="287688" y="651872"/>
                  <a:pt x="319909" y="651760"/>
                  <a:pt x="335424" y="690497"/>
                </a:cubicBezTo>
                <a:lnTo>
                  <a:pt x="335424" y="690535"/>
                </a:lnTo>
                <a:cubicBezTo>
                  <a:pt x="337768" y="696264"/>
                  <a:pt x="339331" y="702292"/>
                  <a:pt x="340038" y="708468"/>
                </a:cubicBezTo>
                <a:cubicBezTo>
                  <a:pt x="359162" y="711743"/>
                  <a:pt x="373152" y="728299"/>
                  <a:pt x="373190" y="747722"/>
                </a:cubicBezTo>
                <a:close/>
                <a:moveTo>
                  <a:pt x="413752" y="818303"/>
                </a:moveTo>
                <a:cubicBezTo>
                  <a:pt x="413827" y="819494"/>
                  <a:pt x="413901" y="820722"/>
                  <a:pt x="413901" y="821949"/>
                </a:cubicBezTo>
                <a:lnTo>
                  <a:pt x="413901" y="845836"/>
                </a:lnTo>
                <a:cubicBezTo>
                  <a:pt x="413901" y="852124"/>
                  <a:pt x="408804" y="857221"/>
                  <a:pt x="402516" y="857258"/>
                </a:cubicBezTo>
                <a:lnTo>
                  <a:pt x="92096" y="857258"/>
                </a:lnTo>
                <a:cubicBezTo>
                  <a:pt x="85771" y="857258"/>
                  <a:pt x="80637" y="852124"/>
                  <a:pt x="80637" y="845836"/>
                </a:cubicBezTo>
                <a:lnTo>
                  <a:pt x="80637" y="821949"/>
                </a:lnTo>
                <a:cubicBezTo>
                  <a:pt x="80711" y="796835"/>
                  <a:pt x="97268" y="774734"/>
                  <a:pt x="121341" y="767590"/>
                </a:cubicBezTo>
                <a:lnTo>
                  <a:pt x="121341" y="747722"/>
                </a:lnTo>
                <a:cubicBezTo>
                  <a:pt x="121378" y="728709"/>
                  <a:pt x="134810" y="712376"/>
                  <a:pt x="153414" y="708654"/>
                </a:cubicBezTo>
                <a:cubicBezTo>
                  <a:pt x="154567" y="705045"/>
                  <a:pt x="155832" y="701027"/>
                  <a:pt x="156799" y="697418"/>
                </a:cubicBezTo>
                <a:cubicBezTo>
                  <a:pt x="137564" y="696525"/>
                  <a:pt x="120708" y="704524"/>
                  <a:pt x="113640" y="701957"/>
                </a:cubicBezTo>
                <a:cubicBezTo>
                  <a:pt x="110812" y="700915"/>
                  <a:pt x="108505" y="698794"/>
                  <a:pt x="107240" y="696078"/>
                </a:cubicBezTo>
                <a:cubicBezTo>
                  <a:pt x="105975" y="693325"/>
                  <a:pt x="105863" y="690199"/>
                  <a:pt x="106905" y="687372"/>
                </a:cubicBezTo>
                <a:cubicBezTo>
                  <a:pt x="108654" y="682274"/>
                  <a:pt x="109733" y="676991"/>
                  <a:pt x="110031" y="671633"/>
                </a:cubicBezTo>
                <a:cubicBezTo>
                  <a:pt x="76507" y="675354"/>
                  <a:pt x="43951" y="658909"/>
                  <a:pt x="27022" y="629702"/>
                </a:cubicBezTo>
                <a:lnTo>
                  <a:pt x="11358" y="602727"/>
                </a:lnTo>
                <a:cubicBezTo>
                  <a:pt x="-12045" y="562060"/>
                  <a:pt x="1870" y="510155"/>
                  <a:pt x="42500" y="486674"/>
                </a:cubicBezTo>
                <a:lnTo>
                  <a:pt x="63076" y="474805"/>
                </a:lnTo>
                <a:lnTo>
                  <a:pt x="63039" y="474768"/>
                </a:lnTo>
                <a:cubicBezTo>
                  <a:pt x="54444" y="432575"/>
                  <a:pt x="54444" y="389080"/>
                  <a:pt x="63039" y="346847"/>
                </a:cubicBezTo>
                <a:lnTo>
                  <a:pt x="42501" y="334941"/>
                </a:lnTo>
                <a:cubicBezTo>
                  <a:pt x="1908" y="311464"/>
                  <a:pt x="-12008" y="259596"/>
                  <a:pt x="11359" y="218964"/>
                </a:cubicBezTo>
                <a:cubicBezTo>
                  <a:pt x="16605" y="209960"/>
                  <a:pt x="21889" y="200956"/>
                  <a:pt x="27023" y="191877"/>
                </a:cubicBezTo>
                <a:cubicBezTo>
                  <a:pt x="22149" y="189198"/>
                  <a:pt x="77178" y="123081"/>
                  <a:pt x="142733" y="160661"/>
                </a:cubicBezTo>
                <a:lnTo>
                  <a:pt x="163680" y="172753"/>
                </a:lnTo>
                <a:lnTo>
                  <a:pt x="163717" y="172790"/>
                </a:lnTo>
                <a:cubicBezTo>
                  <a:pt x="195864" y="144141"/>
                  <a:pt x="233517" y="122374"/>
                  <a:pt x="274369" y="108794"/>
                </a:cubicBezTo>
                <a:lnTo>
                  <a:pt x="274369" y="84981"/>
                </a:lnTo>
                <a:cubicBezTo>
                  <a:pt x="274444" y="38100"/>
                  <a:pt x="312395" y="111"/>
                  <a:pt x="359276" y="0"/>
                </a:cubicBezTo>
                <a:lnTo>
                  <a:pt x="390529" y="0"/>
                </a:lnTo>
                <a:cubicBezTo>
                  <a:pt x="437411" y="74"/>
                  <a:pt x="475399" y="38063"/>
                  <a:pt x="475473" y="84981"/>
                </a:cubicBezTo>
                <a:lnTo>
                  <a:pt x="475473" y="108794"/>
                </a:lnTo>
                <a:cubicBezTo>
                  <a:pt x="516327" y="122374"/>
                  <a:pt x="553980" y="144140"/>
                  <a:pt x="586125" y="172790"/>
                </a:cubicBezTo>
                <a:lnTo>
                  <a:pt x="606850" y="160810"/>
                </a:lnTo>
                <a:cubicBezTo>
                  <a:pt x="647480" y="137444"/>
                  <a:pt x="699346" y="151322"/>
                  <a:pt x="722826" y="191914"/>
                </a:cubicBezTo>
                <a:lnTo>
                  <a:pt x="738453" y="218926"/>
                </a:lnTo>
                <a:lnTo>
                  <a:pt x="738416" y="218926"/>
                </a:lnTo>
                <a:cubicBezTo>
                  <a:pt x="761819" y="259556"/>
                  <a:pt x="747904" y="311460"/>
                  <a:pt x="707311" y="334941"/>
                </a:cubicBezTo>
                <a:lnTo>
                  <a:pt x="686698" y="346847"/>
                </a:lnTo>
                <a:lnTo>
                  <a:pt x="686735" y="346847"/>
                </a:lnTo>
                <a:cubicBezTo>
                  <a:pt x="695330" y="389077"/>
                  <a:pt x="695330" y="432572"/>
                  <a:pt x="686735" y="474768"/>
                </a:cubicBezTo>
                <a:lnTo>
                  <a:pt x="707385" y="486637"/>
                </a:lnTo>
                <a:lnTo>
                  <a:pt x="707385" y="486674"/>
                </a:lnTo>
                <a:cubicBezTo>
                  <a:pt x="747867" y="510114"/>
                  <a:pt x="761782" y="561869"/>
                  <a:pt x="738527" y="602460"/>
                </a:cubicBezTo>
                <a:cubicBezTo>
                  <a:pt x="737225" y="604767"/>
                  <a:pt x="722826" y="629733"/>
                  <a:pt x="722826" y="629733"/>
                </a:cubicBezTo>
                <a:lnTo>
                  <a:pt x="722789" y="629733"/>
                </a:lnTo>
                <a:cubicBezTo>
                  <a:pt x="699312" y="670289"/>
                  <a:pt x="647407" y="684167"/>
                  <a:pt x="606813" y="660764"/>
                </a:cubicBezTo>
                <a:lnTo>
                  <a:pt x="586125" y="648857"/>
                </a:lnTo>
                <a:cubicBezTo>
                  <a:pt x="553941" y="677470"/>
                  <a:pt x="516288" y="699236"/>
                  <a:pt x="475473" y="712854"/>
                </a:cubicBezTo>
                <a:lnTo>
                  <a:pt x="475473" y="736666"/>
                </a:lnTo>
                <a:cubicBezTo>
                  <a:pt x="475362" y="774581"/>
                  <a:pt x="450210" y="807881"/>
                  <a:pt x="413747" y="818336"/>
                </a:cubicBezTo>
                <a:close/>
                <a:moveTo>
                  <a:pt x="316940" y="707908"/>
                </a:moveTo>
                <a:cubicBezTo>
                  <a:pt x="314596" y="697118"/>
                  <a:pt x="309239" y="687258"/>
                  <a:pt x="301462" y="679482"/>
                </a:cubicBezTo>
                <a:lnTo>
                  <a:pt x="289072" y="668060"/>
                </a:lnTo>
                <a:cubicBezTo>
                  <a:pt x="267120" y="649158"/>
                  <a:pt x="249596" y="625681"/>
                  <a:pt x="237764" y="599300"/>
                </a:cubicBezTo>
                <a:cubicBezTo>
                  <a:pt x="235903" y="595357"/>
                  <a:pt x="223773" y="569683"/>
                  <a:pt x="229504" y="561647"/>
                </a:cubicBezTo>
                <a:cubicBezTo>
                  <a:pt x="234155" y="555024"/>
                  <a:pt x="240145" y="554206"/>
                  <a:pt x="247810" y="559638"/>
                </a:cubicBezTo>
                <a:cubicBezTo>
                  <a:pt x="256665" y="565926"/>
                  <a:pt x="263809" y="570986"/>
                  <a:pt x="274189" y="567451"/>
                </a:cubicBezTo>
                <a:cubicBezTo>
                  <a:pt x="290003" y="561982"/>
                  <a:pt x="303806" y="559452"/>
                  <a:pt x="319730" y="571433"/>
                </a:cubicBezTo>
                <a:cubicBezTo>
                  <a:pt x="324865" y="575228"/>
                  <a:pt x="332492" y="582297"/>
                  <a:pt x="336883" y="581701"/>
                </a:cubicBezTo>
                <a:lnTo>
                  <a:pt x="336846" y="581701"/>
                </a:lnTo>
                <a:cubicBezTo>
                  <a:pt x="345887" y="579357"/>
                  <a:pt x="351989" y="570986"/>
                  <a:pt x="351506" y="561684"/>
                </a:cubicBezTo>
                <a:cubicBezTo>
                  <a:pt x="349720" y="556512"/>
                  <a:pt x="347004" y="551712"/>
                  <a:pt x="343469" y="547545"/>
                </a:cubicBezTo>
                <a:cubicBezTo>
                  <a:pt x="334800" y="537946"/>
                  <a:pt x="321554" y="531249"/>
                  <a:pt x="311471" y="515398"/>
                </a:cubicBezTo>
                <a:cubicBezTo>
                  <a:pt x="297480" y="493483"/>
                  <a:pt x="295807" y="479753"/>
                  <a:pt x="273073" y="463717"/>
                </a:cubicBezTo>
                <a:cubicBezTo>
                  <a:pt x="271250" y="462303"/>
                  <a:pt x="269316" y="461113"/>
                  <a:pt x="267269" y="460071"/>
                </a:cubicBezTo>
                <a:cubicBezTo>
                  <a:pt x="264293" y="459773"/>
                  <a:pt x="261502" y="458322"/>
                  <a:pt x="259604" y="456015"/>
                </a:cubicBezTo>
                <a:cubicBezTo>
                  <a:pt x="257670" y="453671"/>
                  <a:pt x="256777" y="450695"/>
                  <a:pt x="257074" y="447681"/>
                </a:cubicBezTo>
                <a:cubicBezTo>
                  <a:pt x="257149" y="446565"/>
                  <a:pt x="257409" y="445486"/>
                  <a:pt x="257856" y="444444"/>
                </a:cubicBezTo>
                <a:cubicBezTo>
                  <a:pt x="256591" y="435812"/>
                  <a:pt x="256070" y="427106"/>
                  <a:pt x="256256" y="418399"/>
                </a:cubicBezTo>
                <a:cubicBezTo>
                  <a:pt x="248703" y="421003"/>
                  <a:pt x="242452" y="426510"/>
                  <a:pt x="238918" y="433691"/>
                </a:cubicBezTo>
                <a:cubicBezTo>
                  <a:pt x="237169" y="438379"/>
                  <a:pt x="236053" y="443253"/>
                  <a:pt x="235532" y="448239"/>
                </a:cubicBezTo>
                <a:cubicBezTo>
                  <a:pt x="235569" y="451178"/>
                  <a:pt x="234490" y="454043"/>
                  <a:pt x="232518" y="456238"/>
                </a:cubicBezTo>
                <a:cubicBezTo>
                  <a:pt x="228127" y="461410"/>
                  <a:pt x="226751" y="459103"/>
                  <a:pt x="221095" y="461708"/>
                </a:cubicBezTo>
                <a:lnTo>
                  <a:pt x="221095" y="461671"/>
                </a:lnTo>
                <a:cubicBezTo>
                  <a:pt x="210752" y="467103"/>
                  <a:pt x="201041" y="473688"/>
                  <a:pt x="192223" y="481353"/>
                </a:cubicBezTo>
                <a:cubicBezTo>
                  <a:pt x="175295" y="495529"/>
                  <a:pt x="164616" y="515807"/>
                  <a:pt x="162495" y="537796"/>
                </a:cubicBezTo>
                <a:cubicBezTo>
                  <a:pt x="161416" y="547396"/>
                  <a:pt x="161081" y="557106"/>
                  <a:pt x="161565" y="566781"/>
                </a:cubicBezTo>
                <a:cubicBezTo>
                  <a:pt x="164169" y="584082"/>
                  <a:pt x="167741" y="601272"/>
                  <a:pt x="172280" y="618201"/>
                </a:cubicBezTo>
                <a:lnTo>
                  <a:pt x="175034" y="629102"/>
                </a:lnTo>
                <a:cubicBezTo>
                  <a:pt x="176261" y="631223"/>
                  <a:pt x="176745" y="633641"/>
                  <a:pt x="176485" y="636060"/>
                </a:cubicBezTo>
                <a:cubicBezTo>
                  <a:pt x="178494" y="645622"/>
                  <a:pt x="179945" y="655258"/>
                  <a:pt x="180801" y="664970"/>
                </a:cubicBezTo>
                <a:cubicBezTo>
                  <a:pt x="182624" y="679332"/>
                  <a:pt x="181470" y="693954"/>
                  <a:pt x="177452" y="707870"/>
                </a:cubicBezTo>
                <a:close/>
                <a:moveTo>
                  <a:pt x="224295" y="414157"/>
                </a:moveTo>
                <a:cubicBezTo>
                  <a:pt x="204017" y="413748"/>
                  <a:pt x="188911" y="415274"/>
                  <a:pt x="173321" y="426249"/>
                </a:cubicBezTo>
                <a:cubicBezTo>
                  <a:pt x="152485" y="440946"/>
                  <a:pt x="136300" y="471567"/>
                  <a:pt x="128746" y="495789"/>
                </a:cubicBezTo>
                <a:lnTo>
                  <a:pt x="128746" y="495827"/>
                </a:lnTo>
                <a:cubicBezTo>
                  <a:pt x="123017" y="515174"/>
                  <a:pt x="120375" y="535303"/>
                  <a:pt x="120970" y="555506"/>
                </a:cubicBezTo>
                <a:cubicBezTo>
                  <a:pt x="121156" y="596025"/>
                  <a:pt x="136225" y="642273"/>
                  <a:pt x="132467" y="676731"/>
                </a:cubicBezTo>
                <a:cubicBezTo>
                  <a:pt x="141062" y="674945"/>
                  <a:pt x="149842" y="674238"/>
                  <a:pt x="158586" y="674685"/>
                </a:cubicBezTo>
                <a:cubicBezTo>
                  <a:pt x="157582" y="657421"/>
                  <a:pt x="154754" y="640268"/>
                  <a:pt x="150177" y="623562"/>
                </a:cubicBezTo>
                <a:cubicBezTo>
                  <a:pt x="145303" y="605480"/>
                  <a:pt x="141508" y="587174"/>
                  <a:pt x="138829" y="568645"/>
                </a:cubicBezTo>
                <a:cubicBezTo>
                  <a:pt x="138308" y="557557"/>
                  <a:pt x="138643" y="546470"/>
                  <a:pt x="139834" y="535456"/>
                </a:cubicBezTo>
                <a:cubicBezTo>
                  <a:pt x="142550" y="507774"/>
                  <a:pt x="155907" y="482287"/>
                  <a:pt x="177116" y="464316"/>
                </a:cubicBezTo>
                <a:cubicBezTo>
                  <a:pt x="188204" y="454679"/>
                  <a:pt x="200519" y="446531"/>
                  <a:pt x="213728" y="440056"/>
                </a:cubicBezTo>
                <a:cubicBezTo>
                  <a:pt x="214844" y="430643"/>
                  <a:pt x="218490" y="421676"/>
                  <a:pt x="224295" y="414160"/>
                </a:cubicBezTo>
                <a:close/>
                <a:moveTo>
                  <a:pt x="391725" y="596542"/>
                </a:moveTo>
                <a:lnTo>
                  <a:pt x="457805" y="600226"/>
                </a:lnTo>
                <a:lnTo>
                  <a:pt x="450549" y="583557"/>
                </a:lnTo>
                <a:lnTo>
                  <a:pt x="450512" y="583594"/>
                </a:lnTo>
                <a:cubicBezTo>
                  <a:pt x="496872" y="563205"/>
                  <a:pt x="533075" y="525030"/>
                  <a:pt x="551010" y="477705"/>
                </a:cubicBezTo>
                <a:cubicBezTo>
                  <a:pt x="568944" y="430377"/>
                  <a:pt x="567121" y="377844"/>
                  <a:pt x="545950" y="331858"/>
                </a:cubicBezTo>
                <a:cubicBezTo>
                  <a:pt x="524779" y="285870"/>
                  <a:pt x="486009" y="250337"/>
                  <a:pt x="438384" y="233188"/>
                </a:cubicBezTo>
                <a:cubicBezTo>
                  <a:pt x="390759" y="216073"/>
                  <a:pt x="338219" y="218789"/>
                  <a:pt x="292604" y="240741"/>
                </a:cubicBezTo>
                <a:cubicBezTo>
                  <a:pt x="241630" y="264181"/>
                  <a:pt x="204126" y="309575"/>
                  <a:pt x="190772" y="364081"/>
                </a:cubicBezTo>
                <a:cubicBezTo>
                  <a:pt x="189842" y="367131"/>
                  <a:pt x="190214" y="370406"/>
                  <a:pt x="191814" y="373122"/>
                </a:cubicBezTo>
                <a:cubicBezTo>
                  <a:pt x="193377" y="375875"/>
                  <a:pt x="196056" y="377847"/>
                  <a:pt x="199144" y="378554"/>
                </a:cubicBezTo>
                <a:cubicBezTo>
                  <a:pt x="202195" y="379261"/>
                  <a:pt x="205469" y="378666"/>
                  <a:pt x="208074" y="376917"/>
                </a:cubicBezTo>
                <a:cubicBezTo>
                  <a:pt x="210715" y="375131"/>
                  <a:pt x="212501" y="372340"/>
                  <a:pt x="212985" y="369215"/>
                </a:cubicBezTo>
                <a:cubicBezTo>
                  <a:pt x="227198" y="312772"/>
                  <a:pt x="270432" y="268202"/>
                  <a:pt x="326390" y="252200"/>
                </a:cubicBezTo>
                <a:cubicBezTo>
                  <a:pt x="380861" y="235569"/>
                  <a:pt x="440023" y="248033"/>
                  <a:pt x="483143" y="285241"/>
                </a:cubicBezTo>
                <a:cubicBezTo>
                  <a:pt x="526265" y="322410"/>
                  <a:pt x="547288" y="379114"/>
                  <a:pt x="538842" y="435450"/>
                </a:cubicBezTo>
                <a:cubicBezTo>
                  <a:pt x="530359" y="491745"/>
                  <a:pt x="493598" y="539777"/>
                  <a:pt x="441468" y="562656"/>
                </a:cubicBezTo>
                <a:lnTo>
                  <a:pt x="434250" y="545988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E8C3463-98A3-4B84-2671-EB710C3D209B}"/>
              </a:ext>
            </a:extLst>
          </p:cNvPr>
          <p:cNvSpPr/>
          <p:nvPr/>
        </p:nvSpPr>
        <p:spPr bwMode="auto">
          <a:xfrm>
            <a:off x="8579383" y="961818"/>
            <a:ext cx="548640" cy="548640"/>
          </a:xfrm>
          <a:prstGeom prst="ellipse">
            <a:avLst/>
          </a:prstGeom>
          <a:solidFill>
            <a:schemeClr val="bg1"/>
          </a:solidFill>
          <a:ln>
            <a:solidFill>
              <a:srgbClr val="C5CAEE"/>
            </a:solidFill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E26C1CF-CA14-F63C-A29D-22A6C05C6BC2}"/>
              </a:ext>
            </a:extLst>
          </p:cNvPr>
          <p:cNvSpPr/>
          <p:nvPr/>
        </p:nvSpPr>
        <p:spPr bwMode="auto">
          <a:xfrm>
            <a:off x="6622229" y="961818"/>
            <a:ext cx="548640" cy="54864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CCB25043-9AAD-6984-FFEA-5F38F2ED432C}"/>
              </a:ext>
            </a:extLst>
          </p:cNvPr>
          <p:cNvSpPr/>
          <p:nvPr/>
        </p:nvSpPr>
        <p:spPr>
          <a:xfrm>
            <a:off x="6708358" y="1033151"/>
            <a:ext cx="365760" cy="365760"/>
          </a:xfrm>
          <a:custGeom>
            <a:avLst/>
            <a:gdLst>
              <a:gd name="connsiteX0" fmla="*/ 204559 w 768850"/>
              <a:gd name="connsiteY0" fmla="*/ 76237 h 857091"/>
              <a:gd name="connsiteX1" fmla="*/ 285633 w 768850"/>
              <a:gd name="connsiteY1" fmla="*/ 142801 h 857091"/>
              <a:gd name="connsiteX2" fmla="*/ 236259 w 768850"/>
              <a:gd name="connsiteY2" fmla="*/ 235334 h 857091"/>
              <a:gd name="connsiteX3" fmla="*/ 241877 w 768850"/>
              <a:gd name="connsiteY3" fmla="*/ 235334 h 857091"/>
              <a:gd name="connsiteX4" fmla="*/ 271791 w 768850"/>
              <a:gd name="connsiteY4" fmla="*/ 240543 h 857091"/>
              <a:gd name="connsiteX5" fmla="*/ 360419 w 768850"/>
              <a:gd name="connsiteY5" fmla="*/ 158948 h 857091"/>
              <a:gd name="connsiteX6" fmla="*/ 366037 w 768850"/>
              <a:gd name="connsiteY6" fmla="*/ 158948 h 857091"/>
              <a:gd name="connsiteX7" fmla="*/ 316700 w 768850"/>
              <a:gd name="connsiteY7" fmla="*/ 66452 h 857091"/>
              <a:gd name="connsiteX8" fmla="*/ 397737 w 768850"/>
              <a:gd name="connsiteY8" fmla="*/ 0 h 857091"/>
              <a:gd name="connsiteX9" fmla="*/ 478774 w 768850"/>
              <a:gd name="connsiteY9" fmla="*/ 66452 h 857091"/>
              <a:gd name="connsiteX10" fmla="*/ 429437 w 768850"/>
              <a:gd name="connsiteY10" fmla="*/ 158948 h 857091"/>
              <a:gd name="connsiteX11" fmla="*/ 435055 w 768850"/>
              <a:gd name="connsiteY11" fmla="*/ 158948 h 857091"/>
              <a:gd name="connsiteX12" fmla="*/ 435018 w 768850"/>
              <a:gd name="connsiteY12" fmla="*/ 158948 h 857091"/>
              <a:gd name="connsiteX13" fmla="*/ 523645 w 768850"/>
              <a:gd name="connsiteY13" fmla="*/ 240543 h 857091"/>
              <a:gd name="connsiteX14" fmla="*/ 553560 w 768850"/>
              <a:gd name="connsiteY14" fmla="*/ 235334 h 857091"/>
              <a:gd name="connsiteX15" fmla="*/ 559178 w 768850"/>
              <a:gd name="connsiteY15" fmla="*/ 235334 h 857091"/>
              <a:gd name="connsiteX16" fmla="*/ 509841 w 768850"/>
              <a:gd name="connsiteY16" fmla="*/ 142875 h 857091"/>
              <a:gd name="connsiteX17" fmla="*/ 590878 w 768850"/>
              <a:gd name="connsiteY17" fmla="*/ 76423 h 857091"/>
              <a:gd name="connsiteX18" fmla="*/ 671915 w 768850"/>
              <a:gd name="connsiteY18" fmla="*/ 142875 h 857091"/>
              <a:gd name="connsiteX19" fmla="*/ 622578 w 768850"/>
              <a:gd name="connsiteY19" fmla="*/ 235334 h 857091"/>
              <a:gd name="connsiteX20" fmla="*/ 628196 w 768850"/>
              <a:gd name="connsiteY20" fmla="*/ 235334 h 857091"/>
              <a:gd name="connsiteX21" fmla="*/ 628159 w 768850"/>
              <a:gd name="connsiteY21" fmla="*/ 235334 h 857091"/>
              <a:gd name="connsiteX22" fmla="*/ 717121 w 768850"/>
              <a:gd name="connsiteY22" fmla="*/ 324296 h 857091"/>
              <a:gd name="connsiteX23" fmla="*/ 714479 w 768850"/>
              <a:gd name="connsiteY23" fmla="*/ 330658 h 857091"/>
              <a:gd name="connsiteX24" fmla="*/ 708117 w 768850"/>
              <a:gd name="connsiteY24" fmla="*/ 333300 h 857091"/>
              <a:gd name="connsiteX25" fmla="*/ 473640 w 768850"/>
              <a:gd name="connsiteY25" fmla="*/ 333300 h 857091"/>
              <a:gd name="connsiteX26" fmla="*/ 464636 w 768850"/>
              <a:gd name="connsiteY26" fmla="*/ 324296 h 857091"/>
              <a:gd name="connsiteX27" fmla="*/ 490755 w 768850"/>
              <a:gd name="connsiteY27" fmla="*/ 261416 h 857091"/>
              <a:gd name="connsiteX28" fmla="*/ 495667 w 768850"/>
              <a:gd name="connsiteY28" fmla="*/ 256839 h 857091"/>
              <a:gd name="connsiteX29" fmla="*/ 299775 w 768850"/>
              <a:gd name="connsiteY29" fmla="*/ 256876 h 857091"/>
              <a:gd name="connsiteX30" fmla="*/ 304687 w 768850"/>
              <a:gd name="connsiteY30" fmla="*/ 261453 h 857091"/>
              <a:gd name="connsiteX31" fmla="*/ 304687 w 768850"/>
              <a:gd name="connsiteY31" fmla="*/ 261416 h 857091"/>
              <a:gd name="connsiteX32" fmla="*/ 330806 w 768850"/>
              <a:gd name="connsiteY32" fmla="*/ 324296 h 857091"/>
              <a:gd name="connsiteX33" fmla="*/ 321802 w 768850"/>
              <a:gd name="connsiteY33" fmla="*/ 333300 h 857091"/>
              <a:gd name="connsiteX34" fmla="*/ 87325 w 768850"/>
              <a:gd name="connsiteY34" fmla="*/ 333300 h 857091"/>
              <a:gd name="connsiteX35" fmla="*/ 78321 w 768850"/>
              <a:gd name="connsiteY35" fmla="*/ 324296 h 857091"/>
              <a:gd name="connsiteX36" fmla="*/ 167246 w 768850"/>
              <a:gd name="connsiteY36" fmla="*/ 235334 h 857091"/>
              <a:gd name="connsiteX37" fmla="*/ 172864 w 768850"/>
              <a:gd name="connsiteY37" fmla="*/ 235334 h 857091"/>
              <a:gd name="connsiteX38" fmla="*/ 123453 w 768850"/>
              <a:gd name="connsiteY38" fmla="*/ 142801 h 857091"/>
              <a:gd name="connsiteX39" fmla="*/ 204564 w 768850"/>
              <a:gd name="connsiteY39" fmla="*/ 76237 h 857091"/>
              <a:gd name="connsiteX40" fmla="*/ 634336 w 768850"/>
              <a:gd name="connsiteY40" fmla="*/ 398706 h 857091"/>
              <a:gd name="connsiteX41" fmla="*/ 580981 w 768850"/>
              <a:gd name="connsiteY41" fmla="*/ 429514 h 857091"/>
              <a:gd name="connsiteX42" fmla="*/ 580646 w 768850"/>
              <a:gd name="connsiteY42" fmla="*/ 429700 h 857091"/>
              <a:gd name="connsiteX43" fmla="*/ 580683 w 768850"/>
              <a:gd name="connsiteY43" fmla="*/ 429700 h 857091"/>
              <a:gd name="connsiteX44" fmla="*/ 578228 w 768850"/>
              <a:gd name="connsiteY44" fmla="*/ 439820 h 857091"/>
              <a:gd name="connsiteX45" fmla="*/ 673181 w 768850"/>
              <a:gd name="connsiteY45" fmla="*/ 604279 h 857091"/>
              <a:gd name="connsiteX46" fmla="*/ 673664 w 768850"/>
              <a:gd name="connsiteY46" fmla="*/ 605097 h 857091"/>
              <a:gd name="connsiteX47" fmla="*/ 683487 w 768850"/>
              <a:gd name="connsiteY47" fmla="*/ 622101 h 857091"/>
              <a:gd name="connsiteX48" fmla="*/ 683673 w 768850"/>
              <a:gd name="connsiteY48" fmla="*/ 622436 h 857091"/>
              <a:gd name="connsiteX49" fmla="*/ 683635 w 768850"/>
              <a:gd name="connsiteY49" fmla="*/ 622436 h 857091"/>
              <a:gd name="connsiteX50" fmla="*/ 693756 w 768850"/>
              <a:gd name="connsiteY50" fmla="*/ 624892 h 857091"/>
              <a:gd name="connsiteX51" fmla="*/ 747111 w 768850"/>
              <a:gd name="connsiteY51" fmla="*/ 594084 h 857091"/>
              <a:gd name="connsiteX52" fmla="*/ 747446 w 768850"/>
              <a:gd name="connsiteY52" fmla="*/ 593898 h 857091"/>
              <a:gd name="connsiteX53" fmla="*/ 749901 w 768850"/>
              <a:gd name="connsiteY53" fmla="*/ 583778 h 857091"/>
              <a:gd name="connsiteX54" fmla="*/ 644641 w 768850"/>
              <a:gd name="connsiteY54" fmla="*/ 401460 h 857091"/>
              <a:gd name="connsiteX55" fmla="*/ 644455 w 768850"/>
              <a:gd name="connsiteY55" fmla="*/ 401125 h 857091"/>
              <a:gd name="connsiteX56" fmla="*/ 634334 w 768850"/>
              <a:gd name="connsiteY56" fmla="*/ 398669 h 857091"/>
              <a:gd name="connsiteX57" fmla="*/ 571940 w 768850"/>
              <a:gd name="connsiteY57" fmla="*/ 413961 h 857091"/>
              <a:gd name="connsiteX58" fmla="*/ 625295 w 768850"/>
              <a:gd name="connsiteY58" fmla="*/ 383154 h 857091"/>
              <a:gd name="connsiteX59" fmla="*/ 625295 w 768850"/>
              <a:gd name="connsiteY59" fmla="*/ 383117 h 857091"/>
              <a:gd name="connsiteX60" fmla="*/ 659749 w 768850"/>
              <a:gd name="connsiteY60" fmla="*/ 391823 h 857091"/>
              <a:gd name="connsiteX61" fmla="*/ 660121 w 768850"/>
              <a:gd name="connsiteY61" fmla="*/ 392418 h 857091"/>
              <a:gd name="connsiteX62" fmla="*/ 765420 w 768850"/>
              <a:gd name="connsiteY62" fmla="*/ 574736 h 857091"/>
              <a:gd name="connsiteX63" fmla="*/ 756676 w 768850"/>
              <a:gd name="connsiteY63" fmla="*/ 609190 h 857091"/>
              <a:gd name="connsiteX64" fmla="*/ 756081 w 768850"/>
              <a:gd name="connsiteY64" fmla="*/ 609562 h 857091"/>
              <a:gd name="connsiteX65" fmla="*/ 702726 w 768850"/>
              <a:gd name="connsiteY65" fmla="*/ 640370 h 857091"/>
              <a:gd name="connsiteX66" fmla="*/ 702763 w 768850"/>
              <a:gd name="connsiteY66" fmla="*/ 640407 h 857091"/>
              <a:gd name="connsiteX67" fmla="*/ 668272 w 768850"/>
              <a:gd name="connsiteY67" fmla="*/ 631701 h 857091"/>
              <a:gd name="connsiteX68" fmla="*/ 667900 w 768850"/>
              <a:gd name="connsiteY68" fmla="*/ 631105 h 857091"/>
              <a:gd name="connsiteX69" fmla="*/ 664588 w 768850"/>
              <a:gd name="connsiteY69" fmla="*/ 625376 h 857091"/>
              <a:gd name="connsiteX70" fmla="*/ 661463 w 768850"/>
              <a:gd name="connsiteY70" fmla="*/ 629766 h 857091"/>
              <a:gd name="connsiteX71" fmla="*/ 636981 w 768850"/>
              <a:gd name="connsiteY71" fmla="*/ 658751 h 857091"/>
              <a:gd name="connsiteX72" fmla="*/ 642450 w 768850"/>
              <a:gd name="connsiteY72" fmla="*/ 708273 h 857091"/>
              <a:gd name="connsiteX73" fmla="*/ 642116 w 768850"/>
              <a:gd name="connsiteY73" fmla="*/ 708831 h 857091"/>
              <a:gd name="connsiteX74" fmla="*/ 584966 w 768850"/>
              <a:gd name="connsiteY74" fmla="*/ 723677 h 857091"/>
              <a:gd name="connsiteX75" fmla="*/ 584147 w 768850"/>
              <a:gd name="connsiteY75" fmla="*/ 723230 h 857091"/>
              <a:gd name="connsiteX76" fmla="*/ 584184 w 768850"/>
              <a:gd name="connsiteY76" fmla="*/ 723230 h 857091"/>
              <a:gd name="connsiteX77" fmla="*/ 578715 w 768850"/>
              <a:gd name="connsiteY77" fmla="*/ 747973 h 857091"/>
              <a:gd name="connsiteX78" fmla="*/ 529788 w 768850"/>
              <a:gd name="connsiteY78" fmla="*/ 767135 h 857091"/>
              <a:gd name="connsiteX79" fmla="*/ 524467 w 768850"/>
              <a:gd name="connsiteY79" fmla="*/ 793180 h 857091"/>
              <a:gd name="connsiteX80" fmla="*/ 524132 w 768850"/>
              <a:gd name="connsiteY80" fmla="*/ 793738 h 857091"/>
              <a:gd name="connsiteX81" fmla="*/ 524132 w 768850"/>
              <a:gd name="connsiteY81" fmla="*/ 793701 h 857091"/>
              <a:gd name="connsiteX82" fmla="*/ 471670 w 768850"/>
              <a:gd name="connsiteY82" fmla="*/ 810928 h 857091"/>
              <a:gd name="connsiteX83" fmla="*/ 466573 w 768850"/>
              <a:gd name="connsiteY83" fmla="*/ 835484 h 857091"/>
              <a:gd name="connsiteX84" fmla="*/ 466275 w 768850"/>
              <a:gd name="connsiteY84" fmla="*/ 836079 h 857091"/>
              <a:gd name="connsiteX85" fmla="*/ 409311 w 768850"/>
              <a:gd name="connsiteY85" fmla="*/ 851780 h 857091"/>
              <a:gd name="connsiteX86" fmla="*/ 408753 w 768850"/>
              <a:gd name="connsiteY86" fmla="*/ 851483 h 857091"/>
              <a:gd name="connsiteX87" fmla="*/ 386652 w 768850"/>
              <a:gd name="connsiteY87" fmla="*/ 838721 h 857091"/>
              <a:gd name="connsiteX88" fmla="*/ 386615 w 768850"/>
              <a:gd name="connsiteY88" fmla="*/ 838684 h 857091"/>
              <a:gd name="connsiteX89" fmla="*/ 337762 w 768850"/>
              <a:gd name="connsiteY89" fmla="*/ 845121 h 857091"/>
              <a:gd name="connsiteX90" fmla="*/ 336274 w 768850"/>
              <a:gd name="connsiteY90" fmla="*/ 844302 h 857091"/>
              <a:gd name="connsiteX91" fmla="*/ 318117 w 768850"/>
              <a:gd name="connsiteY91" fmla="*/ 821532 h 857091"/>
              <a:gd name="connsiteX92" fmla="*/ 274101 w 768850"/>
              <a:gd name="connsiteY92" fmla="*/ 823727 h 857091"/>
              <a:gd name="connsiteX93" fmla="*/ 272836 w 768850"/>
              <a:gd name="connsiteY93" fmla="*/ 823020 h 857091"/>
              <a:gd name="connsiteX94" fmla="*/ 253972 w 768850"/>
              <a:gd name="connsiteY94" fmla="*/ 798017 h 857091"/>
              <a:gd name="connsiteX95" fmla="*/ 253042 w 768850"/>
              <a:gd name="connsiteY95" fmla="*/ 793254 h 857091"/>
              <a:gd name="connsiteX96" fmla="*/ 248354 w 768850"/>
              <a:gd name="connsiteY96" fmla="*/ 794817 h 857091"/>
              <a:gd name="connsiteX97" fmla="*/ 217323 w 768850"/>
              <a:gd name="connsiteY97" fmla="*/ 790985 h 857091"/>
              <a:gd name="connsiteX98" fmla="*/ 216058 w 768850"/>
              <a:gd name="connsiteY98" fmla="*/ 790278 h 857091"/>
              <a:gd name="connsiteX99" fmla="*/ 195818 w 768850"/>
              <a:gd name="connsiteY99" fmla="*/ 753704 h 857091"/>
              <a:gd name="connsiteX100" fmla="*/ 164824 w 768850"/>
              <a:gd name="connsiteY100" fmla="*/ 749388 h 857091"/>
              <a:gd name="connsiteX101" fmla="*/ 164787 w 768850"/>
              <a:gd name="connsiteY101" fmla="*/ 749388 h 857091"/>
              <a:gd name="connsiteX102" fmla="*/ 145290 w 768850"/>
              <a:gd name="connsiteY102" fmla="*/ 724012 h 857091"/>
              <a:gd name="connsiteX103" fmla="*/ 149458 w 768850"/>
              <a:gd name="connsiteY103" fmla="*/ 692275 h 857091"/>
              <a:gd name="connsiteX104" fmla="*/ 157122 w 768850"/>
              <a:gd name="connsiteY104" fmla="*/ 678955 h 857091"/>
              <a:gd name="connsiteX105" fmla="*/ 128250 w 768850"/>
              <a:gd name="connsiteY105" fmla="*/ 642864 h 857091"/>
              <a:gd name="connsiteX106" fmla="*/ 109014 w 768850"/>
              <a:gd name="connsiteY106" fmla="*/ 617154 h 857091"/>
              <a:gd name="connsiteX107" fmla="*/ 100940 w 768850"/>
              <a:gd name="connsiteY107" fmla="*/ 631106 h 857091"/>
              <a:gd name="connsiteX108" fmla="*/ 100978 w 768850"/>
              <a:gd name="connsiteY108" fmla="*/ 631106 h 857091"/>
              <a:gd name="connsiteX109" fmla="*/ 100605 w 768850"/>
              <a:gd name="connsiteY109" fmla="*/ 631702 h 857091"/>
              <a:gd name="connsiteX110" fmla="*/ 66114 w 768850"/>
              <a:gd name="connsiteY110" fmla="*/ 640445 h 857091"/>
              <a:gd name="connsiteX111" fmla="*/ 12759 w 768850"/>
              <a:gd name="connsiteY111" fmla="*/ 609638 h 857091"/>
              <a:gd name="connsiteX112" fmla="*/ 12164 w 768850"/>
              <a:gd name="connsiteY112" fmla="*/ 609266 h 857091"/>
              <a:gd name="connsiteX113" fmla="*/ 12201 w 768850"/>
              <a:gd name="connsiteY113" fmla="*/ 609228 h 857091"/>
              <a:gd name="connsiteX114" fmla="*/ 3420 w 768850"/>
              <a:gd name="connsiteY114" fmla="*/ 574774 h 857091"/>
              <a:gd name="connsiteX115" fmla="*/ 108605 w 768850"/>
              <a:gd name="connsiteY115" fmla="*/ 392456 h 857091"/>
              <a:gd name="connsiteX116" fmla="*/ 108977 w 768850"/>
              <a:gd name="connsiteY116" fmla="*/ 391861 h 857091"/>
              <a:gd name="connsiteX117" fmla="*/ 109014 w 768850"/>
              <a:gd name="connsiteY117" fmla="*/ 391861 h 857091"/>
              <a:gd name="connsiteX118" fmla="*/ 143468 w 768850"/>
              <a:gd name="connsiteY118" fmla="*/ 383117 h 857091"/>
              <a:gd name="connsiteX119" fmla="*/ 196823 w 768850"/>
              <a:gd name="connsiteY119" fmla="*/ 413925 h 857091"/>
              <a:gd name="connsiteX120" fmla="*/ 197418 w 768850"/>
              <a:gd name="connsiteY120" fmla="*/ 414297 h 857091"/>
              <a:gd name="connsiteX121" fmla="*/ 197381 w 768850"/>
              <a:gd name="connsiteY121" fmla="*/ 414334 h 857091"/>
              <a:gd name="connsiteX122" fmla="*/ 206125 w 768850"/>
              <a:gd name="connsiteY122" fmla="*/ 448788 h 857091"/>
              <a:gd name="connsiteX123" fmla="*/ 200544 w 768850"/>
              <a:gd name="connsiteY123" fmla="*/ 458425 h 857091"/>
              <a:gd name="connsiteX124" fmla="*/ 264800 w 768850"/>
              <a:gd name="connsiteY124" fmla="*/ 476842 h 857091"/>
              <a:gd name="connsiteX125" fmla="*/ 321950 w 768850"/>
              <a:gd name="connsiteY125" fmla="*/ 492320 h 857091"/>
              <a:gd name="connsiteX126" fmla="*/ 337614 w 768850"/>
              <a:gd name="connsiteY126" fmla="*/ 474908 h 857091"/>
              <a:gd name="connsiteX127" fmla="*/ 337614 w 768850"/>
              <a:gd name="connsiteY127" fmla="*/ 474945 h 857091"/>
              <a:gd name="connsiteX128" fmla="*/ 341819 w 768850"/>
              <a:gd name="connsiteY128" fmla="*/ 472303 h 857091"/>
              <a:gd name="connsiteX129" fmla="*/ 434799 w 768850"/>
              <a:gd name="connsiteY129" fmla="*/ 445254 h 857091"/>
              <a:gd name="connsiteX130" fmla="*/ 434762 w 768850"/>
              <a:gd name="connsiteY130" fmla="*/ 445291 h 857091"/>
              <a:gd name="connsiteX131" fmla="*/ 437255 w 768850"/>
              <a:gd name="connsiteY131" fmla="*/ 444770 h 857091"/>
              <a:gd name="connsiteX132" fmla="*/ 481271 w 768850"/>
              <a:gd name="connsiteY132" fmla="*/ 451319 h 857091"/>
              <a:gd name="connsiteX133" fmla="*/ 517585 w 768850"/>
              <a:gd name="connsiteY133" fmla="*/ 472899 h 857091"/>
              <a:gd name="connsiteX134" fmla="*/ 544820 w 768850"/>
              <a:gd name="connsiteY134" fmla="*/ 469104 h 857091"/>
              <a:gd name="connsiteX135" fmla="*/ 567219 w 768850"/>
              <a:gd name="connsiteY135" fmla="*/ 456788 h 857091"/>
              <a:gd name="connsiteX136" fmla="*/ 562606 w 768850"/>
              <a:gd name="connsiteY136" fmla="*/ 448788 h 857091"/>
              <a:gd name="connsiteX137" fmla="*/ 562569 w 768850"/>
              <a:gd name="connsiteY137" fmla="*/ 448788 h 857091"/>
              <a:gd name="connsiteX138" fmla="*/ 571312 w 768850"/>
              <a:gd name="connsiteY138" fmla="*/ 414334 h 857091"/>
              <a:gd name="connsiteX139" fmla="*/ 571907 w 768850"/>
              <a:gd name="connsiteY139" fmla="*/ 413962 h 857091"/>
              <a:gd name="connsiteX140" fmla="*/ 654726 w 768850"/>
              <a:gd name="connsiteY140" fmla="*/ 608367 h 857091"/>
              <a:gd name="connsiteX141" fmla="*/ 646689 w 768850"/>
              <a:gd name="connsiteY141" fmla="*/ 619418 h 857091"/>
              <a:gd name="connsiteX142" fmla="*/ 646726 w 768850"/>
              <a:gd name="connsiteY142" fmla="*/ 619380 h 857091"/>
              <a:gd name="connsiteX143" fmla="*/ 621946 w 768850"/>
              <a:gd name="connsiteY143" fmla="*/ 647807 h 857091"/>
              <a:gd name="connsiteX144" fmla="*/ 530156 w 768850"/>
              <a:gd name="connsiteY144" fmla="*/ 594824 h 857091"/>
              <a:gd name="connsiteX145" fmla="*/ 582692 w 768850"/>
              <a:gd name="connsiteY145" fmla="*/ 581801 h 857091"/>
              <a:gd name="connsiteX146" fmla="*/ 586599 w 768850"/>
              <a:gd name="connsiteY146" fmla="*/ 569969 h 857091"/>
              <a:gd name="connsiteX147" fmla="*/ 574953 w 768850"/>
              <a:gd name="connsiteY147" fmla="*/ 565579 h 857091"/>
              <a:gd name="connsiteX148" fmla="*/ 505376 w 768850"/>
              <a:gd name="connsiteY148" fmla="*/ 574174 h 857091"/>
              <a:gd name="connsiteX149" fmla="*/ 429511 w 768850"/>
              <a:gd name="connsiteY149" fmla="*/ 528075 h 857091"/>
              <a:gd name="connsiteX150" fmla="*/ 423372 w 768850"/>
              <a:gd name="connsiteY150" fmla="*/ 525507 h 857091"/>
              <a:gd name="connsiteX151" fmla="*/ 379765 w 768850"/>
              <a:gd name="connsiteY151" fmla="*/ 524763 h 857091"/>
              <a:gd name="connsiteX152" fmla="*/ 372733 w 768850"/>
              <a:gd name="connsiteY152" fmla="*/ 527479 h 857091"/>
              <a:gd name="connsiteX153" fmla="*/ 330764 w 768850"/>
              <a:gd name="connsiteY153" fmla="*/ 558139 h 857091"/>
              <a:gd name="connsiteX154" fmla="*/ 291771 w 768850"/>
              <a:gd name="connsiteY154" fmla="*/ 552818 h 857091"/>
              <a:gd name="connsiteX155" fmla="*/ 349330 w 768850"/>
              <a:gd name="connsiteY155" fmla="*/ 488860 h 857091"/>
              <a:gd name="connsiteX156" fmla="*/ 439260 w 768850"/>
              <a:gd name="connsiteY156" fmla="*/ 462740 h 857091"/>
              <a:gd name="connsiteX157" fmla="*/ 475053 w 768850"/>
              <a:gd name="connsiteY157" fmla="*/ 468172 h 857091"/>
              <a:gd name="connsiteX158" fmla="*/ 507721 w 768850"/>
              <a:gd name="connsiteY158" fmla="*/ 488078 h 857091"/>
              <a:gd name="connsiteX159" fmla="*/ 513004 w 768850"/>
              <a:gd name="connsiteY159" fmla="*/ 490570 h 857091"/>
              <a:gd name="connsiteX160" fmla="*/ 550918 w 768850"/>
              <a:gd name="connsiteY160" fmla="*/ 486031 h 857091"/>
              <a:gd name="connsiteX161" fmla="*/ 576294 w 768850"/>
              <a:gd name="connsiteY161" fmla="*/ 472450 h 857091"/>
              <a:gd name="connsiteX162" fmla="*/ 191572 w 768850"/>
              <a:gd name="connsiteY162" fmla="*/ 474159 h 857091"/>
              <a:gd name="connsiteX163" fmla="*/ 261113 w 768850"/>
              <a:gd name="connsiteY163" fmla="*/ 494474 h 857091"/>
              <a:gd name="connsiteX164" fmla="*/ 308998 w 768850"/>
              <a:gd name="connsiteY164" fmla="*/ 506753 h 857091"/>
              <a:gd name="connsiteX165" fmla="*/ 272535 w 768850"/>
              <a:gd name="connsiteY165" fmla="*/ 547271 h 857091"/>
              <a:gd name="connsiteX166" fmla="*/ 272758 w 768850"/>
              <a:gd name="connsiteY166" fmla="*/ 559550 h 857091"/>
              <a:gd name="connsiteX167" fmla="*/ 337163 w 768850"/>
              <a:gd name="connsiteY167" fmla="*/ 574991 h 857091"/>
              <a:gd name="connsiteX168" fmla="*/ 382928 w 768850"/>
              <a:gd name="connsiteY168" fmla="*/ 542733 h 857091"/>
              <a:gd name="connsiteX169" fmla="*/ 419540 w 768850"/>
              <a:gd name="connsiteY169" fmla="*/ 543365 h 857091"/>
              <a:gd name="connsiteX170" fmla="*/ 466235 w 768850"/>
              <a:gd name="connsiteY170" fmla="*/ 578116 h 857091"/>
              <a:gd name="connsiteX171" fmla="*/ 468393 w 768850"/>
              <a:gd name="connsiteY171" fmla="*/ 579865 h 857091"/>
              <a:gd name="connsiteX172" fmla="*/ 617926 w 768850"/>
              <a:gd name="connsiteY172" fmla="*/ 666185 h 857091"/>
              <a:gd name="connsiteX173" fmla="*/ 618186 w 768850"/>
              <a:gd name="connsiteY173" fmla="*/ 666334 h 857091"/>
              <a:gd name="connsiteX174" fmla="*/ 626893 w 768850"/>
              <a:gd name="connsiteY174" fmla="*/ 699225 h 857091"/>
              <a:gd name="connsiteX175" fmla="*/ 626669 w 768850"/>
              <a:gd name="connsiteY175" fmla="*/ 699671 h 857091"/>
              <a:gd name="connsiteX176" fmla="*/ 626669 w 768850"/>
              <a:gd name="connsiteY176" fmla="*/ 699634 h 857091"/>
              <a:gd name="connsiteX177" fmla="*/ 593890 w 768850"/>
              <a:gd name="connsiteY177" fmla="*/ 708080 h 857091"/>
              <a:gd name="connsiteX178" fmla="*/ 506490 w 768850"/>
              <a:gd name="connsiteY178" fmla="*/ 657590 h 857091"/>
              <a:gd name="connsiteX179" fmla="*/ 494249 w 768850"/>
              <a:gd name="connsiteY179" fmla="*/ 660902 h 857091"/>
              <a:gd name="connsiteX180" fmla="*/ 497560 w 768850"/>
              <a:gd name="connsiteY180" fmla="*/ 673143 h 857091"/>
              <a:gd name="connsiteX181" fmla="*/ 554264 w 768850"/>
              <a:gd name="connsiteY181" fmla="*/ 705885 h 857091"/>
              <a:gd name="connsiteX182" fmla="*/ 554301 w 768850"/>
              <a:gd name="connsiteY182" fmla="*/ 705885 h 857091"/>
              <a:gd name="connsiteX183" fmla="*/ 563082 w 768850"/>
              <a:gd name="connsiteY183" fmla="*/ 738850 h 857091"/>
              <a:gd name="connsiteX184" fmla="*/ 530525 w 768850"/>
              <a:gd name="connsiteY184" fmla="*/ 747892 h 857091"/>
              <a:gd name="connsiteX185" fmla="*/ 530153 w 768850"/>
              <a:gd name="connsiteY185" fmla="*/ 747668 h 857091"/>
              <a:gd name="connsiteX186" fmla="*/ 465599 w 768850"/>
              <a:gd name="connsiteY186" fmla="*/ 710387 h 857091"/>
              <a:gd name="connsiteX187" fmla="*/ 465562 w 768850"/>
              <a:gd name="connsiteY187" fmla="*/ 710387 h 857091"/>
              <a:gd name="connsiteX188" fmla="*/ 453284 w 768850"/>
              <a:gd name="connsiteY188" fmla="*/ 713661 h 857091"/>
              <a:gd name="connsiteX189" fmla="*/ 456558 w 768850"/>
              <a:gd name="connsiteY189" fmla="*/ 725940 h 857091"/>
              <a:gd name="connsiteX190" fmla="*/ 500016 w 768850"/>
              <a:gd name="connsiteY190" fmla="*/ 751017 h 857091"/>
              <a:gd name="connsiteX191" fmla="*/ 509094 w 768850"/>
              <a:gd name="connsiteY191" fmla="*/ 783536 h 857091"/>
              <a:gd name="connsiteX192" fmla="*/ 508499 w 768850"/>
              <a:gd name="connsiteY192" fmla="*/ 784615 h 857091"/>
              <a:gd name="connsiteX193" fmla="*/ 476500 w 768850"/>
              <a:gd name="connsiteY193" fmla="*/ 793210 h 857091"/>
              <a:gd name="connsiteX194" fmla="*/ 475347 w 768850"/>
              <a:gd name="connsiteY194" fmla="*/ 792540 h 857091"/>
              <a:gd name="connsiteX195" fmla="*/ 429508 w 768850"/>
              <a:gd name="connsiteY195" fmla="*/ 766086 h 857091"/>
              <a:gd name="connsiteX196" fmla="*/ 429508 w 768850"/>
              <a:gd name="connsiteY196" fmla="*/ 766049 h 857091"/>
              <a:gd name="connsiteX197" fmla="*/ 411500 w 768850"/>
              <a:gd name="connsiteY197" fmla="*/ 716527 h 857091"/>
              <a:gd name="connsiteX198" fmla="*/ 410942 w 768850"/>
              <a:gd name="connsiteY198" fmla="*/ 716192 h 857091"/>
              <a:gd name="connsiteX199" fmla="*/ 381549 w 768850"/>
              <a:gd name="connsiteY199" fmla="*/ 711504 h 857091"/>
              <a:gd name="connsiteX200" fmla="*/ 360824 w 768850"/>
              <a:gd name="connsiteY200" fmla="*/ 671916 h 857091"/>
              <a:gd name="connsiteX201" fmla="*/ 360266 w 768850"/>
              <a:gd name="connsiteY201" fmla="*/ 671618 h 857091"/>
              <a:gd name="connsiteX202" fmla="*/ 360229 w 768850"/>
              <a:gd name="connsiteY202" fmla="*/ 671618 h 857091"/>
              <a:gd name="connsiteX203" fmla="*/ 329124 w 768850"/>
              <a:gd name="connsiteY203" fmla="*/ 667786 h 857091"/>
              <a:gd name="connsiteX204" fmla="*/ 324436 w 768850"/>
              <a:gd name="connsiteY204" fmla="*/ 669349 h 857091"/>
              <a:gd name="connsiteX205" fmla="*/ 323506 w 768850"/>
              <a:gd name="connsiteY205" fmla="*/ 664549 h 857091"/>
              <a:gd name="connsiteX206" fmla="*/ 304679 w 768850"/>
              <a:gd name="connsiteY206" fmla="*/ 639509 h 857091"/>
              <a:gd name="connsiteX207" fmla="*/ 303414 w 768850"/>
              <a:gd name="connsiteY207" fmla="*/ 638802 h 857091"/>
              <a:gd name="connsiteX208" fmla="*/ 261630 w 768850"/>
              <a:gd name="connsiteY208" fmla="*/ 639546 h 857091"/>
              <a:gd name="connsiteX209" fmla="*/ 242395 w 768850"/>
              <a:gd name="connsiteY209" fmla="*/ 614803 h 857091"/>
              <a:gd name="connsiteX210" fmla="*/ 185356 w 768850"/>
              <a:gd name="connsiteY210" fmla="*/ 630133 h 857091"/>
              <a:gd name="connsiteX211" fmla="*/ 166529 w 768850"/>
              <a:gd name="connsiteY211" fmla="*/ 662763 h 857091"/>
              <a:gd name="connsiteX212" fmla="*/ 143126 w 768850"/>
              <a:gd name="connsiteY212" fmla="*/ 632625 h 857091"/>
              <a:gd name="connsiteX213" fmla="*/ 118570 w 768850"/>
              <a:gd name="connsiteY213" fmla="*/ 600738 h 857091"/>
              <a:gd name="connsiteX214" fmla="*/ 187852 w 768850"/>
              <a:gd name="connsiteY214" fmla="*/ 429511 h 857091"/>
              <a:gd name="connsiteX215" fmla="*/ 134496 w 768850"/>
              <a:gd name="connsiteY215" fmla="*/ 398703 h 857091"/>
              <a:gd name="connsiteX216" fmla="*/ 134534 w 768850"/>
              <a:gd name="connsiteY216" fmla="*/ 398703 h 857091"/>
              <a:gd name="connsiteX217" fmla="*/ 124376 w 768850"/>
              <a:gd name="connsiteY217" fmla="*/ 401122 h 857091"/>
              <a:gd name="connsiteX218" fmla="*/ 124190 w 768850"/>
              <a:gd name="connsiteY218" fmla="*/ 401457 h 857091"/>
              <a:gd name="connsiteX219" fmla="*/ 18929 w 768850"/>
              <a:gd name="connsiteY219" fmla="*/ 583737 h 857091"/>
              <a:gd name="connsiteX220" fmla="*/ 21385 w 768850"/>
              <a:gd name="connsiteY220" fmla="*/ 593857 h 857091"/>
              <a:gd name="connsiteX221" fmla="*/ 21720 w 768850"/>
              <a:gd name="connsiteY221" fmla="*/ 594043 h 857091"/>
              <a:gd name="connsiteX222" fmla="*/ 75075 w 768850"/>
              <a:gd name="connsiteY222" fmla="*/ 624851 h 857091"/>
              <a:gd name="connsiteX223" fmla="*/ 85195 w 768850"/>
              <a:gd name="connsiteY223" fmla="*/ 622432 h 857091"/>
              <a:gd name="connsiteX224" fmla="*/ 85382 w 768850"/>
              <a:gd name="connsiteY224" fmla="*/ 622097 h 857091"/>
              <a:gd name="connsiteX225" fmla="*/ 190642 w 768850"/>
              <a:gd name="connsiteY225" fmla="*/ 439817 h 857091"/>
              <a:gd name="connsiteX226" fmla="*/ 188187 w 768850"/>
              <a:gd name="connsiteY226" fmla="*/ 429697 h 857091"/>
              <a:gd name="connsiteX227" fmla="*/ 176652 w 768850"/>
              <a:gd name="connsiteY227" fmla="*/ 681028 h 857091"/>
              <a:gd name="connsiteX228" fmla="*/ 175908 w 768850"/>
              <a:gd name="connsiteY228" fmla="*/ 682330 h 857091"/>
              <a:gd name="connsiteX229" fmla="*/ 165007 w 768850"/>
              <a:gd name="connsiteY229" fmla="*/ 701195 h 857091"/>
              <a:gd name="connsiteX230" fmla="*/ 173081 w 768850"/>
              <a:gd name="connsiteY230" fmla="*/ 733379 h 857091"/>
              <a:gd name="connsiteX231" fmla="*/ 174346 w 768850"/>
              <a:gd name="connsiteY231" fmla="*/ 734086 h 857091"/>
              <a:gd name="connsiteX232" fmla="*/ 205934 w 768850"/>
              <a:gd name="connsiteY232" fmla="*/ 725491 h 857091"/>
              <a:gd name="connsiteX233" fmla="*/ 206679 w 768850"/>
              <a:gd name="connsiteY233" fmla="*/ 724338 h 857091"/>
              <a:gd name="connsiteX234" fmla="*/ 242100 w 768850"/>
              <a:gd name="connsiteY234" fmla="*/ 663020 h 857091"/>
              <a:gd name="connsiteX235" fmla="*/ 242063 w 768850"/>
              <a:gd name="connsiteY235" fmla="*/ 663020 h 857091"/>
              <a:gd name="connsiteX236" fmla="*/ 233803 w 768850"/>
              <a:gd name="connsiteY236" fmla="*/ 630762 h 857091"/>
              <a:gd name="connsiteX237" fmla="*/ 232836 w 768850"/>
              <a:gd name="connsiteY237" fmla="*/ 630241 h 857091"/>
              <a:gd name="connsiteX238" fmla="*/ 232873 w 768850"/>
              <a:gd name="connsiteY238" fmla="*/ 630204 h 857091"/>
              <a:gd name="connsiteX239" fmla="*/ 200837 w 768850"/>
              <a:gd name="connsiteY239" fmla="*/ 639171 h 857091"/>
              <a:gd name="connsiteX240" fmla="*/ 176652 w 768850"/>
              <a:gd name="connsiteY240" fmla="*/ 681066 h 857091"/>
              <a:gd name="connsiteX241" fmla="*/ 377011 w 768850"/>
              <a:gd name="connsiteY241" fmla="*/ 822417 h 857091"/>
              <a:gd name="connsiteX242" fmla="*/ 377569 w 768850"/>
              <a:gd name="connsiteY242" fmla="*/ 821636 h 857091"/>
              <a:gd name="connsiteX243" fmla="*/ 378350 w 768850"/>
              <a:gd name="connsiteY243" fmla="*/ 820371 h 857091"/>
              <a:gd name="connsiteX244" fmla="*/ 409827 w 768850"/>
              <a:gd name="connsiteY244" fmla="*/ 765862 h 857091"/>
              <a:gd name="connsiteX245" fmla="*/ 409827 w 768850"/>
              <a:gd name="connsiteY245" fmla="*/ 765825 h 857091"/>
              <a:gd name="connsiteX246" fmla="*/ 410088 w 768850"/>
              <a:gd name="connsiteY246" fmla="*/ 765341 h 857091"/>
              <a:gd name="connsiteX247" fmla="*/ 410385 w 768850"/>
              <a:gd name="connsiteY247" fmla="*/ 764895 h 857091"/>
              <a:gd name="connsiteX248" fmla="*/ 410683 w 768850"/>
              <a:gd name="connsiteY248" fmla="*/ 764374 h 857091"/>
              <a:gd name="connsiteX249" fmla="*/ 402572 w 768850"/>
              <a:gd name="connsiteY249" fmla="*/ 732190 h 857091"/>
              <a:gd name="connsiteX250" fmla="*/ 401493 w 768850"/>
              <a:gd name="connsiteY250" fmla="*/ 731557 h 857091"/>
              <a:gd name="connsiteX251" fmla="*/ 369681 w 768850"/>
              <a:gd name="connsiteY251" fmla="*/ 740152 h 857091"/>
              <a:gd name="connsiteX252" fmla="*/ 369458 w 768850"/>
              <a:gd name="connsiteY252" fmla="*/ 740599 h 857091"/>
              <a:gd name="connsiteX253" fmla="*/ 337126 w 768850"/>
              <a:gd name="connsiteY253" fmla="*/ 796595 h 857091"/>
              <a:gd name="connsiteX254" fmla="*/ 337126 w 768850"/>
              <a:gd name="connsiteY254" fmla="*/ 796558 h 857091"/>
              <a:gd name="connsiteX255" fmla="*/ 345869 w 768850"/>
              <a:gd name="connsiteY255" fmla="*/ 829077 h 857091"/>
              <a:gd name="connsiteX256" fmla="*/ 377048 w 768850"/>
              <a:gd name="connsiteY256" fmla="*/ 822417 h 857091"/>
              <a:gd name="connsiteX257" fmla="*/ 397028 w 768850"/>
              <a:gd name="connsiteY257" fmla="*/ 823906 h 857091"/>
              <a:gd name="connsiteX258" fmla="*/ 417716 w 768850"/>
              <a:gd name="connsiteY258" fmla="*/ 835849 h 857091"/>
              <a:gd name="connsiteX259" fmla="*/ 418088 w 768850"/>
              <a:gd name="connsiteY259" fmla="*/ 836072 h 857091"/>
              <a:gd name="connsiteX260" fmla="*/ 418051 w 768850"/>
              <a:gd name="connsiteY260" fmla="*/ 836109 h 857091"/>
              <a:gd name="connsiteX261" fmla="*/ 450644 w 768850"/>
              <a:gd name="connsiteY261" fmla="*/ 826994 h 857091"/>
              <a:gd name="connsiteX262" fmla="*/ 450905 w 768850"/>
              <a:gd name="connsiteY262" fmla="*/ 826622 h 857091"/>
              <a:gd name="connsiteX263" fmla="*/ 450867 w 768850"/>
              <a:gd name="connsiteY263" fmla="*/ 826622 h 857091"/>
              <a:gd name="connsiteX264" fmla="*/ 442570 w 768850"/>
              <a:gd name="connsiteY264" fmla="*/ 794512 h 857091"/>
              <a:gd name="connsiteX265" fmla="*/ 421102 w 768850"/>
              <a:gd name="connsiteY265" fmla="*/ 782122 h 857091"/>
              <a:gd name="connsiteX266" fmla="*/ 396992 w 768850"/>
              <a:gd name="connsiteY266" fmla="*/ 823905 h 857091"/>
              <a:gd name="connsiteX267" fmla="*/ 222083 w 768850"/>
              <a:gd name="connsiteY267" fmla="*/ 733492 h 857091"/>
              <a:gd name="connsiteX268" fmla="*/ 221822 w 768850"/>
              <a:gd name="connsiteY268" fmla="*/ 734013 h 857091"/>
              <a:gd name="connsiteX269" fmla="*/ 221190 w 768850"/>
              <a:gd name="connsiteY269" fmla="*/ 735055 h 857091"/>
              <a:gd name="connsiteX270" fmla="*/ 217171 w 768850"/>
              <a:gd name="connsiteY270" fmla="*/ 741976 h 857091"/>
              <a:gd name="connsiteX271" fmla="*/ 216911 w 768850"/>
              <a:gd name="connsiteY271" fmla="*/ 742497 h 857091"/>
              <a:gd name="connsiteX272" fmla="*/ 225580 w 768850"/>
              <a:gd name="connsiteY272" fmla="*/ 774979 h 857091"/>
              <a:gd name="connsiteX273" fmla="*/ 257801 w 768850"/>
              <a:gd name="connsiteY273" fmla="*/ 766719 h 857091"/>
              <a:gd name="connsiteX274" fmla="*/ 258508 w 768850"/>
              <a:gd name="connsiteY274" fmla="*/ 765528 h 857091"/>
              <a:gd name="connsiteX275" fmla="*/ 303455 w 768850"/>
              <a:gd name="connsiteY275" fmla="*/ 687765 h 857091"/>
              <a:gd name="connsiteX276" fmla="*/ 303715 w 768850"/>
              <a:gd name="connsiteY276" fmla="*/ 687244 h 857091"/>
              <a:gd name="connsiteX277" fmla="*/ 295493 w 768850"/>
              <a:gd name="connsiteY277" fmla="*/ 655023 h 857091"/>
              <a:gd name="connsiteX278" fmla="*/ 294525 w 768850"/>
              <a:gd name="connsiteY278" fmla="*/ 654502 h 857091"/>
              <a:gd name="connsiteX279" fmla="*/ 262490 w 768850"/>
              <a:gd name="connsiteY279" fmla="*/ 663432 h 857091"/>
              <a:gd name="connsiteX280" fmla="*/ 222046 w 768850"/>
              <a:gd name="connsiteY280" fmla="*/ 733493 h 857091"/>
              <a:gd name="connsiteX281" fmla="*/ 319638 w 768850"/>
              <a:gd name="connsiteY281" fmla="*/ 695615 h 857091"/>
              <a:gd name="connsiteX282" fmla="*/ 318856 w 768850"/>
              <a:gd name="connsiteY282" fmla="*/ 696955 h 857091"/>
              <a:gd name="connsiteX283" fmla="*/ 274097 w 768850"/>
              <a:gd name="connsiteY283" fmla="*/ 774494 h 857091"/>
              <a:gd name="connsiteX284" fmla="*/ 274097 w 768850"/>
              <a:gd name="connsiteY284" fmla="*/ 775015 h 857091"/>
              <a:gd name="connsiteX285" fmla="*/ 274059 w 768850"/>
              <a:gd name="connsiteY285" fmla="*/ 775126 h 857091"/>
              <a:gd name="connsiteX286" fmla="*/ 274059 w 768850"/>
              <a:gd name="connsiteY286" fmla="*/ 775498 h 857091"/>
              <a:gd name="connsiteX287" fmla="*/ 274059 w 768850"/>
              <a:gd name="connsiteY287" fmla="*/ 775461 h 857091"/>
              <a:gd name="connsiteX288" fmla="*/ 282580 w 768850"/>
              <a:gd name="connsiteY288" fmla="*/ 807199 h 857091"/>
              <a:gd name="connsiteX289" fmla="*/ 283547 w 768850"/>
              <a:gd name="connsiteY289" fmla="*/ 807757 h 857091"/>
              <a:gd name="connsiteX290" fmla="*/ 315583 w 768850"/>
              <a:gd name="connsiteY290" fmla="*/ 798790 h 857091"/>
              <a:gd name="connsiteX291" fmla="*/ 318522 w 768850"/>
              <a:gd name="connsiteY291" fmla="*/ 795702 h 857091"/>
              <a:gd name="connsiteX292" fmla="*/ 322205 w 768850"/>
              <a:gd name="connsiteY292" fmla="*/ 787293 h 857091"/>
              <a:gd name="connsiteX293" fmla="*/ 354575 w 768850"/>
              <a:gd name="connsiteY293" fmla="*/ 731296 h 857091"/>
              <a:gd name="connsiteX294" fmla="*/ 354910 w 768850"/>
              <a:gd name="connsiteY294" fmla="*/ 730738 h 857091"/>
              <a:gd name="connsiteX295" fmla="*/ 354947 w 768850"/>
              <a:gd name="connsiteY295" fmla="*/ 730738 h 857091"/>
              <a:gd name="connsiteX296" fmla="*/ 360045 w 768850"/>
              <a:gd name="connsiteY296" fmla="*/ 723892 h 857091"/>
              <a:gd name="connsiteX297" fmla="*/ 361235 w 768850"/>
              <a:gd name="connsiteY297" fmla="*/ 719836 h 857091"/>
              <a:gd name="connsiteX298" fmla="*/ 352529 w 768850"/>
              <a:gd name="connsiteY298" fmla="*/ 687280 h 857091"/>
              <a:gd name="connsiteX299" fmla="*/ 352157 w 768850"/>
              <a:gd name="connsiteY299" fmla="*/ 687057 h 857091"/>
              <a:gd name="connsiteX300" fmla="*/ 352119 w 768850"/>
              <a:gd name="connsiteY300" fmla="*/ 687057 h 857091"/>
              <a:gd name="connsiteX301" fmla="*/ 320382 w 768850"/>
              <a:gd name="connsiteY301" fmla="*/ 695354 h 857091"/>
              <a:gd name="connsiteX302" fmla="*/ 698514 w 768850"/>
              <a:gd name="connsiteY302" fmla="*/ 315244 h 857091"/>
              <a:gd name="connsiteX303" fmla="*/ 628155 w 768850"/>
              <a:gd name="connsiteY303" fmla="*/ 253331 h 857091"/>
              <a:gd name="connsiteX304" fmla="*/ 553556 w 768850"/>
              <a:gd name="connsiteY304" fmla="*/ 253331 h 857091"/>
              <a:gd name="connsiteX305" fmla="*/ 483234 w 768850"/>
              <a:gd name="connsiteY305" fmla="*/ 315244 h 857091"/>
              <a:gd name="connsiteX306" fmla="*/ 636601 w 768850"/>
              <a:gd name="connsiteY306" fmla="*/ 113133 h 857091"/>
              <a:gd name="connsiteX307" fmla="*/ 554932 w 768850"/>
              <a:gd name="connsiteY307" fmla="*/ 105096 h 857091"/>
              <a:gd name="connsiteX308" fmla="*/ 531119 w 768850"/>
              <a:gd name="connsiteY308" fmla="*/ 183640 h 857091"/>
              <a:gd name="connsiteX309" fmla="*/ 603488 w 768850"/>
              <a:gd name="connsiteY309" fmla="*/ 222298 h 857091"/>
              <a:gd name="connsiteX310" fmla="*/ 655540 w 768850"/>
              <a:gd name="connsiteY310" fmla="*/ 158860 h 857091"/>
              <a:gd name="connsiteX311" fmla="*/ 636601 w 768850"/>
              <a:gd name="connsiteY311" fmla="*/ 113132 h 857091"/>
              <a:gd name="connsiteX312" fmla="*/ 505375 w 768850"/>
              <a:gd name="connsiteY312" fmla="*/ 238891 h 857091"/>
              <a:gd name="connsiteX313" fmla="*/ 435054 w 768850"/>
              <a:gd name="connsiteY313" fmla="*/ 176979 h 857091"/>
              <a:gd name="connsiteX314" fmla="*/ 360417 w 768850"/>
              <a:gd name="connsiteY314" fmla="*/ 176979 h 857091"/>
              <a:gd name="connsiteX315" fmla="*/ 290133 w 768850"/>
              <a:gd name="connsiteY315" fmla="*/ 238891 h 857091"/>
              <a:gd name="connsiteX316" fmla="*/ 397733 w 768850"/>
              <a:gd name="connsiteY316" fmla="*/ 17845 h 857091"/>
              <a:gd name="connsiteX317" fmla="*/ 334295 w 768850"/>
              <a:gd name="connsiteY317" fmla="*/ 69897 h 857091"/>
              <a:gd name="connsiteX318" fmla="*/ 372953 w 768850"/>
              <a:gd name="connsiteY318" fmla="*/ 142265 h 857091"/>
              <a:gd name="connsiteX319" fmla="*/ 451497 w 768850"/>
              <a:gd name="connsiteY319" fmla="*/ 118453 h 857091"/>
              <a:gd name="connsiteX320" fmla="*/ 443460 w 768850"/>
              <a:gd name="connsiteY320" fmla="*/ 36783 h 857091"/>
              <a:gd name="connsiteX321" fmla="*/ 397733 w 768850"/>
              <a:gd name="connsiteY321" fmla="*/ 17845 h 857091"/>
              <a:gd name="connsiteX322" fmla="*/ 312194 w 768850"/>
              <a:gd name="connsiteY322" fmla="*/ 315244 h 857091"/>
              <a:gd name="connsiteX323" fmla="*/ 241873 w 768850"/>
              <a:gd name="connsiteY323" fmla="*/ 253331 h 857091"/>
              <a:gd name="connsiteX324" fmla="*/ 167236 w 768850"/>
              <a:gd name="connsiteY324" fmla="*/ 253331 h 857091"/>
              <a:gd name="connsiteX325" fmla="*/ 96915 w 768850"/>
              <a:gd name="connsiteY325" fmla="*/ 315244 h 857091"/>
              <a:gd name="connsiteX326" fmla="*/ 250281 w 768850"/>
              <a:gd name="connsiteY326" fmla="*/ 113133 h 857091"/>
              <a:gd name="connsiteX327" fmla="*/ 168612 w 768850"/>
              <a:gd name="connsiteY327" fmla="*/ 105096 h 857091"/>
              <a:gd name="connsiteX328" fmla="*/ 144800 w 768850"/>
              <a:gd name="connsiteY328" fmla="*/ 183640 h 857091"/>
              <a:gd name="connsiteX329" fmla="*/ 217205 w 768850"/>
              <a:gd name="connsiteY329" fmla="*/ 222298 h 857091"/>
              <a:gd name="connsiteX330" fmla="*/ 269220 w 768850"/>
              <a:gd name="connsiteY330" fmla="*/ 158860 h 857091"/>
              <a:gd name="connsiteX331" fmla="*/ 250281 w 768850"/>
              <a:gd name="connsiteY331" fmla="*/ 113132 h 857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</a:cxnLst>
            <a:rect l="l" t="t" r="r" b="b"/>
            <a:pathLst>
              <a:path w="768850" h="857091">
                <a:moveTo>
                  <a:pt x="204559" y="76237"/>
                </a:moveTo>
                <a:cubicBezTo>
                  <a:pt x="243998" y="76275"/>
                  <a:pt x="277931" y="104106"/>
                  <a:pt x="285633" y="142801"/>
                </a:cubicBezTo>
                <a:cubicBezTo>
                  <a:pt x="293335" y="181459"/>
                  <a:pt x="272684" y="220192"/>
                  <a:pt x="236259" y="235334"/>
                </a:cubicBezTo>
                <a:lnTo>
                  <a:pt x="241877" y="235334"/>
                </a:lnTo>
                <a:cubicBezTo>
                  <a:pt x="252072" y="235334"/>
                  <a:pt x="262192" y="237083"/>
                  <a:pt x="271791" y="240543"/>
                </a:cubicBezTo>
                <a:cubicBezTo>
                  <a:pt x="275735" y="194481"/>
                  <a:pt x="314207" y="159060"/>
                  <a:pt x="360419" y="158948"/>
                </a:cubicBezTo>
                <a:lnTo>
                  <a:pt x="366037" y="158948"/>
                </a:lnTo>
                <a:cubicBezTo>
                  <a:pt x="329649" y="143806"/>
                  <a:pt x="308998" y="105110"/>
                  <a:pt x="316700" y="66452"/>
                </a:cubicBezTo>
                <a:cubicBezTo>
                  <a:pt x="324402" y="27831"/>
                  <a:pt x="358335" y="0"/>
                  <a:pt x="397737" y="0"/>
                </a:cubicBezTo>
                <a:cubicBezTo>
                  <a:pt x="437139" y="0"/>
                  <a:pt x="471035" y="27831"/>
                  <a:pt x="478774" y="66452"/>
                </a:cubicBezTo>
                <a:cubicBezTo>
                  <a:pt x="486476" y="105110"/>
                  <a:pt x="465826" y="143806"/>
                  <a:pt x="429437" y="158948"/>
                </a:cubicBezTo>
                <a:lnTo>
                  <a:pt x="435055" y="158948"/>
                </a:lnTo>
                <a:lnTo>
                  <a:pt x="435018" y="158948"/>
                </a:lnTo>
                <a:cubicBezTo>
                  <a:pt x="481230" y="159097"/>
                  <a:pt x="519701" y="194481"/>
                  <a:pt x="523645" y="240543"/>
                </a:cubicBezTo>
                <a:cubicBezTo>
                  <a:pt x="533245" y="237083"/>
                  <a:pt x="543365" y="235334"/>
                  <a:pt x="553560" y="235334"/>
                </a:cubicBezTo>
                <a:lnTo>
                  <a:pt x="559178" y="235334"/>
                </a:lnTo>
                <a:cubicBezTo>
                  <a:pt x="522790" y="220229"/>
                  <a:pt x="502139" y="181533"/>
                  <a:pt x="509841" y="142875"/>
                </a:cubicBezTo>
                <a:cubicBezTo>
                  <a:pt x="517543" y="104254"/>
                  <a:pt x="551476" y="76423"/>
                  <a:pt x="590878" y="76423"/>
                </a:cubicBezTo>
                <a:cubicBezTo>
                  <a:pt x="630280" y="76423"/>
                  <a:pt x="664213" y="104254"/>
                  <a:pt x="671915" y="142875"/>
                </a:cubicBezTo>
                <a:cubicBezTo>
                  <a:pt x="679617" y="181533"/>
                  <a:pt x="658967" y="220229"/>
                  <a:pt x="622578" y="235334"/>
                </a:cubicBezTo>
                <a:lnTo>
                  <a:pt x="628196" y="235334"/>
                </a:lnTo>
                <a:lnTo>
                  <a:pt x="628159" y="235334"/>
                </a:lnTo>
                <a:cubicBezTo>
                  <a:pt x="677235" y="235483"/>
                  <a:pt x="716972" y="275220"/>
                  <a:pt x="717121" y="324296"/>
                </a:cubicBezTo>
                <a:cubicBezTo>
                  <a:pt x="717121" y="326677"/>
                  <a:pt x="716153" y="328984"/>
                  <a:pt x="714479" y="330658"/>
                </a:cubicBezTo>
                <a:cubicBezTo>
                  <a:pt x="712768" y="332370"/>
                  <a:pt x="710498" y="333300"/>
                  <a:pt x="708117" y="333300"/>
                </a:cubicBezTo>
                <a:lnTo>
                  <a:pt x="473640" y="333300"/>
                </a:lnTo>
                <a:cubicBezTo>
                  <a:pt x="468654" y="333300"/>
                  <a:pt x="464636" y="329282"/>
                  <a:pt x="464636" y="324296"/>
                </a:cubicBezTo>
                <a:cubicBezTo>
                  <a:pt x="464636" y="300706"/>
                  <a:pt x="474012" y="278084"/>
                  <a:pt x="490755" y="261416"/>
                </a:cubicBezTo>
                <a:cubicBezTo>
                  <a:pt x="492318" y="259853"/>
                  <a:pt x="493992" y="258328"/>
                  <a:pt x="495667" y="256839"/>
                </a:cubicBezTo>
                <a:lnTo>
                  <a:pt x="299775" y="256876"/>
                </a:lnTo>
                <a:cubicBezTo>
                  <a:pt x="301487" y="258327"/>
                  <a:pt x="303124" y="259853"/>
                  <a:pt x="304687" y="261453"/>
                </a:cubicBezTo>
                <a:lnTo>
                  <a:pt x="304687" y="261416"/>
                </a:lnTo>
                <a:cubicBezTo>
                  <a:pt x="321430" y="278084"/>
                  <a:pt x="330806" y="300706"/>
                  <a:pt x="330806" y="324296"/>
                </a:cubicBezTo>
                <a:cubicBezTo>
                  <a:pt x="330806" y="329282"/>
                  <a:pt x="326788" y="333300"/>
                  <a:pt x="321802" y="333300"/>
                </a:cubicBezTo>
                <a:lnTo>
                  <a:pt x="87325" y="333300"/>
                </a:lnTo>
                <a:cubicBezTo>
                  <a:pt x="82377" y="333300"/>
                  <a:pt x="78321" y="329282"/>
                  <a:pt x="78321" y="324296"/>
                </a:cubicBezTo>
                <a:cubicBezTo>
                  <a:pt x="78470" y="275220"/>
                  <a:pt x="118207" y="235483"/>
                  <a:pt x="167246" y="235334"/>
                </a:cubicBezTo>
                <a:lnTo>
                  <a:pt x="172864" y="235334"/>
                </a:lnTo>
                <a:cubicBezTo>
                  <a:pt x="136438" y="220229"/>
                  <a:pt x="115751" y="181459"/>
                  <a:pt x="123453" y="142801"/>
                </a:cubicBezTo>
                <a:cubicBezTo>
                  <a:pt x="131155" y="104106"/>
                  <a:pt x="165088" y="76237"/>
                  <a:pt x="204564" y="76237"/>
                </a:cubicBezTo>
                <a:close/>
                <a:moveTo>
                  <a:pt x="634336" y="398706"/>
                </a:moveTo>
                <a:lnTo>
                  <a:pt x="580981" y="429514"/>
                </a:lnTo>
                <a:lnTo>
                  <a:pt x="580646" y="429700"/>
                </a:lnTo>
                <a:lnTo>
                  <a:pt x="580683" y="429700"/>
                </a:lnTo>
                <a:cubicBezTo>
                  <a:pt x="577335" y="431932"/>
                  <a:pt x="576293" y="436323"/>
                  <a:pt x="578228" y="439820"/>
                </a:cubicBezTo>
                <a:lnTo>
                  <a:pt x="673181" y="604279"/>
                </a:lnTo>
                <a:cubicBezTo>
                  <a:pt x="673367" y="604539"/>
                  <a:pt x="673515" y="604837"/>
                  <a:pt x="673664" y="605097"/>
                </a:cubicBezTo>
                <a:lnTo>
                  <a:pt x="683487" y="622101"/>
                </a:lnTo>
                <a:lnTo>
                  <a:pt x="683673" y="622436"/>
                </a:lnTo>
                <a:lnTo>
                  <a:pt x="683635" y="622436"/>
                </a:lnTo>
                <a:cubicBezTo>
                  <a:pt x="685868" y="625785"/>
                  <a:pt x="690258" y="626827"/>
                  <a:pt x="693756" y="624892"/>
                </a:cubicBezTo>
                <a:lnTo>
                  <a:pt x="747111" y="594084"/>
                </a:lnTo>
                <a:lnTo>
                  <a:pt x="747446" y="593898"/>
                </a:lnTo>
                <a:cubicBezTo>
                  <a:pt x="750794" y="591666"/>
                  <a:pt x="751836" y="587275"/>
                  <a:pt x="749901" y="583778"/>
                </a:cubicBezTo>
                <a:lnTo>
                  <a:pt x="644641" y="401460"/>
                </a:lnTo>
                <a:lnTo>
                  <a:pt x="644455" y="401125"/>
                </a:lnTo>
                <a:cubicBezTo>
                  <a:pt x="642259" y="397814"/>
                  <a:pt x="637832" y="396735"/>
                  <a:pt x="634334" y="398669"/>
                </a:cubicBezTo>
                <a:close/>
                <a:moveTo>
                  <a:pt x="571940" y="413961"/>
                </a:moveTo>
                <a:lnTo>
                  <a:pt x="625295" y="383154"/>
                </a:lnTo>
                <a:lnTo>
                  <a:pt x="625295" y="383117"/>
                </a:lnTo>
                <a:cubicBezTo>
                  <a:pt x="637276" y="376196"/>
                  <a:pt x="652531" y="380066"/>
                  <a:pt x="659749" y="391823"/>
                </a:cubicBezTo>
                <a:cubicBezTo>
                  <a:pt x="659898" y="392009"/>
                  <a:pt x="660009" y="392195"/>
                  <a:pt x="660121" y="392418"/>
                </a:cubicBezTo>
                <a:lnTo>
                  <a:pt x="765420" y="574736"/>
                </a:lnTo>
                <a:cubicBezTo>
                  <a:pt x="772340" y="586680"/>
                  <a:pt x="768471" y="601972"/>
                  <a:pt x="756676" y="609190"/>
                </a:cubicBezTo>
                <a:cubicBezTo>
                  <a:pt x="756490" y="609339"/>
                  <a:pt x="756304" y="609451"/>
                  <a:pt x="756081" y="609562"/>
                </a:cubicBezTo>
                <a:lnTo>
                  <a:pt x="702726" y="640370"/>
                </a:lnTo>
                <a:lnTo>
                  <a:pt x="702763" y="640407"/>
                </a:lnTo>
                <a:cubicBezTo>
                  <a:pt x="690820" y="647328"/>
                  <a:pt x="675490" y="643458"/>
                  <a:pt x="668272" y="631701"/>
                </a:cubicBezTo>
                <a:cubicBezTo>
                  <a:pt x="668123" y="631515"/>
                  <a:pt x="668012" y="631291"/>
                  <a:pt x="667900" y="631105"/>
                </a:cubicBezTo>
                <a:lnTo>
                  <a:pt x="664588" y="625376"/>
                </a:lnTo>
                <a:cubicBezTo>
                  <a:pt x="663547" y="626827"/>
                  <a:pt x="662505" y="628315"/>
                  <a:pt x="661463" y="629766"/>
                </a:cubicBezTo>
                <a:cubicBezTo>
                  <a:pt x="654543" y="640407"/>
                  <a:pt x="646320" y="650155"/>
                  <a:pt x="636981" y="658751"/>
                </a:cubicBezTo>
                <a:cubicBezTo>
                  <a:pt x="649408" y="672294"/>
                  <a:pt x="651604" y="692348"/>
                  <a:pt x="642450" y="708273"/>
                </a:cubicBezTo>
                <a:cubicBezTo>
                  <a:pt x="642339" y="708459"/>
                  <a:pt x="642227" y="708645"/>
                  <a:pt x="642116" y="708831"/>
                </a:cubicBezTo>
                <a:cubicBezTo>
                  <a:pt x="630321" y="728513"/>
                  <a:pt x="604871" y="735136"/>
                  <a:pt x="584966" y="723677"/>
                </a:cubicBezTo>
                <a:lnTo>
                  <a:pt x="584147" y="723230"/>
                </a:lnTo>
                <a:lnTo>
                  <a:pt x="584184" y="723230"/>
                </a:lnTo>
                <a:cubicBezTo>
                  <a:pt x="584966" y="731825"/>
                  <a:pt x="583031" y="740494"/>
                  <a:pt x="578715" y="747973"/>
                </a:cubicBezTo>
                <a:cubicBezTo>
                  <a:pt x="568854" y="764977"/>
                  <a:pt x="548577" y="772939"/>
                  <a:pt x="529788" y="767135"/>
                </a:cubicBezTo>
                <a:cubicBezTo>
                  <a:pt x="530904" y="776176"/>
                  <a:pt x="529006" y="785291"/>
                  <a:pt x="524467" y="793180"/>
                </a:cubicBezTo>
                <a:cubicBezTo>
                  <a:pt x="524356" y="793366"/>
                  <a:pt x="524244" y="793552"/>
                  <a:pt x="524132" y="793738"/>
                </a:cubicBezTo>
                <a:lnTo>
                  <a:pt x="524132" y="793701"/>
                </a:lnTo>
                <a:cubicBezTo>
                  <a:pt x="513380" y="811709"/>
                  <a:pt x="491018" y="819039"/>
                  <a:pt x="471670" y="810928"/>
                </a:cubicBezTo>
                <a:cubicBezTo>
                  <a:pt x="472526" y="819448"/>
                  <a:pt x="470740" y="828006"/>
                  <a:pt x="466573" y="835484"/>
                </a:cubicBezTo>
                <a:cubicBezTo>
                  <a:pt x="466461" y="835670"/>
                  <a:pt x="466387" y="835893"/>
                  <a:pt x="466275" y="836079"/>
                </a:cubicBezTo>
                <a:cubicBezTo>
                  <a:pt x="454742" y="855948"/>
                  <a:pt x="429403" y="862943"/>
                  <a:pt x="409311" y="851780"/>
                </a:cubicBezTo>
                <a:cubicBezTo>
                  <a:pt x="409125" y="851669"/>
                  <a:pt x="408939" y="851594"/>
                  <a:pt x="408753" y="851483"/>
                </a:cubicBezTo>
                <a:lnTo>
                  <a:pt x="386652" y="838721"/>
                </a:lnTo>
                <a:lnTo>
                  <a:pt x="386615" y="838684"/>
                </a:lnTo>
                <a:cubicBezTo>
                  <a:pt x="373444" y="851223"/>
                  <a:pt x="353687" y="853827"/>
                  <a:pt x="337762" y="845121"/>
                </a:cubicBezTo>
                <a:cubicBezTo>
                  <a:pt x="337241" y="844898"/>
                  <a:pt x="336758" y="844637"/>
                  <a:pt x="336274" y="844302"/>
                </a:cubicBezTo>
                <a:cubicBezTo>
                  <a:pt x="327679" y="839168"/>
                  <a:pt x="321243" y="831057"/>
                  <a:pt x="318117" y="821532"/>
                </a:cubicBezTo>
                <a:cubicBezTo>
                  <a:pt x="305058" y="830536"/>
                  <a:pt x="288016" y="831392"/>
                  <a:pt x="274101" y="823727"/>
                </a:cubicBezTo>
                <a:cubicBezTo>
                  <a:pt x="273655" y="823541"/>
                  <a:pt x="273246" y="823281"/>
                  <a:pt x="272836" y="823020"/>
                </a:cubicBezTo>
                <a:cubicBezTo>
                  <a:pt x="263535" y="817439"/>
                  <a:pt x="256800" y="808473"/>
                  <a:pt x="253972" y="798017"/>
                </a:cubicBezTo>
                <a:cubicBezTo>
                  <a:pt x="253563" y="796454"/>
                  <a:pt x="253265" y="794854"/>
                  <a:pt x="253042" y="793254"/>
                </a:cubicBezTo>
                <a:cubicBezTo>
                  <a:pt x="251516" y="793850"/>
                  <a:pt x="249954" y="794371"/>
                  <a:pt x="248354" y="794817"/>
                </a:cubicBezTo>
                <a:cubicBezTo>
                  <a:pt x="237898" y="797608"/>
                  <a:pt x="226774" y="796231"/>
                  <a:pt x="217323" y="790985"/>
                </a:cubicBezTo>
                <a:cubicBezTo>
                  <a:pt x="216877" y="790799"/>
                  <a:pt x="216468" y="790538"/>
                  <a:pt x="216058" y="790278"/>
                </a:cubicBezTo>
                <a:cubicBezTo>
                  <a:pt x="203259" y="782539"/>
                  <a:pt x="195558" y="768624"/>
                  <a:pt x="195818" y="753704"/>
                </a:cubicBezTo>
                <a:cubicBezTo>
                  <a:pt x="185325" y="756345"/>
                  <a:pt x="174201" y="754783"/>
                  <a:pt x="164824" y="749388"/>
                </a:cubicBezTo>
                <a:lnTo>
                  <a:pt x="164787" y="749388"/>
                </a:lnTo>
                <a:cubicBezTo>
                  <a:pt x="155188" y="743844"/>
                  <a:pt x="148155" y="734728"/>
                  <a:pt x="145290" y="724012"/>
                </a:cubicBezTo>
                <a:cubicBezTo>
                  <a:pt x="142388" y="713297"/>
                  <a:pt x="143914" y="701874"/>
                  <a:pt x="149458" y="692275"/>
                </a:cubicBezTo>
                <a:lnTo>
                  <a:pt x="157122" y="678955"/>
                </a:lnTo>
                <a:cubicBezTo>
                  <a:pt x="146295" y="667942"/>
                  <a:pt x="136622" y="655849"/>
                  <a:pt x="128250" y="642864"/>
                </a:cubicBezTo>
                <a:cubicBezTo>
                  <a:pt x="122334" y="633934"/>
                  <a:pt x="115934" y="625340"/>
                  <a:pt x="109014" y="617154"/>
                </a:cubicBezTo>
                <a:lnTo>
                  <a:pt x="100940" y="631106"/>
                </a:lnTo>
                <a:lnTo>
                  <a:pt x="100978" y="631106"/>
                </a:lnTo>
                <a:cubicBezTo>
                  <a:pt x="100866" y="631292"/>
                  <a:pt x="100717" y="631516"/>
                  <a:pt x="100605" y="631702"/>
                </a:cubicBezTo>
                <a:cubicBezTo>
                  <a:pt x="93350" y="643459"/>
                  <a:pt x="78095" y="647328"/>
                  <a:pt x="66114" y="640445"/>
                </a:cubicBezTo>
                <a:lnTo>
                  <a:pt x="12759" y="609638"/>
                </a:lnTo>
                <a:cubicBezTo>
                  <a:pt x="12573" y="609526"/>
                  <a:pt x="12350" y="609377"/>
                  <a:pt x="12164" y="609266"/>
                </a:cubicBezTo>
                <a:lnTo>
                  <a:pt x="12201" y="609228"/>
                </a:lnTo>
                <a:cubicBezTo>
                  <a:pt x="406" y="602010"/>
                  <a:pt x="-3500" y="586755"/>
                  <a:pt x="3420" y="574774"/>
                </a:cubicBezTo>
                <a:lnTo>
                  <a:pt x="108605" y="392456"/>
                </a:lnTo>
                <a:cubicBezTo>
                  <a:pt x="108716" y="392233"/>
                  <a:pt x="108865" y="392047"/>
                  <a:pt x="108977" y="391861"/>
                </a:cubicBezTo>
                <a:lnTo>
                  <a:pt x="109014" y="391861"/>
                </a:lnTo>
                <a:cubicBezTo>
                  <a:pt x="116232" y="380103"/>
                  <a:pt x="131487" y="376234"/>
                  <a:pt x="143468" y="383117"/>
                </a:cubicBezTo>
                <a:lnTo>
                  <a:pt x="196823" y="413925"/>
                </a:lnTo>
                <a:cubicBezTo>
                  <a:pt x="197046" y="414037"/>
                  <a:pt x="197232" y="414186"/>
                  <a:pt x="197418" y="414297"/>
                </a:cubicBezTo>
                <a:lnTo>
                  <a:pt x="197381" y="414334"/>
                </a:lnTo>
                <a:cubicBezTo>
                  <a:pt x="209176" y="421553"/>
                  <a:pt x="213045" y="436845"/>
                  <a:pt x="206125" y="448788"/>
                </a:cubicBezTo>
                <a:lnTo>
                  <a:pt x="200544" y="458425"/>
                </a:lnTo>
                <a:cubicBezTo>
                  <a:pt x="221305" y="466722"/>
                  <a:pt x="242811" y="472898"/>
                  <a:pt x="264800" y="476842"/>
                </a:cubicBezTo>
                <a:cubicBezTo>
                  <a:pt x="284223" y="480451"/>
                  <a:pt x="303347" y="485660"/>
                  <a:pt x="321950" y="492320"/>
                </a:cubicBezTo>
                <a:lnTo>
                  <a:pt x="337614" y="474908"/>
                </a:lnTo>
                <a:lnTo>
                  <a:pt x="337614" y="474945"/>
                </a:lnTo>
                <a:cubicBezTo>
                  <a:pt x="338731" y="473680"/>
                  <a:pt x="340182" y="472787"/>
                  <a:pt x="341819" y="472303"/>
                </a:cubicBezTo>
                <a:lnTo>
                  <a:pt x="434799" y="445254"/>
                </a:lnTo>
                <a:lnTo>
                  <a:pt x="434762" y="445291"/>
                </a:lnTo>
                <a:cubicBezTo>
                  <a:pt x="435580" y="444994"/>
                  <a:pt x="436399" y="444845"/>
                  <a:pt x="437255" y="444770"/>
                </a:cubicBezTo>
                <a:cubicBezTo>
                  <a:pt x="452212" y="443878"/>
                  <a:pt x="467206" y="446073"/>
                  <a:pt x="481271" y="451319"/>
                </a:cubicBezTo>
                <a:cubicBezTo>
                  <a:pt x="494516" y="456379"/>
                  <a:pt x="506832" y="463672"/>
                  <a:pt x="517585" y="472899"/>
                </a:cubicBezTo>
                <a:cubicBezTo>
                  <a:pt x="526849" y="473568"/>
                  <a:pt x="536114" y="472266"/>
                  <a:pt x="544820" y="469104"/>
                </a:cubicBezTo>
                <a:cubicBezTo>
                  <a:pt x="552857" y="466090"/>
                  <a:pt x="560410" y="461960"/>
                  <a:pt x="567219" y="456788"/>
                </a:cubicBezTo>
                <a:lnTo>
                  <a:pt x="562606" y="448788"/>
                </a:lnTo>
                <a:lnTo>
                  <a:pt x="562569" y="448788"/>
                </a:lnTo>
                <a:cubicBezTo>
                  <a:pt x="555685" y="436845"/>
                  <a:pt x="559555" y="421553"/>
                  <a:pt x="571312" y="414334"/>
                </a:cubicBezTo>
                <a:cubicBezTo>
                  <a:pt x="571498" y="414223"/>
                  <a:pt x="571684" y="414074"/>
                  <a:pt x="571907" y="413962"/>
                </a:cubicBezTo>
                <a:close/>
                <a:moveTo>
                  <a:pt x="654726" y="608367"/>
                </a:moveTo>
                <a:cubicBezTo>
                  <a:pt x="651935" y="612013"/>
                  <a:pt x="649330" y="615696"/>
                  <a:pt x="646689" y="619418"/>
                </a:cubicBezTo>
                <a:lnTo>
                  <a:pt x="646726" y="619380"/>
                </a:lnTo>
                <a:cubicBezTo>
                  <a:pt x="639917" y="630022"/>
                  <a:pt x="631583" y="639621"/>
                  <a:pt x="621946" y="647807"/>
                </a:cubicBezTo>
                <a:lnTo>
                  <a:pt x="530156" y="594824"/>
                </a:lnTo>
                <a:cubicBezTo>
                  <a:pt x="548388" y="594340"/>
                  <a:pt x="566322" y="589876"/>
                  <a:pt x="582692" y="581801"/>
                </a:cubicBezTo>
                <a:cubicBezTo>
                  <a:pt x="586971" y="579532"/>
                  <a:pt x="588683" y="574323"/>
                  <a:pt x="586599" y="569969"/>
                </a:cubicBezTo>
                <a:cubicBezTo>
                  <a:pt x="584516" y="565616"/>
                  <a:pt x="579381" y="563681"/>
                  <a:pt x="574953" y="565579"/>
                </a:cubicBezTo>
                <a:cubicBezTo>
                  <a:pt x="553484" y="576480"/>
                  <a:pt x="528854" y="579531"/>
                  <a:pt x="505376" y="574174"/>
                </a:cubicBezTo>
                <a:cubicBezTo>
                  <a:pt x="476354" y="565988"/>
                  <a:pt x="450123" y="550064"/>
                  <a:pt x="429511" y="528075"/>
                </a:cubicBezTo>
                <a:cubicBezTo>
                  <a:pt x="427874" y="526438"/>
                  <a:pt x="425679" y="525545"/>
                  <a:pt x="423372" y="525507"/>
                </a:cubicBezTo>
                <a:lnTo>
                  <a:pt x="379765" y="524763"/>
                </a:lnTo>
                <a:cubicBezTo>
                  <a:pt x="377124" y="524577"/>
                  <a:pt x="374556" y="525582"/>
                  <a:pt x="372733" y="527479"/>
                </a:cubicBezTo>
                <a:cubicBezTo>
                  <a:pt x="361013" y="540502"/>
                  <a:pt x="346725" y="550920"/>
                  <a:pt x="330764" y="558139"/>
                </a:cubicBezTo>
                <a:cubicBezTo>
                  <a:pt x="317816" y="563906"/>
                  <a:pt x="302710" y="561859"/>
                  <a:pt x="291771" y="552818"/>
                </a:cubicBezTo>
                <a:lnTo>
                  <a:pt x="349330" y="488860"/>
                </a:lnTo>
                <a:lnTo>
                  <a:pt x="439260" y="462740"/>
                </a:lnTo>
                <a:cubicBezTo>
                  <a:pt x="451426" y="462070"/>
                  <a:pt x="463593" y="463931"/>
                  <a:pt x="475053" y="468172"/>
                </a:cubicBezTo>
                <a:cubicBezTo>
                  <a:pt x="487033" y="472786"/>
                  <a:pt x="498121" y="479520"/>
                  <a:pt x="507721" y="488078"/>
                </a:cubicBezTo>
                <a:cubicBezTo>
                  <a:pt x="509172" y="489454"/>
                  <a:pt x="511032" y="490347"/>
                  <a:pt x="513004" y="490570"/>
                </a:cubicBezTo>
                <a:cubicBezTo>
                  <a:pt x="525841" y="492021"/>
                  <a:pt x="538825" y="490459"/>
                  <a:pt x="550918" y="486031"/>
                </a:cubicBezTo>
                <a:cubicBezTo>
                  <a:pt x="559960" y="482683"/>
                  <a:pt x="568480" y="478106"/>
                  <a:pt x="576294" y="472450"/>
                </a:cubicBezTo>
                <a:close/>
                <a:moveTo>
                  <a:pt x="191572" y="474159"/>
                </a:moveTo>
                <a:cubicBezTo>
                  <a:pt x="213971" y="483387"/>
                  <a:pt x="237263" y="490233"/>
                  <a:pt x="261113" y="494474"/>
                </a:cubicBezTo>
                <a:cubicBezTo>
                  <a:pt x="277297" y="497600"/>
                  <a:pt x="293297" y="501693"/>
                  <a:pt x="308998" y="506753"/>
                </a:cubicBezTo>
                <a:lnTo>
                  <a:pt x="272535" y="547271"/>
                </a:lnTo>
                <a:cubicBezTo>
                  <a:pt x="269372" y="550806"/>
                  <a:pt x="269484" y="556164"/>
                  <a:pt x="272758" y="559550"/>
                </a:cubicBezTo>
                <a:cubicBezTo>
                  <a:pt x="288273" y="578637"/>
                  <a:pt x="314653" y="584963"/>
                  <a:pt x="337163" y="574991"/>
                </a:cubicBezTo>
                <a:cubicBezTo>
                  <a:pt x="354427" y="567438"/>
                  <a:pt x="370017" y="556462"/>
                  <a:pt x="382928" y="542733"/>
                </a:cubicBezTo>
                <a:lnTo>
                  <a:pt x="419540" y="543365"/>
                </a:lnTo>
                <a:cubicBezTo>
                  <a:pt x="433493" y="556983"/>
                  <a:pt x="449194" y="568666"/>
                  <a:pt x="466235" y="578116"/>
                </a:cubicBezTo>
                <a:cubicBezTo>
                  <a:pt x="466830" y="578786"/>
                  <a:pt x="467574" y="579381"/>
                  <a:pt x="468393" y="579865"/>
                </a:cubicBezTo>
                <a:lnTo>
                  <a:pt x="617926" y="666185"/>
                </a:lnTo>
                <a:lnTo>
                  <a:pt x="618186" y="666334"/>
                </a:lnTo>
                <a:cubicBezTo>
                  <a:pt x="629571" y="673069"/>
                  <a:pt x="633441" y="687728"/>
                  <a:pt x="626893" y="699225"/>
                </a:cubicBezTo>
                <a:lnTo>
                  <a:pt x="626669" y="699671"/>
                </a:lnTo>
                <a:lnTo>
                  <a:pt x="626669" y="699634"/>
                </a:lnTo>
                <a:cubicBezTo>
                  <a:pt x="619786" y="710834"/>
                  <a:pt x="605312" y="714554"/>
                  <a:pt x="593890" y="708080"/>
                </a:cubicBezTo>
                <a:lnTo>
                  <a:pt x="506490" y="657590"/>
                </a:lnTo>
                <a:cubicBezTo>
                  <a:pt x="502212" y="655097"/>
                  <a:pt x="496705" y="656585"/>
                  <a:pt x="494249" y="660902"/>
                </a:cubicBezTo>
                <a:cubicBezTo>
                  <a:pt x="491793" y="665180"/>
                  <a:pt x="493282" y="670687"/>
                  <a:pt x="497560" y="673143"/>
                </a:cubicBezTo>
                <a:lnTo>
                  <a:pt x="554264" y="705885"/>
                </a:lnTo>
                <a:lnTo>
                  <a:pt x="554301" y="705885"/>
                </a:lnTo>
                <a:cubicBezTo>
                  <a:pt x="565760" y="712620"/>
                  <a:pt x="569668" y="727317"/>
                  <a:pt x="563082" y="738850"/>
                </a:cubicBezTo>
                <a:cubicBezTo>
                  <a:pt x="556459" y="750161"/>
                  <a:pt x="542060" y="754143"/>
                  <a:pt x="530525" y="747892"/>
                </a:cubicBezTo>
                <a:lnTo>
                  <a:pt x="530153" y="747668"/>
                </a:lnTo>
                <a:lnTo>
                  <a:pt x="465599" y="710387"/>
                </a:lnTo>
                <a:lnTo>
                  <a:pt x="465562" y="710387"/>
                </a:lnTo>
                <a:cubicBezTo>
                  <a:pt x="461283" y="707894"/>
                  <a:pt x="455777" y="709345"/>
                  <a:pt x="453284" y="713661"/>
                </a:cubicBezTo>
                <a:cubicBezTo>
                  <a:pt x="450791" y="717940"/>
                  <a:pt x="452242" y="723446"/>
                  <a:pt x="456558" y="725940"/>
                </a:cubicBezTo>
                <a:lnTo>
                  <a:pt x="500016" y="751017"/>
                </a:lnTo>
                <a:cubicBezTo>
                  <a:pt x="511326" y="757640"/>
                  <a:pt x="515345" y="772001"/>
                  <a:pt x="509094" y="783536"/>
                </a:cubicBezTo>
                <a:cubicBezTo>
                  <a:pt x="508871" y="783871"/>
                  <a:pt x="508685" y="784243"/>
                  <a:pt x="508499" y="784615"/>
                </a:cubicBezTo>
                <a:cubicBezTo>
                  <a:pt x="501727" y="795442"/>
                  <a:pt x="487737" y="799163"/>
                  <a:pt x="476500" y="793210"/>
                </a:cubicBezTo>
                <a:cubicBezTo>
                  <a:pt x="476128" y="792950"/>
                  <a:pt x="475719" y="792726"/>
                  <a:pt x="475347" y="792540"/>
                </a:cubicBezTo>
                <a:lnTo>
                  <a:pt x="429508" y="766086"/>
                </a:lnTo>
                <a:lnTo>
                  <a:pt x="429508" y="766049"/>
                </a:lnTo>
                <a:cubicBezTo>
                  <a:pt x="435982" y="747372"/>
                  <a:pt x="428466" y="726722"/>
                  <a:pt x="411500" y="716527"/>
                </a:cubicBezTo>
                <a:lnTo>
                  <a:pt x="410942" y="716192"/>
                </a:lnTo>
                <a:cubicBezTo>
                  <a:pt x="402049" y="711058"/>
                  <a:pt x="391595" y="709383"/>
                  <a:pt x="381549" y="711504"/>
                </a:cubicBezTo>
                <a:cubicBezTo>
                  <a:pt x="382814" y="695430"/>
                  <a:pt x="374777" y="680027"/>
                  <a:pt x="360824" y="671916"/>
                </a:cubicBezTo>
                <a:cubicBezTo>
                  <a:pt x="360638" y="671805"/>
                  <a:pt x="360452" y="671693"/>
                  <a:pt x="360266" y="671618"/>
                </a:cubicBezTo>
                <a:lnTo>
                  <a:pt x="360229" y="671618"/>
                </a:lnTo>
                <a:cubicBezTo>
                  <a:pt x="350741" y="666335"/>
                  <a:pt x="339579" y="664958"/>
                  <a:pt x="329124" y="667786"/>
                </a:cubicBezTo>
                <a:cubicBezTo>
                  <a:pt x="327524" y="668233"/>
                  <a:pt x="325961" y="668754"/>
                  <a:pt x="324436" y="669349"/>
                </a:cubicBezTo>
                <a:cubicBezTo>
                  <a:pt x="324213" y="667712"/>
                  <a:pt x="323915" y="666112"/>
                  <a:pt x="323506" y="664549"/>
                </a:cubicBezTo>
                <a:cubicBezTo>
                  <a:pt x="320715" y="654056"/>
                  <a:pt x="313944" y="645090"/>
                  <a:pt x="304679" y="639509"/>
                </a:cubicBezTo>
                <a:cubicBezTo>
                  <a:pt x="304269" y="639248"/>
                  <a:pt x="303860" y="638988"/>
                  <a:pt x="303414" y="638802"/>
                </a:cubicBezTo>
                <a:cubicBezTo>
                  <a:pt x="290354" y="631584"/>
                  <a:pt x="274429" y="631881"/>
                  <a:pt x="261630" y="639546"/>
                </a:cubicBezTo>
                <a:cubicBezTo>
                  <a:pt x="258691" y="629128"/>
                  <a:pt x="251808" y="620236"/>
                  <a:pt x="242395" y="614803"/>
                </a:cubicBezTo>
                <a:cubicBezTo>
                  <a:pt x="222414" y="603306"/>
                  <a:pt x="196891" y="610189"/>
                  <a:pt x="185356" y="630133"/>
                </a:cubicBezTo>
                <a:lnTo>
                  <a:pt x="166529" y="662763"/>
                </a:lnTo>
                <a:cubicBezTo>
                  <a:pt x="157897" y="653387"/>
                  <a:pt x="150046" y="643304"/>
                  <a:pt x="143126" y="632625"/>
                </a:cubicBezTo>
                <a:cubicBezTo>
                  <a:pt x="135759" y="621389"/>
                  <a:pt x="127536" y="610710"/>
                  <a:pt x="118570" y="600738"/>
                </a:cubicBezTo>
                <a:close/>
                <a:moveTo>
                  <a:pt x="187852" y="429511"/>
                </a:moveTo>
                <a:lnTo>
                  <a:pt x="134496" y="398703"/>
                </a:lnTo>
                <a:lnTo>
                  <a:pt x="134534" y="398703"/>
                </a:lnTo>
                <a:cubicBezTo>
                  <a:pt x="131036" y="396731"/>
                  <a:pt x="126609" y="397810"/>
                  <a:pt x="124376" y="401122"/>
                </a:cubicBezTo>
                <a:lnTo>
                  <a:pt x="124190" y="401457"/>
                </a:lnTo>
                <a:lnTo>
                  <a:pt x="18929" y="583737"/>
                </a:lnTo>
                <a:cubicBezTo>
                  <a:pt x="16995" y="587234"/>
                  <a:pt x="18074" y="591625"/>
                  <a:pt x="21385" y="593857"/>
                </a:cubicBezTo>
                <a:lnTo>
                  <a:pt x="21720" y="594043"/>
                </a:lnTo>
                <a:lnTo>
                  <a:pt x="75075" y="624851"/>
                </a:lnTo>
                <a:cubicBezTo>
                  <a:pt x="78573" y="626823"/>
                  <a:pt x="82963" y="625744"/>
                  <a:pt x="85195" y="622432"/>
                </a:cubicBezTo>
                <a:lnTo>
                  <a:pt x="85382" y="622097"/>
                </a:lnTo>
                <a:lnTo>
                  <a:pt x="190642" y="439817"/>
                </a:lnTo>
                <a:cubicBezTo>
                  <a:pt x="192577" y="436320"/>
                  <a:pt x="191535" y="431892"/>
                  <a:pt x="188187" y="429697"/>
                </a:cubicBezTo>
                <a:close/>
                <a:moveTo>
                  <a:pt x="176652" y="681028"/>
                </a:moveTo>
                <a:cubicBezTo>
                  <a:pt x="176429" y="681475"/>
                  <a:pt x="176169" y="681921"/>
                  <a:pt x="175908" y="682330"/>
                </a:cubicBezTo>
                <a:lnTo>
                  <a:pt x="165007" y="701195"/>
                </a:lnTo>
                <a:cubicBezTo>
                  <a:pt x="158644" y="712357"/>
                  <a:pt x="162216" y="726533"/>
                  <a:pt x="173081" y="733379"/>
                </a:cubicBezTo>
                <a:cubicBezTo>
                  <a:pt x="173527" y="733565"/>
                  <a:pt x="173936" y="733788"/>
                  <a:pt x="174346" y="734086"/>
                </a:cubicBezTo>
                <a:cubicBezTo>
                  <a:pt x="185471" y="740002"/>
                  <a:pt x="199312" y="736244"/>
                  <a:pt x="205934" y="725491"/>
                </a:cubicBezTo>
                <a:cubicBezTo>
                  <a:pt x="206158" y="725082"/>
                  <a:pt x="206381" y="724710"/>
                  <a:pt x="206679" y="724338"/>
                </a:cubicBezTo>
                <a:lnTo>
                  <a:pt x="242100" y="663020"/>
                </a:lnTo>
                <a:lnTo>
                  <a:pt x="242063" y="663020"/>
                </a:lnTo>
                <a:cubicBezTo>
                  <a:pt x="248462" y="651784"/>
                  <a:pt x="244816" y="637533"/>
                  <a:pt x="233803" y="630762"/>
                </a:cubicBezTo>
                <a:cubicBezTo>
                  <a:pt x="233505" y="630613"/>
                  <a:pt x="233170" y="630427"/>
                  <a:pt x="232836" y="630241"/>
                </a:cubicBezTo>
                <a:lnTo>
                  <a:pt x="232873" y="630204"/>
                </a:lnTo>
                <a:cubicBezTo>
                  <a:pt x="221525" y="624065"/>
                  <a:pt x="207349" y="628046"/>
                  <a:pt x="200837" y="639171"/>
                </a:cubicBezTo>
                <a:lnTo>
                  <a:pt x="176652" y="681066"/>
                </a:lnTo>
                <a:close/>
                <a:moveTo>
                  <a:pt x="377011" y="822417"/>
                </a:moveTo>
                <a:cubicBezTo>
                  <a:pt x="377159" y="822157"/>
                  <a:pt x="377345" y="821896"/>
                  <a:pt x="377569" y="821636"/>
                </a:cubicBezTo>
                <a:cubicBezTo>
                  <a:pt x="377829" y="821227"/>
                  <a:pt x="378090" y="820780"/>
                  <a:pt x="378350" y="820371"/>
                </a:cubicBezTo>
                <a:lnTo>
                  <a:pt x="409827" y="765862"/>
                </a:lnTo>
                <a:lnTo>
                  <a:pt x="409827" y="765825"/>
                </a:lnTo>
                <a:cubicBezTo>
                  <a:pt x="409902" y="765676"/>
                  <a:pt x="409976" y="765490"/>
                  <a:pt x="410088" y="765341"/>
                </a:cubicBezTo>
                <a:lnTo>
                  <a:pt x="410385" y="764895"/>
                </a:lnTo>
                <a:lnTo>
                  <a:pt x="410683" y="764374"/>
                </a:lnTo>
                <a:cubicBezTo>
                  <a:pt x="417046" y="753212"/>
                  <a:pt x="413474" y="738998"/>
                  <a:pt x="402572" y="732190"/>
                </a:cubicBezTo>
                <a:cubicBezTo>
                  <a:pt x="402200" y="732004"/>
                  <a:pt x="401828" y="731818"/>
                  <a:pt x="401493" y="731557"/>
                </a:cubicBezTo>
                <a:cubicBezTo>
                  <a:pt x="390293" y="725530"/>
                  <a:pt x="376341" y="729288"/>
                  <a:pt x="369681" y="740152"/>
                </a:cubicBezTo>
                <a:lnTo>
                  <a:pt x="369458" y="740599"/>
                </a:lnTo>
                <a:lnTo>
                  <a:pt x="337126" y="796595"/>
                </a:lnTo>
                <a:lnTo>
                  <a:pt x="337126" y="796558"/>
                </a:lnTo>
                <a:cubicBezTo>
                  <a:pt x="330651" y="807980"/>
                  <a:pt x="334558" y="822455"/>
                  <a:pt x="345869" y="829077"/>
                </a:cubicBezTo>
                <a:cubicBezTo>
                  <a:pt x="356436" y="835068"/>
                  <a:pt x="369830" y="832203"/>
                  <a:pt x="377048" y="822417"/>
                </a:cubicBezTo>
                <a:close/>
                <a:moveTo>
                  <a:pt x="397028" y="823906"/>
                </a:moveTo>
                <a:lnTo>
                  <a:pt x="417716" y="835849"/>
                </a:lnTo>
                <a:lnTo>
                  <a:pt x="418088" y="836072"/>
                </a:lnTo>
                <a:lnTo>
                  <a:pt x="418051" y="836109"/>
                </a:lnTo>
                <a:cubicBezTo>
                  <a:pt x="429584" y="842360"/>
                  <a:pt x="444021" y="838342"/>
                  <a:pt x="450644" y="826994"/>
                </a:cubicBezTo>
                <a:lnTo>
                  <a:pt x="450905" y="826622"/>
                </a:lnTo>
                <a:lnTo>
                  <a:pt x="450867" y="826622"/>
                </a:lnTo>
                <a:cubicBezTo>
                  <a:pt x="456969" y="815385"/>
                  <a:pt x="453360" y="801358"/>
                  <a:pt x="442570" y="794512"/>
                </a:cubicBezTo>
                <a:lnTo>
                  <a:pt x="421102" y="782122"/>
                </a:lnTo>
                <a:lnTo>
                  <a:pt x="396992" y="823905"/>
                </a:lnTo>
                <a:close/>
                <a:moveTo>
                  <a:pt x="222083" y="733492"/>
                </a:moveTo>
                <a:cubicBezTo>
                  <a:pt x="222008" y="733678"/>
                  <a:pt x="221897" y="733827"/>
                  <a:pt x="221822" y="734013"/>
                </a:cubicBezTo>
                <a:cubicBezTo>
                  <a:pt x="221636" y="734348"/>
                  <a:pt x="221413" y="734683"/>
                  <a:pt x="221190" y="735055"/>
                </a:cubicBezTo>
                <a:lnTo>
                  <a:pt x="217171" y="741976"/>
                </a:lnTo>
                <a:cubicBezTo>
                  <a:pt x="217097" y="742162"/>
                  <a:pt x="216985" y="742310"/>
                  <a:pt x="216911" y="742497"/>
                </a:cubicBezTo>
                <a:cubicBezTo>
                  <a:pt x="210437" y="753845"/>
                  <a:pt x="214306" y="768355"/>
                  <a:pt x="225580" y="774979"/>
                </a:cubicBezTo>
                <a:cubicBezTo>
                  <a:pt x="236817" y="781341"/>
                  <a:pt x="251067" y="777695"/>
                  <a:pt x="257801" y="766719"/>
                </a:cubicBezTo>
                <a:cubicBezTo>
                  <a:pt x="258025" y="766309"/>
                  <a:pt x="258248" y="765900"/>
                  <a:pt x="258508" y="765528"/>
                </a:cubicBezTo>
                <a:lnTo>
                  <a:pt x="303455" y="687765"/>
                </a:lnTo>
                <a:cubicBezTo>
                  <a:pt x="303529" y="687579"/>
                  <a:pt x="303641" y="687430"/>
                  <a:pt x="303715" y="687244"/>
                </a:cubicBezTo>
                <a:cubicBezTo>
                  <a:pt x="310115" y="676045"/>
                  <a:pt x="306469" y="661794"/>
                  <a:pt x="295493" y="655023"/>
                </a:cubicBezTo>
                <a:cubicBezTo>
                  <a:pt x="295158" y="654874"/>
                  <a:pt x="294823" y="654688"/>
                  <a:pt x="294525" y="654502"/>
                </a:cubicBezTo>
                <a:cubicBezTo>
                  <a:pt x="283177" y="648363"/>
                  <a:pt x="269001" y="652307"/>
                  <a:pt x="262490" y="663432"/>
                </a:cubicBezTo>
                <a:lnTo>
                  <a:pt x="222046" y="733493"/>
                </a:lnTo>
                <a:close/>
                <a:moveTo>
                  <a:pt x="319638" y="695615"/>
                </a:moveTo>
                <a:cubicBezTo>
                  <a:pt x="319414" y="696099"/>
                  <a:pt x="319154" y="696545"/>
                  <a:pt x="318856" y="696955"/>
                </a:cubicBezTo>
                <a:lnTo>
                  <a:pt x="274097" y="774494"/>
                </a:lnTo>
                <a:lnTo>
                  <a:pt x="274097" y="775015"/>
                </a:lnTo>
                <a:lnTo>
                  <a:pt x="274059" y="775126"/>
                </a:lnTo>
                <a:lnTo>
                  <a:pt x="274059" y="775498"/>
                </a:lnTo>
                <a:lnTo>
                  <a:pt x="274059" y="775461"/>
                </a:lnTo>
                <a:cubicBezTo>
                  <a:pt x="268032" y="786624"/>
                  <a:pt x="271752" y="800539"/>
                  <a:pt x="282580" y="807199"/>
                </a:cubicBezTo>
                <a:cubicBezTo>
                  <a:pt x="282915" y="807347"/>
                  <a:pt x="283212" y="807533"/>
                  <a:pt x="283547" y="807757"/>
                </a:cubicBezTo>
                <a:cubicBezTo>
                  <a:pt x="294895" y="813896"/>
                  <a:pt x="309034" y="809915"/>
                  <a:pt x="315583" y="798790"/>
                </a:cubicBezTo>
                <a:cubicBezTo>
                  <a:pt x="316289" y="797562"/>
                  <a:pt x="317294" y="796483"/>
                  <a:pt x="318522" y="795702"/>
                </a:cubicBezTo>
                <a:cubicBezTo>
                  <a:pt x="319452" y="792762"/>
                  <a:pt x="320680" y="789972"/>
                  <a:pt x="322205" y="787293"/>
                </a:cubicBezTo>
                <a:lnTo>
                  <a:pt x="354575" y="731296"/>
                </a:lnTo>
                <a:cubicBezTo>
                  <a:pt x="354687" y="731110"/>
                  <a:pt x="354798" y="730924"/>
                  <a:pt x="354910" y="730738"/>
                </a:cubicBezTo>
                <a:lnTo>
                  <a:pt x="354947" y="730738"/>
                </a:lnTo>
                <a:cubicBezTo>
                  <a:pt x="356398" y="728282"/>
                  <a:pt x="358110" y="726013"/>
                  <a:pt x="360045" y="723892"/>
                </a:cubicBezTo>
                <a:cubicBezTo>
                  <a:pt x="360119" y="722478"/>
                  <a:pt x="360528" y="721064"/>
                  <a:pt x="361235" y="719836"/>
                </a:cubicBezTo>
                <a:cubicBezTo>
                  <a:pt x="367746" y="708414"/>
                  <a:pt x="363840" y="693903"/>
                  <a:pt x="352529" y="687280"/>
                </a:cubicBezTo>
                <a:lnTo>
                  <a:pt x="352157" y="687057"/>
                </a:lnTo>
                <a:lnTo>
                  <a:pt x="352119" y="687057"/>
                </a:lnTo>
                <a:cubicBezTo>
                  <a:pt x="340994" y="681029"/>
                  <a:pt x="327116" y="684676"/>
                  <a:pt x="320382" y="695354"/>
                </a:cubicBezTo>
                <a:close/>
                <a:moveTo>
                  <a:pt x="698514" y="315244"/>
                </a:moveTo>
                <a:cubicBezTo>
                  <a:pt x="693863" y="279935"/>
                  <a:pt x="663800" y="253480"/>
                  <a:pt x="628155" y="253331"/>
                </a:cubicBezTo>
                <a:lnTo>
                  <a:pt x="553556" y="253331"/>
                </a:lnTo>
                <a:cubicBezTo>
                  <a:pt x="517948" y="253480"/>
                  <a:pt x="487885" y="279935"/>
                  <a:pt x="483234" y="315244"/>
                </a:cubicBezTo>
                <a:close/>
                <a:moveTo>
                  <a:pt x="636601" y="113133"/>
                </a:moveTo>
                <a:cubicBezTo>
                  <a:pt x="614798" y="91329"/>
                  <a:pt x="580605" y="87981"/>
                  <a:pt x="554932" y="105096"/>
                </a:cubicBezTo>
                <a:cubicBezTo>
                  <a:pt x="529296" y="122249"/>
                  <a:pt x="519325" y="155140"/>
                  <a:pt x="531119" y="183640"/>
                </a:cubicBezTo>
                <a:cubicBezTo>
                  <a:pt x="542951" y="212141"/>
                  <a:pt x="573238" y="228326"/>
                  <a:pt x="603488" y="222298"/>
                </a:cubicBezTo>
                <a:cubicBezTo>
                  <a:pt x="633774" y="216271"/>
                  <a:pt x="655540" y="189705"/>
                  <a:pt x="655540" y="158860"/>
                </a:cubicBezTo>
                <a:cubicBezTo>
                  <a:pt x="655577" y="141707"/>
                  <a:pt x="648768" y="125263"/>
                  <a:pt x="636601" y="113132"/>
                </a:cubicBezTo>
                <a:close/>
                <a:moveTo>
                  <a:pt x="505375" y="238891"/>
                </a:moveTo>
                <a:cubicBezTo>
                  <a:pt x="500724" y="203545"/>
                  <a:pt x="470699" y="177090"/>
                  <a:pt x="435054" y="176979"/>
                </a:cubicBezTo>
                <a:lnTo>
                  <a:pt x="360417" y="176979"/>
                </a:lnTo>
                <a:cubicBezTo>
                  <a:pt x="324810" y="177128"/>
                  <a:pt x="294784" y="203545"/>
                  <a:pt x="290133" y="238891"/>
                </a:cubicBezTo>
                <a:close/>
                <a:moveTo>
                  <a:pt x="397733" y="17845"/>
                </a:moveTo>
                <a:cubicBezTo>
                  <a:pt x="366888" y="17845"/>
                  <a:pt x="340323" y="39611"/>
                  <a:pt x="334295" y="69897"/>
                </a:cubicBezTo>
                <a:cubicBezTo>
                  <a:pt x="328267" y="100147"/>
                  <a:pt x="344452" y="130470"/>
                  <a:pt x="372953" y="142265"/>
                </a:cubicBezTo>
                <a:cubicBezTo>
                  <a:pt x="401491" y="154097"/>
                  <a:pt x="434344" y="144125"/>
                  <a:pt x="451497" y="118453"/>
                </a:cubicBezTo>
                <a:cubicBezTo>
                  <a:pt x="468650" y="92817"/>
                  <a:pt x="465301" y="58624"/>
                  <a:pt x="443460" y="36783"/>
                </a:cubicBezTo>
                <a:cubicBezTo>
                  <a:pt x="431368" y="24654"/>
                  <a:pt x="414885" y="17808"/>
                  <a:pt x="397733" y="17845"/>
                </a:cubicBezTo>
                <a:close/>
                <a:moveTo>
                  <a:pt x="312194" y="315244"/>
                </a:moveTo>
                <a:cubicBezTo>
                  <a:pt x="307543" y="279935"/>
                  <a:pt x="277480" y="253480"/>
                  <a:pt x="241873" y="253331"/>
                </a:cubicBezTo>
                <a:lnTo>
                  <a:pt x="167236" y="253331"/>
                </a:lnTo>
                <a:cubicBezTo>
                  <a:pt x="131591" y="253480"/>
                  <a:pt x="101529" y="279935"/>
                  <a:pt x="96915" y="315244"/>
                </a:cubicBezTo>
                <a:close/>
                <a:moveTo>
                  <a:pt x="250281" y="113133"/>
                </a:moveTo>
                <a:cubicBezTo>
                  <a:pt x="228478" y="91329"/>
                  <a:pt x="194285" y="87981"/>
                  <a:pt x="168612" y="105096"/>
                </a:cubicBezTo>
                <a:cubicBezTo>
                  <a:pt x="142977" y="122249"/>
                  <a:pt x="133005" y="155140"/>
                  <a:pt x="144800" y="183640"/>
                </a:cubicBezTo>
                <a:cubicBezTo>
                  <a:pt x="156632" y="212141"/>
                  <a:pt x="186918" y="228326"/>
                  <a:pt x="217205" y="222298"/>
                </a:cubicBezTo>
                <a:cubicBezTo>
                  <a:pt x="247454" y="216271"/>
                  <a:pt x="269257" y="189705"/>
                  <a:pt x="269220" y="158860"/>
                </a:cubicBezTo>
                <a:cubicBezTo>
                  <a:pt x="269257" y="141707"/>
                  <a:pt x="262448" y="125263"/>
                  <a:pt x="250281" y="113132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D7BD241-58BE-C715-4137-EB6A2D32A14A}"/>
              </a:ext>
            </a:extLst>
          </p:cNvPr>
          <p:cNvGrpSpPr/>
          <p:nvPr/>
        </p:nvGrpSpPr>
        <p:grpSpPr>
          <a:xfrm>
            <a:off x="8712607" y="1082978"/>
            <a:ext cx="274320" cy="274320"/>
            <a:chOff x="8657719" y="-201417"/>
            <a:chExt cx="866717" cy="895177"/>
          </a:xfrm>
          <a:solidFill>
            <a:schemeClr val="tx2"/>
          </a:solidFill>
        </p:grpSpPr>
        <p:grpSp>
          <p:nvGrpSpPr>
            <p:cNvPr id="58" name="Graphic 55">
              <a:extLst>
                <a:ext uri="{FF2B5EF4-FFF2-40B4-BE49-F238E27FC236}">
                  <a16:creationId xmlns:a16="http://schemas.microsoft.com/office/drawing/2014/main" id="{F82B6860-62DD-EB2E-DD32-15F04D016A8A}"/>
                </a:ext>
              </a:extLst>
            </p:cNvPr>
            <p:cNvGrpSpPr/>
            <p:nvPr/>
          </p:nvGrpSpPr>
          <p:grpSpPr>
            <a:xfrm>
              <a:off x="8657719" y="-201417"/>
              <a:ext cx="866717" cy="895177"/>
              <a:chOff x="8657719" y="-201417"/>
              <a:chExt cx="866717" cy="895177"/>
            </a:xfrm>
            <a:grpFill/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13451592-68C6-0938-8FC0-DB8A641B5AC8}"/>
                  </a:ext>
                </a:extLst>
              </p:cNvPr>
              <p:cNvSpPr/>
              <p:nvPr/>
            </p:nvSpPr>
            <p:spPr>
              <a:xfrm>
                <a:off x="9038404" y="-201417"/>
                <a:ext cx="105336" cy="105346"/>
              </a:xfrm>
              <a:custGeom>
                <a:avLst/>
                <a:gdLst>
                  <a:gd name="connsiteX0" fmla="*/ 52639 w 105336"/>
                  <a:gd name="connsiteY0" fmla="*/ 105339 h 105346"/>
                  <a:gd name="connsiteX1" fmla="*/ 13 w 105336"/>
                  <a:gd name="connsiteY1" fmla="*/ 52618 h 105346"/>
                  <a:gd name="connsiteX2" fmla="*/ 52639 w 105336"/>
                  <a:gd name="connsiteY2" fmla="*/ -8 h 105346"/>
                  <a:gd name="connsiteX3" fmla="*/ 105350 w 105336"/>
                  <a:gd name="connsiteY3" fmla="*/ 52618 h 105346"/>
                  <a:gd name="connsiteX4" fmla="*/ 52639 w 105336"/>
                  <a:gd name="connsiteY4" fmla="*/ 105339 h 105346"/>
                  <a:gd name="connsiteX5" fmla="*/ 52639 w 105336"/>
                  <a:gd name="connsiteY5" fmla="*/ 19042 h 105346"/>
                  <a:gd name="connsiteX6" fmla="*/ 19063 w 105336"/>
                  <a:gd name="connsiteY6" fmla="*/ 52618 h 105346"/>
                  <a:gd name="connsiteX7" fmla="*/ 52639 w 105336"/>
                  <a:gd name="connsiteY7" fmla="*/ 86289 h 105346"/>
                  <a:gd name="connsiteX8" fmla="*/ 86300 w 105336"/>
                  <a:gd name="connsiteY8" fmla="*/ 52618 h 105346"/>
                  <a:gd name="connsiteX9" fmla="*/ 52639 w 105336"/>
                  <a:gd name="connsiteY9" fmla="*/ 19042 h 10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5336" h="105346">
                    <a:moveTo>
                      <a:pt x="52639" y="105339"/>
                    </a:moveTo>
                    <a:cubicBezTo>
                      <a:pt x="23616" y="105339"/>
                      <a:pt x="13" y="81688"/>
                      <a:pt x="13" y="52618"/>
                    </a:cubicBezTo>
                    <a:cubicBezTo>
                      <a:pt x="13" y="23595"/>
                      <a:pt x="23625" y="-8"/>
                      <a:pt x="52639" y="-8"/>
                    </a:cubicBezTo>
                    <a:cubicBezTo>
                      <a:pt x="81709" y="-8"/>
                      <a:pt x="105350" y="23605"/>
                      <a:pt x="105350" y="52618"/>
                    </a:cubicBezTo>
                    <a:cubicBezTo>
                      <a:pt x="105350" y="81688"/>
                      <a:pt x="81709" y="105339"/>
                      <a:pt x="52639" y="105339"/>
                    </a:cubicBezTo>
                    <a:close/>
                    <a:moveTo>
                      <a:pt x="52639" y="19042"/>
                    </a:moveTo>
                    <a:cubicBezTo>
                      <a:pt x="34122" y="19042"/>
                      <a:pt x="19063" y="34101"/>
                      <a:pt x="19063" y="52618"/>
                    </a:cubicBezTo>
                    <a:cubicBezTo>
                      <a:pt x="19063" y="71182"/>
                      <a:pt x="34122" y="86289"/>
                      <a:pt x="52639" y="86289"/>
                    </a:cubicBezTo>
                    <a:cubicBezTo>
                      <a:pt x="71203" y="86289"/>
                      <a:pt x="86300" y="71182"/>
                      <a:pt x="86300" y="52618"/>
                    </a:cubicBezTo>
                    <a:cubicBezTo>
                      <a:pt x="86300" y="34101"/>
                      <a:pt x="71203" y="19042"/>
                      <a:pt x="52639" y="1904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D07B6C9-550C-4CB4-902E-E7D3C702E4D1}"/>
                  </a:ext>
                </a:extLst>
              </p:cNvPr>
              <p:cNvSpPr/>
              <p:nvPr/>
            </p:nvSpPr>
            <p:spPr>
              <a:xfrm>
                <a:off x="9023774" y="-115120"/>
                <a:ext cx="134607" cy="76790"/>
              </a:xfrm>
              <a:custGeom>
                <a:avLst/>
                <a:gdLst>
                  <a:gd name="connsiteX0" fmla="*/ 125086 w 134607"/>
                  <a:gd name="connsiteY0" fmla="*/ 76783 h 76790"/>
                  <a:gd name="connsiteX1" fmla="*/ 9538 w 134607"/>
                  <a:gd name="connsiteY1" fmla="*/ 76783 h 76790"/>
                  <a:gd name="connsiteX2" fmla="*/ 13 w 134607"/>
                  <a:gd name="connsiteY2" fmla="*/ 67258 h 76790"/>
                  <a:gd name="connsiteX3" fmla="*/ 67279 w 134607"/>
                  <a:gd name="connsiteY3" fmla="*/ -8 h 76790"/>
                  <a:gd name="connsiteX4" fmla="*/ 134620 w 134607"/>
                  <a:gd name="connsiteY4" fmla="*/ 67258 h 76790"/>
                  <a:gd name="connsiteX5" fmla="*/ 125086 w 134607"/>
                  <a:gd name="connsiteY5" fmla="*/ 76783 h 76790"/>
                  <a:gd name="connsiteX6" fmla="*/ 20006 w 134607"/>
                  <a:gd name="connsiteY6" fmla="*/ 57733 h 76790"/>
                  <a:gd name="connsiteX7" fmla="*/ 114618 w 134607"/>
                  <a:gd name="connsiteY7" fmla="*/ 57733 h 76790"/>
                  <a:gd name="connsiteX8" fmla="*/ 67269 w 134607"/>
                  <a:gd name="connsiteY8" fmla="*/ 19042 h 76790"/>
                  <a:gd name="connsiteX9" fmla="*/ 20006 w 134607"/>
                  <a:gd name="connsiteY9" fmla="*/ 57733 h 76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4607" h="76790">
                    <a:moveTo>
                      <a:pt x="125086" y="76783"/>
                    </a:moveTo>
                    <a:lnTo>
                      <a:pt x="9538" y="76783"/>
                    </a:lnTo>
                    <a:cubicBezTo>
                      <a:pt x="4271" y="76783"/>
                      <a:pt x="13" y="72525"/>
                      <a:pt x="13" y="67258"/>
                    </a:cubicBezTo>
                    <a:cubicBezTo>
                      <a:pt x="13" y="30168"/>
                      <a:pt x="30188" y="-8"/>
                      <a:pt x="67279" y="-8"/>
                    </a:cubicBezTo>
                    <a:cubicBezTo>
                      <a:pt x="104407" y="-8"/>
                      <a:pt x="134620" y="30168"/>
                      <a:pt x="134620" y="67258"/>
                    </a:cubicBezTo>
                    <a:cubicBezTo>
                      <a:pt x="134611" y="72525"/>
                      <a:pt x="130353" y="76783"/>
                      <a:pt x="125086" y="76783"/>
                    </a:cubicBezTo>
                    <a:close/>
                    <a:moveTo>
                      <a:pt x="20006" y="57733"/>
                    </a:moveTo>
                    <a:lnTo>
                      <a:pt x="114618" y="57733"/>
                    </a:lnTo>
                    <a:cubicBezTo>
                      <a:pt x="110179" y="35702"/>
                      <a:pt x="90634" y="19042"/>
                      <a:pt x="67269" y="19042"/>
                    </a:cubicBezTo>
                    <a:cubicBezTo>
                      <a:pt x="43952" y="19042"/>
                      <a:pt x="24435" y="35692"/>
                      <a:pt x="20006" y="57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4E54293E-AE71-0FBA-A93A-9BF0B764B021}"/>
                  </a:ext>
                </a:extLst>
              </p:cNvPr>
              <p:cNvSpPr/>
              <p:nvPr/>
            </p:nvSpPr>
            <p:spPr>
              <a:xfrm>
                <a:off x="9038404" y="530683"/>
                <a:ext cx="105336" cy="105346"/>
              </a:xfrm>
              <a:custGeom>
                <a:avLst/>
                <a:gdLst>
                  <a:gd name="connsiteX0" fmla="*/ 52639 w 105336"/>
                  <a:gd name="connsiteY0" fmla="*/ 105339 h 105346"/>
                  <a:gd name="connsiteX1" fmla="*/ 13 w 105336"/>
                  <a:gd name="connsiteY1" fmla="*/ 52618 h 105346"/>
                  <a:gd name="connsiteX2" fmla="*/ 52639 w 105336"/>
                  <a:gd name="connsiteY2" fmla="*/ -8 h 105346"/>
                  <a:gd name="connsiteX3" fmla="*/ 105350 w 105336"/>
                  <a:gd name="connsiteY3" fmla="*/ 52618 h 105346"/>
                  <a:gd name="connsiteX4" fmla="*/ 52639 w 105336"/>
                  <a:gd name="connsiteY4" fmla="*/ 105339 h 105346"/>
                  <a:gd name="connsiteX5" fmla="*/ 52639 w 105336"/>
                  <a:gd name="connsiteY5" fmla="*/ 19033 h 105346"/>
                  <a:gd name="connsiteX6" fmla="*/ 19063 w 105336"/>
                  <a:gd name="connsiteY6" fmla="*/ 52609 h 105346"/>
                  <a:gd name="connsiteX7" fmla="*/ 52639 w 105336"/>
                  <a:gd name="connsiteY7" fmla="*/ 86279 h 105346"/>
                  <a:gd name="connsiteX8" fmla="*/ 86300 w 105336"/>
                  <a:gd name="connsiteY8" fmla="*/ 52609 h 105346"/>
                  <a:gd name="connsiteX9" fmla="*/ 52639 w 105336"/>
                  <a:gd name="connsiteY9" fmla="*/ 19033 h 10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5336" h="105346">
                    <a:moveTo>
                      <a:pt x="52639" y="105339"/>
                    </a:moveTo>
                    <a:cubicBezTo>
                      <a:pt x="23616" y="105339"/>
                      <a:pt x="13" y="81688"/>
                      <a:pt x="13" y="52618"/>
                    </a:cubicBezTo>
                    <a:cubicBezTo>
                      <a:pt x="13" y="23595"/>
                      <a:pt x="23625" y="-8"/>
                      <a:pt x="52639" y="-8"/>
                    </a:cubicBezTo>
                    <a:cubicBezTo>
                      <a:pt x="81709" y="-8"/>
                      <a:pt x="105350" y="23605"/>
                      <a:pt x="105350" y="52618"/>
                    </a:cubicBezTo>
                    <a:cubicBezTo>
                      <a:pt x="105350" y="81679"/>
                      <a:pt x="81709" y="105339"/>
                      <a:pt x="52639" y="105339"/>
                    </a:cubicBezTo>
                    <a:close/>
                    <a:moveTo>
                      <a:pt x="52639" y="19033"/>
                    </a:moveTo>
                    <a:cubicBezTo>
                      <a:pt x="34122" y="19033"/>
                      <a:pt x="19063" y="34092"/>
                      <a:pt x="19063" y="52609"/>
                    </a:cubicBezTo>
                    <a:cubicBezTo>
                      <a:pt x="19063" y="71173"/>
                      <a:pt x="34122" y="86279"/>
                      <a:pt x="52639" y="86279"/>
                    </a:cubicBezTo>
                    <a:cubicBezTo>
                      <a:pt x="71203" y="86279"/>
                      <a:pt x="86300" y="71173"/>
                      <a:pt x="86300" y="52609"/>
                    </a:cubicBezTo>
                    <a:cubicBezTo>
                      <a:pt x="86300" y="34092"/>
                      <a:pt x="71203" y="19033"/>
                      <a:pt x="52639" y="190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799C683B-185E-FEE1-EB14-E75CE9456BF7}"/>
                  </a:ext>
                </a:extLst>
              </p:cNvPr>
              <p:cNvSpPr/>
              <p:nvPr/>
            </p:nvSpPr>
            <p:spPr>
              <a:xfrm>
                <a:off x="9023774" y="616970"/>
                <a:ext cx="134607" cy="76790"/>
              </a:xfrm>
              <a:custGeom>
                <a:avLst/>
                <a:gdLst>
                  <a:gd name="connsiteX0" fmla="*/ 125086 w 134607"/>
                  <a:gd name="connsiteY0" fmla="*/ 76783 h 76790"/>
                  <a:gd name="connsiteX1" fmla="*/ 9538 w 134607"/>
                  <a:gd name="connsiteY1" fmla="*/ 76783 h 76790"/>
                  <a:gd name="connsiteX2" fmla="*/ 13 w 134607"/>
                  <a:gd name="connsiteY2" fmla="*/ 67258 h 76790"/>
                  <a:gd name="connsiteX3" fmla="*/ 67279 w 134607"/>
                  <a:gd name="connsiteY3" fmla="*/ -8 h 76790"/>
                  <a:gd name="connsiteX4" fmla="*/ 134620 w 134607"/>
                  <a:gd name="connsiteY4" fmla="*/ 67258 h 76790"/>
                  <a:gd name="connsiteX5" fmla="*/ 125086 w 134607"/>
                  <a:gd name="connsiteY5" fmla="*/ 76783 h 76790"/>
                  <a:gd name="connsiteX6" fmla="*/ 20006 w 134607"/>
                  <a:gd name="connsiteY6" fmla="*/ 57733 h 76790"/>
                  <a:gd name="connsiteX7" fmla="*/ 114618 w 134607"/>
                  <a:gd name="connsiteY7" fmla="*/ 57733 h 76790"/>
                  <a:gd name="connsiteX8" fmla="*/ 67269 w 134607"/>
                  <a:gd name="connsiteY8" fmla="*/ 19042 h 76790"/>
                  <a:gd name="connsiteX9" fmla="*/ 20006 w 134607"/>
                  <a:gd name="connsiteY9" fmla="*/ 57733 h 76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4607" h="76790">
                    <a:moveTo>
                      <a:pt x="125086" y="76783"/>
                    </a:moveTo>
                    <a:lnTo>
                      <a:pt x="9538" y="76783"/>
                    </a:lnTo>
                    <a:cubicBezTo>
                      <a:pt x="4271" y="76783"/>
                      <a:pt x="13" y="72525"/>
                      <a:pt x="13" y="67258"/>
                    </a:cubicBezTo>
                    <a:cubicBezTo>
                      <a:pt x="13" y="30168"/>
                      <a:pt x="30188" y="-8"/>
                      <a:pt x="67279" y="-8"/>
                    </a:cubicBezTo>
                    <a:cubicBezTo>
                      <a:pt x="104407" y="-8"/>
                      <a:pt x="134620" y="30168"/>
                      <a:pt x="134620" y="67258"/>
                    </a:cubicBezTo>
                    <a:cubicBezTo>
                      <a:pt x="134611" y="72525"/>
                      <a:pt x="130353" y="76783"/>
                      <a:pt x="125086" y="76783"/>
                    </a:cubicBezTo>
                    <a:close/>
                    <a:moveTo>
                      <a:pt x="20006" y="57733"/>
                    </a:moveTo>
                    <a:lnTo>
                      <a:pt x="114618" y="57733"/>
                    </a:lnTo>
                    <a:cubicBezTo>
                      <a:pt x="110179" y="35702"/>
                      <a:pt x="90634" y="19042"/>
                      <a:pt x="67269" y="19042"/>
                    </a:cubicBezTo>
                    <a:cubicBezTo>
                      <a:pt x="43952" y="19052"/>
                      <a:pt x="24435" y="35702"/>
                      <a:pt x="20006" y="57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A0A14B77-0462-52E7-7069-812CC3FF7959}"/>
                  </a:ext>
                </a:extLst>
              </p:cNvPr>
              <p:cNvSpPr/>
              <p:nvPr/>
            </p:nvSpPr>
            <p:spPr>
              <a:xfrm>
                <a:off x="9404460" y="-201417"/>
                <a:ext cx="105346" cy="105346"/>
              </a:xfrm>
              <a:custGeom>
                <a:avLst/>
                <a:gdLst>
                  <a:gd name="connsiteX0" fmla="*/ 52639 w 105346"/>
                  <a:gd name="connsiteY0" fmla="*/ 105339 h 105346"/>
                  <a:gd name="connsiteX1" fmla="*/ 13 w 105346"/>
                  <a:gd name="connsiteY1" fmla="*/ 52618 h 105346"/>
                  <a:gd name="connsiteX2" fmla="*/ 52639 w 105346"/>
                  <a:gd name="connsiteY2" fmla="*/ -8 h 105346"/>
                  <a:gd name="connsiteX3" fmla="*/ 105360 w 105346"/>
                  <a:gd name="connsiteY3" fmla="*/ 52618 h 105346"/>
                  <a:gd name="connsiteX4" fmla="*/ 52639 w 105346"/>
                  <a:gd name="connsiteY4" fmla="*/ 105339 h 105346"/>
                  <a:gd name="connsiteX5" fmla="*/ 52639 w 105346"/>
                  <a:gd name="connsiteY5" fmla="*/ 19042 h 105346"/>
                  <a:gd name="connsiteX6" fmla="*/ 19063 w 105346"/>
                  <a:gd name="connsiteY6" fmla="*/ 52618 h 105346"/>
                  <a:gd name="connsiteX7" fmla="*/ 52639 w 105346"/>
                  <a:gd name="connsiteY7" fmla="*/ 86289 h 105346"/>
                  <a:gd name="connsiteX8" fmla="*/ 86310 w 105346"/>
                  <a:gd name="connsiteY8" fmla="*/ 52618 h 105346"/>
                  <a:gd name="connsiteX9" fmla="*/ 52639 w 105346"/>
                  <a:gd name="connsiteY9" fmla="*/ 19042 h 10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5346" h="105346">
                    <a:moveTo>
                      <a:pt x="52639" y="105339"/>
                    </a:moveTo>
                    <a:cubicBezTo>
                      <a:pt x="23616" y="105339"/>
                      <a:pt x="13" y="81688"/>
                      <a:pt x="13" y="52618"/>
                    </a:cubicBezTo>
                    <a:cubicBezTo>
                      <a:pt x="13" y="23595"/>
                      <a:pt x="23625" y="-8"/>
                      <a:pt x="52639" y="-8"/>
                    </a:cubicBezTo>
                    <a:cubicBezTo>
                      <a:pt x="81709" y="-8"/>
                      <a:pt x="105360" y="23605"/>
                      <a:pt x="105360" y="52618"/>
                    </a:cubicBezTo>
                    <a:cubicBezTo>
                      <a:pt x="105360" y="81688"/>
                      <a:pt x="81709" y="105339"/>
                      <a:pt x="52639" y="105339"/>
                    </a:cubicBezTo>
                    <a:close/>
                    <a:moveTo>
                      <a:pt x="52639" y="19042"/>
                    </a:moveTo>
                    <a:cubicBezTo>
                      <a:pt x="34122" y="19042"/>
                      <a:pt x="19063" y="34101"/>
                      <a:pt x="19063" y="52618"/>
                    </a:cubicBezTo>
                    <a:cubicBezTo>
                      <a:pt x="19063" y="71182"/>
                      <a:pt x="34122" y="86289"/>
                      <a:pt x="52639" y="86289"/>
                    </a:cubicBezTo>
                    <a:cubicBezTo>
                      <a:pt x="71203" y="86289"/>
                      <a:pt x="86310" y="71182"/>
                      <a:pt x="86310" y="52618"/>
                    </a:cubicBezTo>
                    <a:cubicBezTo>
                      <a:pt x="86310" y="34101"/>
                      <a:pt x="71203" y="19042"/>
                      <a:pt x="52639" y="1904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AA1551F7-3A64-CB9D-2648-798E2EF4924A}"/>
                  </a:ext>
                </a:extLst>
              </p:cNvPr>
              <p:cNvSpPr/>
              <p:nvPr/>
            </p:nvSpPr>
            <p:spPr>
              <a:xfrm>
                <a:off x="9389820" y="-115120"/>
                <a:ext cx="134616" cy="76790"/>
              </a:xfrm>
              <a:custGeom>
                <a:avLst/>
                <a:gdLst>
                  <a:gd name="connsiteX0" fmla="*/ 125105 w 134616"/>
                  <a:gd name="connsiteY0" fmla="*/ 76783 h 76790"/>
                  <a:gd name="connsiteX1" fmla="*/ 9538 w 134616"/>
                  <a:gd name="connsiteY1" fmla="*/ 76783 h 76790"/>
                  <a:gd name="connsiteX2" fmla="*/ 13 w 134616"/>
                  <a:gd name="connsiteY2" fmla="*/ 67258 h 76790"/>
                  <a:gd name="connsiteX3" fmla="*/ 67279 w 134616"/>
                  <a:gd name="connsiteY3" fmla="*/ -8 h 76790"/>
                  <a:gd name="connsiteX4" fmla="*/ 134630 w 134616"/>
                  <a:gd name="connsiteY4" fmla="*/ 67258 h 76790"/>
                  <a:gd name="connsiteX5" fmla="*/ 125105 w 134616"/>
                  <a:gd name="connsiteY5" fmla="*/ 76783 h 76790"/>
                  <a:gd name="connsiteX6" fmla="*/ 20016 w 134616"/>
                  <a:gd name="connsiteY6" fmla="*/ 57733 h 76790"/>
                  <a:gd name="connsiteX7" fmla="*/ 114637 w 134616"/>
                  <a:gd name="connsiteY7" fmla="*/ 57733 h 76790"/>
                  <a:gd name="connsiteX8" fmla="*/ 67279 w 134616"/>
                  <a:gd name="connsiteY8" fmla="*/ 19042 h 76790"/>
                  <a:gd name="connsiteX9" fmla="*/ 20016 w 134616"/>
                  <a:gd name="connsiteY9" fmla="*/ 57733 h 76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4616" h="76790">
                    <a:moveTo>
                      <a:pt x="125105" y="76783"/>
                    </a:moveTo>
                    <a:lnTo>
                      <a:pt x="9538" y="76783"/>
                    </a:lnTo>
                    <a:cubicBezTo>
                      <a:pt x="4271" y="76783"/>
                      <a:pt x="13" y="72525"/>
                      <a:pt x="13" y="67258"/>
                    </a:cubicBezTo>
                    <a:cubicBezTo>
                      <a:pt x="13" y="30168"/>
                      <a:pt x="30188" y="-8"/>
                      <a:pt x="67279" y="-8"/>
                    </a:cubicBezTo>
                    <a:cubicBezTo>
                      <a:pt x="104417" y="-8"/>
                      <a:pt x="134630" y="30168"/>
                      <a:pt x="134630" y="67258"/>
                    </a:cubicBezTo>
                    <a:cubicBezTo>
                      <a:pt x="134630" y="72516"/>
                      <a:pt x="130372" y="76783"/>
                      <a:pt x="125105" y="76783"/>
                    </a:cubicBezTo>
                    <a:close/>
                    <a:moveTo>
                      <a:pt x="20016" y="57733"/>
                    </a:moveTo>
                    <a:lnTo>
                      <a:pt x="114637" y="57733"/>
                    </a:lnTo>
                    <a:cubicBezTo>
                      <a:pt x="110198" y="35702"/>
                      <a:pt x="90643" y="19042"/>
                      <a:pt x="67279" y="19042"/>
                    </a:cubicBezTo>
                    <a:cubicBezTo>
                      <a:pt x="43961" y="19042"/>
                      <a:pt x="24445" y="35692"/>
                      <a:pt x="20016" y="57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02F477BF-727D-C7AB-AB51-980FCD5084B5}"/>
                  </a:ext>
                </a:extLst>
              </p:cNvPr>
              <p:cNvSpPr/>
              <p:nvPr/>
            </p:nvSpPr>
            <p:spPr>
              <a:xfrm>
                <a:off x="8672349" y="530683"/>
                <a:ext cx="105346" cy="105346"/>
              </a:xfrm>
              <a:custGeom>
                <a:avLst/>
                <a:gdLst>
                  <a:gd name="connsiteX0" fmla="*/ 52648 w 105346"/>
                  <a:gd name="connsiteY0" fmla="*/ 105339 h 105346"/>
                  <a:gd name="connsiteX1" fmla="*/ 13 w 105346"/>
                  <a:gd name="connsiteY1" fmla="*/ 52618 h 105346"/>
                  <a:gd name="connsiteX2" fmla="*/ 52639 w 105346"/>
                  <a:gd name="connsiteY2" fmla="*/ -8 h 105346"/>
                  <a:gd name="connsiteX3" fmla="*/ 105360 w 105346"/>
                  <a:gd name="connsiteY3" fmla="*/ 52618 h 105346"/>
                  <a:gd name="connsiteX4" fmla="*/ 52648 w 105346"/>
                  <a:gd name="connsiteY4" fmla="*/ 105339 h 105346"/>
                  <a:gd name="connsiteX5" fmla="*/ 52639 w 105346"/>
                  <a:gd name="connsiteY5" fmla="*/ 19033 h 105346"/>
                  <a:gd name="connsiteX6" fmla="*/ 19063 w 105346"/>
                  <a:gd name="connsiteY6" fmla="*/ 52609 h 105346"/>
                  <a:gd name="connsiteX7" fmla="*/ 52648 w 105346"/>
                  <a:gd name="connsiteY7" fmla="*/ 86279 h 105346"/>
                  <a:gd name="connsiteX8" fmla="*/ 86319 w 105346"/>
                  <a:gd name="connsiteY8" fmla="*/ 52609 h 105346"/>
                  <a:gd name="connsiteX9" fmla="*/ 52639 w 105346"/>
                  <a:gd name="connsiteY9" fmla="*/ 19033 h 10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5346" h="105346">
                    <a:moveTo>
                      <a:pt x="52648" y="105339"/>
                    </a:moveTo>
                    <a:cubicBezTo>
                      <a:pt x="23626" y="105339"/>
                      <a:pt x="13" y="81688"/>
                      <a:pt x="13" y="52618"/>
                    </a:cubicBezTo>
                    <a:cubicBezTo>
                      <a:pt x="13" y="23595"/>
                      <a:pt x="23626" y="-8"/>
                      <a:pt x="52639" y="-8"/>
                    </a:cubicBezTo>
                    <a:cubicBezTo>
                      <a:pt x="81709" y="-8"/>
                      <a:pt x="105360" y="23605"/>
                      <a:pt x="105360" y="52618"/>
                    </a:cubicBezTo>
                    <a:cubicBezTo>
                      <a:pt x="105360" y="81679"/>
                      <a:pt x="81718" y="105339"/>
                      <a:pt x="52648" y="105339"/>
                    </a:cubicBezTo>
                    <a:close/>
                    <a:moveTo>
                      <a:pt x="52639" y="19033"/>
                    </a:moveTo>
                    <a:cubicBezTo>
                      <a:pt x="34122" y="19033"/>
                      <a:pt x="19063" y="34092"/>
                      <a:pt x="19063" y="52609"/>
                    </a:cubicBezTo>
                    <a:cubicBezTo>
                      <a:pt x="19063" y="71173"/>
                      <a:pt x="34132" y="86279"/>
                      <a:pt x="52648" y="86279"/>
                    </a:cubicBezTo>
                    <a:cubicBezTo>
                      <a:pt x="71212" y="86279"/>
                      <a:pt x="86319" y="71173"/>
                      <a:pt x="86319" y="52609"/>
                    </a:cubicBezTo>
                    <a:cubicBezTo>
                      <a:pt x="86310" y="34092"/>
                      <a:pt x="71212" y="19033"/>
                      <a:pt x="52639" y="190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C7A7C187-92EC-6F48-986E-8608223BD318}"/>
                  </a:ext>
                </a:extLst>
              </p:cNvPr>
              <p:cNvSpPr/>
              <p:nvPr/>
            </p:nvSpPr>
            <p:spPr>
              <a:xfrm>
                <a:off x="8657719" y="616970"/>
                <a:ext cx="134616" cy="76790"/>
              </a:xfrm>
              <a:custGeom>
                <a:avLst/>
                <a:gdLst>
                  <a:gd name="connsiteX0" fmla="*/ 125105 w 134616"/>
                  <a:gd name="connsiteY0" fmla="*/ 76783 h 76790"/>
                  <a:gd name="connsiteX1" fmla="*/ 9538 w 134616"/>
                  <a:gd name="connsiteY1" fmla="*/ 76783 h 76790"/>
                  <a:gd name="connsiteX2" fmla="*/ 13 w 134616"/>
                  <a:gd name="connsiteY2" fmla="*/ 67258 h 76790"/>
                  <a:gd name="connsiteX3" fmla="*/ 67279 w 134616"/>
                  <a:gd name="connsiteY3" fmla="*/ -8 h 76790"/>
                  <a:gd name="connsiteX4" fmla="*/ 134630 w 134616"/>
                  <a:gd name="connsiteY4" fmla="*/ 67258 h 76790"/>
                  <a:gd name="connsiteX5" fmla="*/ 125105 w 134616"/>
                  <a:gd name="connsiteY5" fmla="*/ 76783 h 76790"/>
                  <a:gd name="connsiteX6" fmla="*/ 20006 w 134616"/>
                  <a:gd name="connsiteY6" fmla="*/ 57733 h 76790"/>
                  <a:gd name="connsiteX7" fmla="*/ 114627 w 134616"/>
                  <a:gd name="connsiteY7" fmla="*/ 57733 h 76790"/>
                  <a:gd name="connsiteX8" fmla="*/ 67279 w 134616"/>
                  <a:gd name="connsiteY8" fmla="*/ 19042 h 76790"/>
                  <a:gd name="connsiteX9" fmla="*/ 20006 w 134616"/>
                  <a:gd name="connsiteY9" fmla="*/ 57733 h 76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4616" h="76790">
                    <a:moveTo>
                      <a:pt x="125105" y="76783"/>
                    </a:moveTo>
                    <a:lnTo>
                      <a:pt x="9538" y="76783"/>
                    </a:lnTo>
                    <a:cubicBezTo>
                      <a:pt x="4280" y="76783"/>
                      <a:pt x="13" y="72525"/>
                      <a:pt x="13" y="67258"/>
                    </a:cubicBezTo>
                    <a:cubicBezTo>
                      <a:pt x="13" y="30168"/>
                      <a:pt x="30188" y="-8"/>
                      <a:pt x="67279" y="-8"/>
                    </a:cubicBezTo>
                    <a:cubicBezTo>
                      <a:pt x="104417" y="-8"/>
                      <a:pt x="134630" y="30168"/>
                      <a:pt x="134630" y="67258"/>
                    </a:cubicBezTo>
                    <a:cubicBezTo>
                      <a:pt x="134630" y="72525"/>
                      <a:pt x="130363" y="76783"/>
                      <a:pt x="125105" y="76783"/>
                    </a:cubicBezTo>
                    <a:close/>
                    <a:moveTo>
                      <a:pt x="20006" y="57733"/>
                    </a:moveTo>
                    <a:lnTo>
                      <a:pt x="114627" y="57733"/>
                    </a:lnTo>
                    <a:cubicBezTo>
                      <a:pt x="110189" y="35702"/>
                      <a:pt x="90643" y="19042"/>
                      <a:pt x="67279" y="19042"/>
                    </a:cubicBezTo>
                    <a:cubicBezTo>
                      <a:pt x="43952" y="19052"/>
                      <a:pt x="24445" y="35702"/>
                      <a:pt x="20006" y="57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4D8BAFF6-C82E-24BA-2A55-44BD9E101A41}"/>
                  </a:ext>
                </a:extLst>
              </p:cNvPr>
              <p:cNvSpPr/>
              <p:nvPr/>
            </p:nvSpPr>
            <p:spPr>
              <a:xfrm>
                <a:off x="9404460" y="164628"/>
                <a:ext cx="105346" cy="105346"/>
              </a:xfrm>
              <a:custGeom>
                <a:avLst/>
                <a:gdLst>
                  <a:gd name="connsiteX0" fmla="*/ 52639 w 105346"/>
                  <a:gd name="connsiteY0" fmla="*/ 105339 h 105346"/>
                  <a:gd name="connsiteX1" fmla="*/ 13 w 105346"/>
                  <a:gd name="connsiteY1" fmla="*/ 52618 h 105346"/>
                  <a:gd name="connsiteX2" fmla="*/ 52639 w 105346"/>
                  <a:gd name="connsiteY2" fmla="*/ -8 h 105346"/>
                  <a:gd name="connsiteX3" fmla="*/ 105360 w 105346"/>
                  <a:gd name="connsiteY3" fmla="*/ 52628 h 105346"/>
                  <a:gd name="connsiteX4" fmla="*/ 105360 w 105346"/>
                  <a:gd name="connsiteY4" fmla="*/ 52628 h 105346"/>
                  <a:gd name="connsiteX5" fmla="*/ 52639 w 105346"/>
                  <a:gd name="connsiteY5" fmla="*/ 105339 h 105346"/>
                  <a:gd name="connsiteX6" fmla="*/ 52639 w 105346"/>
                  <a:gd name="connsiteY6" fmla="*/ 19033 h 105346"/>
                  <a:gd name="connsiteX7" fmla="*/ 19063 w 105346"/>
                  <a:gd name="connsiteY7" fmla="*/ 52609 h 105346"/>
                  <a:gd name="connsiteX8" fmla="*/ 52639 w 105346"/>
                  <a:gd name="connsiteY8" fmla="*/ 86279 h 105346"/>
                  <a:gd name="connsiteX9" fmla="*/ 86310 w 105346"/>
                  <a:gd name="connsiteY9" fmla="*/ 52618 h 105346"/>
                  <a:gd name="connsiteX10" fmla="*/ 52639 w 105346"/>
                  <a:gd name="connsiteY10" fmla="*/ 19033 h 10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5346" h="105346">
                    <a:moveTo>
                      <a:pt x="52639" y="105339"/>
                    </a:moveTo>
                    <a:cubicBezTo>
                      <a:pt x="23616" y="105339"/>
                      <a:pt x="13" y="81688"/>
                      <a:pt x="13" y="52618"/>
                    </a:cubicBezTo>
                    <a:cubicBezTo>
                      <a:pt x="13" y="23595"/>
                      <a:pt x="23625" y="-8"/>
                      <a:pt x="52639" y="-8"/>
                    </a:cubicBezTo>
                    <a:cubicBezTo>
                      <a:pt x="81699" y="-8"/>
                      <a:pt x="105350" y="23605"/>
                      <a:pt x="105360" y="52628"/>
                    </a:cubicBezTo>
                    <a:lnTo>
                      <a:pt x="105360" y="52628"/>
                    </a:lnTo>
                    <a:cubicBezTo>
                      <a:pt x="105360" y="81698"/>
                      <a:pt x="81709" y="105339"/>
                      <a:pt x="52639" y="105339"/>
                    </a:cubicBezTo>
                    <a:close/>
                    <a:moveTo>
                      <a:pt x="52639" y="19033"/>
                    </a:moveTo>
                    <a:cubicBezTo>
                      <a:pt x="34122" y="19033"/>
                      <a:pt x="19063" y="34092"/>
                      <a:pt x="19063" y="52609"/>
                    </a:cubicBezTo>
                    <a:cubicBezTo>
                      <a:pt x="19063" y="71173"/>
                      <a:pt x="34122" y="86279"/>
                      <a:pt x="52639" y="86279"/>
                    </a:cubicBezTo>
                    <a:cubicBezTo>
                      <a:pt x="71203" y="86279"/>
                      <a:pt x="86310" y="71182"/>
                      <a:pt x="86310" y="52618"/>
                    </a:cubicBezTo>
                    <a:cubicBezTo>
                      <a:pt x="86300" y="34111"/>
                      <a:pt x="71193" y="19033"/>
                      <a:pt x="52639" y="190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29111155-C74B-EE38-8C10-2516444BDDB1}"/>
                  </a:ext>
                </a:extLst>
              </p:cNvPr>
              <p:cNvSpPr/>
              <p:nvPr/>
            </p:nvSpPr>
            <p:spPr>
              <a:xfrm>
                <a:off x="9389820" y="250924"/>
                <a:ext cx="134616" cy="76790"/>
              </a:xfrm>
              <a:custGeom>
                <a:avLst/>
                <a:gdLst>
                  <a:gd name="connsiteX0" fmla="*/ 125105 w 134616"/>
                  <a:gd name="connsiteY0" fmla="*/ 76783 h 76790"/>
                  <a:gd name="connsiteX1" fmla="*/ 9538 w 134616"/>
                  <a:gd name="connsiteY1" fmla="*/ 76783 h 76790"/>
                  <a:gd name="connsiteX2" fmla="*/ 13 w 134616"/>
                  <a:gd name="connsiteY2" fmla="*/ 67258 h 76790"/>
                  <a:gd name="connsiteX3" fmla="*/ 67279 w 134616"/>
                  <a:gd name="connsiteY3" fmla="*/ -8 h 76790"/>
                  <a:gd name="connsiteX4" fmla="*/ 134630 w 134616"/>
                  <a:gd name="connsiteY4" fmla="*/ 67258 h 76790"/>
                  <a:gd name="connsiteX5" fmla="*/ 125105 w 134616"/>
                  <a:gd name="connsiteY5" fmla="*/ 76783 h 76790"/>
                  <a:gd name="connsiteX6" fmla="*/ 20016 w 134616"/>
                  <a:gd name="connsiteY6" fmla="*/ 57733 h 76790"/>
                  <a:gd name="connsiteX7" fmla="*/ 114637 w 134616"/>
                  <a:gd name="connsiteY7" fmla="*/ 57733 h 76790"/>
                  <a:gd name="connsiteX8" fmla="*/ 67279 w 134616"/>
                  <a:gd name="connsiteY8" fmla="*/ 19042 h 76790"/>
                  <a:gd name="connsiteX9" fmla="*/ 20016 w 134616"/>
                  <a:gd name="connsiteY9" fmla="*/ 57733 h 76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4616" h="76790">
                    <a:moveTo>
                      <a:pt x="125105" y="76783"/>
                    </a:moveTo>
                    <a:lnTo>
                      <a:pt x="9538" y="76783"/>
                    </a:lnTo>
                    <a:cubicBezTo>
                      <a:pt x="4271" y="76783"/>
                      <a:pt x="13" y="72525"/>
                      <a:pt x="13" y="67258"/>
                    </a:cubicBezTo>
                    <a:cubicBezTo>
                      <a:pt x="13" y="30168"/>
                      <a:pt x="30188" y="-8"/>
                      <a:pt x="67279" y="-8"/>
                    </a:cubicBezTo>
                    <a:cubicBezTo>
                      <a:pt x="104417" y="-8"/>
                      <a:pt x="134630" y="30168"/>
                      <a:pt x="134630" y="67258"/>
                    </a:cubicBezTo>
                    <a:cubicBezTo>
                      <a:pt x="134630" y="72516"/>
                      <a:pt x="130372" y="76783"/>
                      <a:pt x="125105" y="76783"/>
                    </a:cubicBezTo>
                    <a:close/>
                    <a:moveTo>
                      <a:pt x="20016" y="57733"/>
                    </a:moveTo>
                    <a:lnTo>
                      <a:pt x="114637" y="57733"/>
                    </a:lnTo>
                    <a:cubicBezTo>
                      <a:pt x="110198" y="35702"/>
                      <a:pt x="90643" y="19042"/>
                      <a:pt x="67279" y="19042"/>
                    </a:cubicBezTo>
                    <a:cubicBezTo>
                      <a:pt x="43961" y="19042"/>
                      <a:pt x="24445" y="35692"/>
                      <a:pt x="20016" y="57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3BB3E20-C43E-D87E-DF6D-968C8E0BC71C}"/>
                  </a:ext>
                </a:extLst>
              </p:cNvPr>
              <p:cNvSpPr/>
              <p:nvPr/>
            </p:nvSpPr>
            <p:spPr>
              <a:xfrm>
                <a:off x="8672349" y="164628"/>
                <a:ext cx="105346" cy="105346"/>
              </a:xfrm>
              <a:custGeom>
                <a:avLst/>
                <a:gdLst>
                  <a:gd name="connsiteX0" fmla="*/ 52639 w 105346"/>
                  <a:gd name="connsiteY0" fmla="*/ 105339 h 105346"/>
                  <a:gd name="connsiteX1" fmla="*/ 13 w 105346"/>
                  <a:gd name="connsiteY1" fmla="*/ 52618 h 105346"/>
                  <a:gd name="connsiteX2" fmla="*/ 52639 w 105346"/>
                  <a:gd name="connsiteY2" fmla="*/ -8 h 105346"/>
                  <a:gd name="connsiteX3" fmla="*/ 105360 w 105346"/>
                  <a:gd name="connsiteY3" fmla="*/ 52618 h 105346"/>
                  <a:gd name="connsiteX4" fmla="*/ 52639 w 105346"/>
                  <a:gd name="connsiteY4" fmla="*/ 105339 h 105346"/>
                  <a:gd name="connsiteX5" fmla="*/ 52639 w 105346"/>
                  <a:gd name="connsiteY5" fmla="*/ 19033 h 105346"/>
                  <a:gd name="connsiteX6" fmla="*/ 19063 w 105346"/>
                  <a:gd name="connsiteY6" fmla="*/ 52609 h 105346"/>
                  <a:gd name="connsiteX7" fmla="*/ 52639 w 105346"/>
                  <a:gd name="connsiteY7" fmla="*/ 86279 h 105346"/>
                  <a:gd name="connsiteX8" fmla="*/ 86310 w 105346"/>
                  <a:gd name="connsiteY8" fmla="*/ 52609 h 105346"/>
                  <a:gd name="connsiteX9" fmla="*/ 52639 w 105346"/>
                  <a:gd name="connsiteY9" fmla="*/ 19033 h 10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5346" h="105346">
                    <a:moveTo>
                      <a:pt x="52639" y="105339"/>
                    </a:moveTo>
                    <a:cubicBezTo>
                      <a:pt x="23616" y="105339"/>
                      <a:pt x="13" y="81688"/>
                      <a:pt x="13" y="52618"/>
                    </a:cubicBezTo>
                    <a:cubicBezTo>
                      <a:pt x="13" y="23595"/>
                      <a:pt x="23626" y="-8"/>
                      <a:pt x="52639" y="-8"/>
                    </a:cubicBezTo>
                    <a:cubicBezTo>
                      <a:pt x="81709" y="-8"/>
                      <a:pt x="105360" y="23605"/>
                      <a:pt x="105360" y="52618"/>
                    </a:cubicBezTo>
                    <a:cubicBezTo>
                      <a:pt x="105360" y="81688"/>
                      <a:pt x="81709" y="105339"/>
                      <a:pt x="52639" y="105339"/>
                    </a:cubicBezTo>
                    <a:close/>
                    <a:moveTo>
                      <a:pt x="52639" y="19033"/>
                    </a:moveTo>
                    <a:cubicBezTo>
                      <a:pt x="34122" y="19033"/>
                      <a:pt x="19063" y="34092"/>
                      <a:pt x="19063" y="52609"/>
                    </a:cubicBezTo>
                    <a:cubicBezTo>
                      <a:pt x="19063" y="71173"/>
                      <a:pt x="34132" y="86279"/>
                      <a:pt x="52639" y="86279"/>
                    </a:cubicBezTo>
                    <a:cubicBezTo>
                      <a:pt x="71203" y="86279"/>
                      <a:pt x="86310" y="71173"/>
                      <a:pt x="86310" y="52609"/>
                    </a:cubicBezTo>
                    <a:cubicBezTo>
                      <a:pt x="86310" y="34101"/>
                      <a:pt x="71212" y="19033"/>
                      <a:pt x="52639" y="190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78341F4-A5E3-AB10-DFF7-0B915450C92C}"/>
                  </a:ext>
                </a:extLst>
              </p:cNvPr>
              <p:cNvSpPr/>
              <p:nvPr/>
            </p:nvSpPr>
            <p:spPr>
              <a:xfrm>
                <a:off x="8657719" y="250924"/>
                <a:ext cx="134616" cy="76790"/>
              </a:xfrm>
              <a:custGeom>
                <a:avLst/>
                <a:gdLst>
                  <a:gd name="connsiteX0" fmla="*/ 125095 w 134616"/>
                  <a:gd name="connsiteY0" fmla="*/ 76783 h 76790"/>
                  <a:gd name="connsiteX1" fmla="*/ 9538 w 134616"/>
                  <a:gd name="connsiteY1" fmla="*/ 76783 h 76790"/>
                  <a:gd name="connsiteX2" fmla="*/ 13 w 134616"/>
                  <a:gd name="connsiteY2" fmla="*/ 67258 h 76790"/>
                  <a:gd name="connsiteX3" fmla="*/ 67279 w 134616"/>
                  <a:gd name="connsiteY3" fmla="*/ -8 h 76790"/>
                  <a:gd name="connsiteX4" fmla="*/ 134630 w 134616"/>
                  <a:gd name="connsiteY4" fmla="*/ 67258 h 76790"/>
                  <a:gd name="connsiteX5" fmla="*/ 125095 w 134616"/>
                  <a:gd name="connsiteY5" fmla="*/ 76783 h 76790"/>
                  <a:gd name="connsiteX6" fmla="*/ 20006 w 134616"/>
                  <a:gd name="connsiteY6" fmla="*/ 57733 h 76790"/>
                  <a:gd name="connsiteX7" fmla="*/ 114627 w 134616"/>
                  <a:gd name="connsiteY7" fmla="*/ 57733 h 76790"/>
                  <a:gd name="connsiteX8" fmla="*/ 67279 w 134616"/>
                  <a:gd name="connsiteY8" fmla="*/ 19042 h 76790"/>
                  <a:gd name="connsiteX9" fmla="*/ 20006 w 134616"/>
                  <a:gd name="connsiteY9" fmla="*/ 57733 h 76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4616" h="76790">
                    <a:moveTo>
                      <a:pt x="125095" y="76783"/>
                    </a:moveTo>
                    <a:lnTo>
                      <a:pt x="9538" y="76783"/>
                    </a:lnTo>
                    <a:cubicBezTo>
                      <a:pt x="4280" y="76783"/>
                      <a:pt x="13" y="72525"/>
                      <a:pt x="13" y="67258"/>
                    </a:cubicBezTo>
                    <a:cubicBezTo>
                      <a:pt x="13" y="30168"/>
                      <a:pt x="30188" y="-8"/>
                      <a:pt x="67279" y="-8"/>
                    </a:cubicBezTo>
                    <a:cubicBezTo>
                      <a:pt x="104417" y="-8"/>
                      <a:pt x="134630" y="30168"/>
                      <a:pt x="134630" y="67258"/>
                    </a:cubicBezTo>
                    <a:cubicBezTo>
                      <a:pt x="134620" y="72516"/>
                      <a:pt x="130363" y="76783"/>
                      <a:pt x="125095" y="76783"/>
                    </a:cubicBezTo>
                    <a:close/>
                    <a:moveTo>
                      <a:pt x="20006" y="57733"/>
                    </a:moveTo>
                    <a:lnTo>
                      <a:pt x="114627" y="57733"/>
                    </a:lnTo>
                    <a:cubicBezTo>
                      <a:pt x="110189" y="35702"/>
                      <a:pt x="90643" y="19042"/>
                      <a:pt x="67279" y="19042"/>
                    </a:cubicBezTo>
                    <a:cubicBezTo>
                      <a:pt x="43952" y="19042"/>
                      <a:pt x="24435" y="35692"/>
                      <a:pt x="20006" y="57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FFB2A28F-A9EC-48E0-8629-D388B3F2787F}"/>
                  </a:ext>
                </a:extLst>
              </p:cNvPr>
              <p:cNvSpPr/>
              <p:nvPr/>
            </p:nvSpPr>
            <p:spPr>
              <a:xfrm>
                <a:off x="9404460" y="530683"/>
                <a:ext cx="105346" cy="105346"/>
              </a:xfrm>
              <a:custGeom>
                <a:avLst/>
                <a:gdLst>
                  <a:gd name="connsiteX0" fmla="*/ 52639 w 105346"/>
                  <a:gd name="connsiteY0" fmla="*/ 105339 h 105346"/>
                  <a:gd name="connsiteX1" fmla="*/ 13 w 105346"/>
                  <a:gd name="connsiteY1" fmla="*/ 52618 h 105346"/>
                  <a:gd name="connsiteX2" fmla="*/ 52639 w 105346"/>
                  <a:gd name="connsiteY2" fmla="*/ -8 h 105346"/>
                  <a:gd name="connsiteX3" fmla="*/ 105360 w 105346"/>
                  <a:gd name="connsiteY3" fmla="*/ 52618 h 105346"/>
                  <a:gd name="connsiteX4" fmla="*/ 52639 w 105346"/>
                  <a:gd name="connsiteY4" fmla="*/ 105339 h 105346"/>
                  <a:gd name="connsiteX5" fmla="*/ 52639 w 105346"/>
                  <a:gd name="connsiteY5" fmla="*/ 19033 h 105346"/>
                  <a:gd name="connsiteX6" fmla="*/ 19063 w 105346"/>
                  <a:gd name="connsiteY6" fmla="*/ 52609 h 105346"/>
                  <a:gd name="connsiteX7" fmla="*/ 52639 w 105346"/>
                  <a:gd name="connsiteY7" fmla="*/ 86279 h 105346"/>
                  <a:gd name="connsiteX8" fmla="*/ 86310 w 105346"/>
                  <a:gd name="connsiteY8" fmla="*/ 52609 h 105346"/>
                  <a:gd name="connsiteX9" fmla="*/ 52639 w 105346"/>
                  <a:gd name="connsiteY9" fmla="*/ 19033 h 10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5346" h="105346">
                    <a:moveTo>
                      <a:pt x="52639" y="105339"/>
                    </a:moveTo>
                    <a:cubicBezTo>
                      <a:pt x="23616" y="105339"/>
                      <a:pt x="13" y="81688"/>
                      <a:pt x="13" y="52618"/>
                    </a:cubicBezTo>
                    <a:cubicBezTo>
                      <a:pt x="13" y="23595"/>
                      <a:pt x="23625" y="-8"/>
                      <a:pt x="52639" y="-8"/>
                    </a:cubicBezTo>
                    <a:cubicBezTo>
                      <a:pt x="81709" y="-8"/>
                      <a:pt x="105360" y="23605"/>
                      <a:pt x="105360" y="52618"/>
                    </a:cubicBezTo>
                    <a:cubicBezTo>
                      <a:pt x="105360" y="81679"/>
                      <a:pt x="81709" y="105339"/>
                      <a:pt x="52639" y="105339"/>
                    </a:cubicBezTo>
                    <a:close/>
                    <a:moveTo>
                      <a:pt x="52639" y="19033"/>
                    </a:moveTo>
                    <a:cubicBezTo>
                      <a:pt x="34122" y="19033"/>
                      <a:pt x="19063" y="34092"/>
                      <a:pt x="19063" y="52609"/>
                    </a:cubicBezTo>
                    <a:cubicBezTo>
                      <a:pt x="19063" y="71173"/>
                      <a:pt x="34122" y="86279"/>
                      <a:pt x="52639" y="86279"/>
                    </a:cubicBezTo>
                    <a:cubicBezTo>
                      <a:pt x="71203" y="86279"/>
                      <a:pt x="86310" y="71173"/>
                      <a:pt x="86310" y="52609"/>
                    </a:cubicBezTo>
                    <a:cubicBezTo>
                      <a:pt x="86310" y="34092"/>
                      <a:pt x="71203" y="19033"/>
                      <a:pt x="52639" y="190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888C7B9-85E9-E424-B7FF-65E1896D3333}"/>
                  </a:ext>
                </a:extLst>
              </p:cNvPr>
              <p:cNvSpPr/>
              <p:nvPr/>
            </p:nvSpPr>
            <p:spPr>
              <a:xfrm>
                <a:off x="9389820" y="616970"/>
                <a:ext cx="134616" cy="76790"/>
              </a:xfrm>
              <a:custGeom>
                <a:avLst/>
                <a:gdLst>
                  <a:gd name="connsiteX0" fmla="*/ 125105 w 134616"/>
                  <a:gd name="connsiteY0" fmla="*/ 76783 h 76790"/>
                  <a:gd name="connsiteX1" fmla="*/ 9538 w 134616"/>
                  <a:gd name="connsiteY1" fmla="*/ 76783 h 76790"/>
                  <a:gd name="connsiteX2" fmla="*/ 13 w 134616"/>
                  <a:gd name="connsiteY2" fmla="*/ 67258 h 76790"/>
                  <a:gd name="connsiteX3" fmla="*/ 67279 w 134616"/>
                  <a:gd name="connsiteY3" fmla="*/ -8 h 76790"/>
                  <a:gd name="connsiteX4" fmla="*/ 134630 w 134616"/>
                  <a:gd name="connsiteY4" fmla="*/ 67258 h 76790"/>
                  <a:gd name="connsiteX5" fmla="*/ 125105 w 134616"/>
                  <a:gd name="connsiteY5" fmla="*/ 76783 h 76790"/>
                  <a:gd name="connsiteX6" fmla="*/ 20016 w 134616"/>
                  <a:gd name="connsiteY6" fmla="*/ 57733 h 76790"/>
                  <a:gd name="connsiteX7" fmla="*/ 114637 w 134616"/>
                  <a:gd name="connsiteY7" fmla="*/ 57733 h 76790"/>
                  <a:gd name="connsiteX8" fmla="*/ 67279 w 134616"/>
                  <a:gd name="connsiteY8" fmla="*/ 19042 h 76790"/>
                  <a:gd name="connsiteX9" fmla="*/ 20016 w 134616"/>
                  <a:gd name="connsiteY9" fmla="*/ 57733 h 76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4616" h="76790">
                    <a:moveTo>
                      <a:pt x="125105" y="76783"/>
                    </a:moveTo>
                    <a:lnTo>
                      <a:pt x="9538" y="76783"/>
                    </a:lnTo>
                    <a:cubicBezTo>
                      <a:pt x="4271" y="76783"/>
                      <a:pt x="13" y="72525"/>
                      <a:pt x="13" y="67258"/>
                    </a:cubicBezTo>
                    <a:cubicBezTo>
                      <a:pt x="13" y="30168"/>
                      <a:pt x="30188" y="-8"/>
                      <a:pt x="67279" y="-8"/>
                    </a:cubicBezTo>
                    <a:cubicBezTo>
                      <a:pt x="104417" y="-8"/>
                      <a:pt x="134630" y="30168"/>
                      <a:pt x="134630" y="67258"/>
                    </a:cubicBezTo>
                    <a:cubicBezTo>
                      <a:pt x="134630" y="72525"/>
                      <a:pt x="130372" y="76783"/>
                      <a:pt x="125105" y="76783"/>
                    </a:cubicBezTo>
                    <a:close/>
                    <a:moveTo>
                      <a:pt x="20016" y="57733"/>
                    </a:moveTo>
                    <a:lnTo>
                      <a:pt x="114637" y="57733"/>
                    </a:lnTo>
                    <a:cubicBezTo>
                      <a:pt x="110198" y="35702"/>
                      <a:pt x="90643" y="19042"/>
                      <a:pt x="67279" y="19042"/>
                    </a:cubicBezTo>
                    <a:cubicBezTo>
                      <a:pt x="43961" y="19052"/>
                      <a:pt x="24445" y="35702"/>
                      <a:pt x="20016" y="57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9D0C9D1A-17B4-9490-375F-BCF55CE85E50}"/>
                  </a:ext>
                </a:extLst>
              </p:cNvPr>
              <p:cNvSpPr/>
              <p:nvPr/>
            </p:nvSpPr>
            <p:spPr>
              <a:xfrm>
                <a:off x="8672359" y="-201417"/>
                <a:ext cx="105346" cy="105346"/>
              </a:xfrm>
              <a:custGeom>
                <a:avLst/>
                <a:gdLst>
                  <a:gd name="connsiteX0" fmla="*/ 52639 w 105346"/>
                  <a:gd name="connsiteY0" fmla="*/ 105339 h 105346"/>
                  <a:gd name="connsiteX1" fmla="*/ 13 w 105346"/>
                  <a:gd name="connsiteY1" fmla="*/ 52628 h 105346"/>
                  <a:gd name="connsiteX2" fmla="*/ 52639 w 105346"/>
                  <a:gd name="connsiteY2" fmla="*/ -8 h 105346"/>
                  <a:gd name="connsiteX3" fmla="*/ 105360 w 105346"/>
                  <a:gd name="connsiteY3" fmla="*/ 52628 h 105346"/>
                  <a:gd name="connsiteX4" fmla="*/ 52639 w 105346"/>
                  <a:gd name="connsiteY4" fmla="*/ 105339 h 105346"/>
                  <a:gd name="connsiteX5" fmla="*/ 52639 w 105346"/>
                  <a:gd name="connsiteY5" fmla="*/ 19042 h 105346"/>
                  <a:gd name="connsiteX6" fmla="*/ 19063 w 105346"/>
                  <a:gd name="connsiteY6" fmla="*/ 52628 h 105346"/>
                  <a:gd name="connsiteX7" fmla="*/ 52639 w 105346"/>
                  <a:gd name="connsiteY7" fmla="*/ 86289 h 105346"/>
                  <a:gd name="connsiteX8" fmla="*/ 86310 w 105346"/>
                  <a:gd name="connsiteY8" fmla="*/ 52628 h 105346"/>
                  <a:gd name="connsiteX9" fmla="*/ 52639 w 105346"/>
                  <a:gd name="connsiteY9" fmla="*/ 19042 h 10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5346" h="105346">
                    <a:moveTo>
                      <a:pt x="52639" y="105339"/>
                    </a:moveTo>
                    <a:cubicBezTo>
                      <a:pt x="23616" y="105339"/>
                      <a:pt x="13" y="81698"/>
                      <a:pt x="13" y="52628"/>
                    </a:cubicBezTo>
                    <a:cubicBezTo>
                      <a:pt x="13" y="23605"/>
                      <a:pt x="23626" y="-8"/>
                      <a:pt x="52639" y="-8"/>
                    </a:cubicBezTo>
                    <a:cubicBezTo>
                      <a:pt x="81709" y="-8"/>
                      <a:pt x="105360" y="23605"/>
                      <a:pt x="105360" y="52628"/>
                    </a:cubicBezTo>
                    <a:cubicBezTo>
                      <a:pt x="105350" y="81698"/>
                      <a:pt x="81709" y="105339"/>
                      <a:pt x="52639" y="105339"/>
                    </a:cubicBezTo>
                    <a:close/>
                    <a:moveTo>
                      <a:pt x="52639" y="19042"/>
                    </a:moveTo>
                    <a:cubicBezTo>
                      <a:pt x="34122" y="19042"/>
                      <a:pt x="19063" y="34111"/>
                      <a:pt x="19063" y="52628"/>
                    </a:cubicBezTo>
                    <a:cubicBezTo>
                      <a:pt x="19063" y="71192"/>
                      <a:pt x="34132" y="86289"/>
                      <a:pt x="52639" y="86289"/>
                    </a:cubicBezTo>
                    <a:cubicBezTo>
                      <a:pt x="71203" y="86289"/>
                      <a:pt x="86310" y="71192"/>
                      <a:pt x="86310" y="52628"/>
                    </a:cubicBezTo>
                    <a:cubicBezTo>
                      <a:pt x="86300" y="34111"/>
                      <a:pt x="71203" y="19042"/>
                      <a:pt x="52639" y="1904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FBC56A90-5B67-67BD-A806-69788CA16123}"/>
                  </a:ext>
                </a:extLst>
              </p:cNvPr>
              <p:cNvSpPr/>
              <p:nvPr/>
            </p:nvSpPr>
            <p:spPr>
              <a:xfrm>
                <a:off x="8657719" y="-115120"/>
                <a:ext cx="134616" cy="76790"/>
              </a:xfrm>
              <a:custGeom>
                <a:avLst/>
                <a:gdLst>
                  <a:gd name="connsiteX0" fmla="*/ 125105 w 134616"/>
                  <a:gd name="connsiteY0" fmla="*/ 76783 h 76790"/>
                  <a:gd name="connsiteX1" fmla="*/ 9538 w 134616"/>
                  <a:gd name="connsiteY1" fmla="*/ 76783 h 76790"/>
                  <a:gd name="connsiteX2" fmla="*/ 13 w 134616"/>
                  <a:gd name="connsiteY2" fmla="*/ 67258 h 76790"/>
                  <a:gd name="connsiteX3" fmla="*/ 67279 w 134616"/>
                  <a:gd name="connsiteY3" fmla="*/ -8 h 76790"/>
                  <a:gd name="connsiteX4" fmla="*/ 134630 w 134616"/>
                  <a:gd name="connsiteY4" fmla="*/ 67258 h 76790"/>
                  <a:gd name="connsiteX5" fmla="*/ 125105 w 134616"/>
                  <a:gd name="connsiteY5" fmla="*/ 76783 h 76790"/>
                  <a:gd name="connsiteX6" fmla="*/ 20006 w 134616"/>
                  <a:gd name="connsiteY6" fmla="*/ 57733 h 76790"/>
                  <a:gd name="connsiteX7" fmla="*/ 114627 w 134616"/>
                  <a:gd name="connsiteY7" fmla="*/ 57733 h 76790"/>
                  <a:gd name="connsiteX8" fmla="*/ 67279 w 134616"/>
                  <a:gd name="connsiteY8" fmla="*/ 19042 h 76790"/>
                  <a:gd name="connsiteX9" fmla="*/ 20006 w 134616"/>
                  <a:gd name="connsiteY9" fmla="*/ 57733 h 76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4616" h="76790">
                    <a:moveTo>
                      <a:pt x="125105" y="76783"/>
                    </a:moveTo>
                    <a:lnTo>
                      <a:pt x="9538" y="76783"/>
                    </a:lnTo>
                    <a:cubicBezTo>
                      <a:pt x="4280" y="76783"/>
                      <a:pt x="13" y="72525"/>
                      <a:pt x="13" y="67258"/>
                    </a:cubicBezTo>
                    <a:cubicBezTo>
                      <a:pt x="13" y="30168"/>
                      <a:pt x="30188" y="-8"/>
                      <a:pt x="67279" y="-8"/>
                    </a:cubicBezTo>
                    <a:cubicBezTo>
                      <a:pt x="104417" y="-8"/>
                      <a:pt x="134630" y="30168"/>
                      <a:pt x="134630" y="67258"/>
                    </a:cubicBezTo>
                    <a:cubicBezTo>
                      <a:pt x="134630" y="72516"/>
                      <a:pt x="130363" y="76783"/>
                      <a:pt x="125105" y="76783"/>
                    </a:cubicBezTo>
                    <a:close/>
                    <a:moveTo>
                      <a:pt x="20006" y="57733"/>
                    </a:moveTo>
                    <a:lnTo>
                      <a:pt x="114627" y="57733"/>
                    </a:lnTo>
                    <a:cubicBezTo>
                      <a:pt x="110189" y="35702"/>
                      <a:pt x="90643" y="19042"/>
                      <a:pt x="67279" y="19042"/>
                    </a:cubicBezTo>
                    <a:cubicBezTo>
                      <a:pt x="43952" y="19042"/>
                      <a:pt x="24445" y="35692"/>
                      <a:pt x="20006" y="57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CB4BF8D-1FB5-5640-00CE-FADC98134465}"/>
                  </a:ext>
                </a:extLst>
              </p:cNvPr>
              <p:cNvSpPr/>
              <p:nvPr/>
            </p:nvSpPr>
            <p:spPr>
              <a:xfrm>
                <a:off x="9287407" y="237501"/>
                <a:ext cx="57607" cy="16668"/>
              </a:xfrm>
              <a:custGeom>
                <a:avLst/>
                <a:gdLst>
                  <a:gd name="connsiteX0" fmla="*/ 49286 w 57607"/>
                  <a:gd name="connsiteY0" fmla="*/ 16661 h 16668"/>
                  <a:gd name="connsiteX1" fmla="*/ 8347 w 57607"/>
                  <a:gd name="connsiteY1" fmla="*/ 16661 h 16668"/>
                  <a:gd name="connsiteX2" fmla="*/ 13 w 57607"/>
                  <a:gd name="connsiteY2" fmla="*/ 8327 h 16668"/>
                  <a:gd name="connsiteX3" fmla="*/ 8347 w 57607"/>
                  <a:gd name="connsiteY3" fmla="*/ -8 h 16668"/>
                  <a:gd name="connsiteX4" fmla="*/ 49286 w 57607"/>
                  <a:gd name="connsiteY4" fmla="*/ -8 h 16668"/>
                  <a:gd name="connsiteX5" fmla="*/ 57620 w 57607"/>
                  <a:gd name="connsiteY5" fmla="*/ 8327 h 16668"/>
                  <a:gd name="connsiteX6" fmla="*/ 49286 w 57607"/>
                  <a:gd name="connsiteY6" fmla="*/ 16661 h 16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607" h="16668">
                    <a:moveTo>
                      <a:pt x="49286" y="16661"/>
                    </a:moveTo>
                    <a:lnTo>
                      <a:pt x="8347" y="16661"/>
                    </a:lnTo>
                    <a:cubicBezTo>
                      <a:pt x="3747" y="16661"/>
                      <a:pt x="13" y="12927"/>
                      <a:pt x="13" y="8327"/>
                    </a:cubicBezTo>
                    <a:cubicBezTo>
                      <a:pt x="13" y="3726"/>
                      <a:pt x="3747" y="-8"/>
                      <a:pt x="8347" y="-8"/>
                    </a:cubicBezTo>
                    <a:lnTo>
                      <a:pt x="49286" y="-8"/>
                    </a:lnTo>
                    <a:cubicBezTo>
                      <a:pt x="53886" y="-8"/>
                      <a:pt x="57620" y="3726"/>
                      <a:pt x="57620" y="8327"/>
                    </a:cubicBezTo>
                    <a:cubicBezTo>
                      <a:pt x="57620" y="12927"/>
                      <a:pt x="53896" y="16661"/>
                      <a:pt x="49286" y="1666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D357C560-7287-75A1-68EF-072208AE0A5F}"/>
                  </a:ext>
                </a:extLst>
              </p:cNvPr>
              <p:cNvSpPr/>
              <p:nvPr/>
            </p:nvSpPr>
            <p:spPr>
              <a:xfrm>
                <a:off x="9276160" y="-14104"/>
                <a:ext cx="75257" cy="75361"/>
              </a:xfrm>
              <a:custGeom>
                <a:avLst/>
                <a:gdLst>
                  <a:gd name="connsiteX0" fmla="*/ 8347 w 75257"/>
                  <a:gd name="connsiteY0" fmla="*/ 75354 h 75361"/>
                  <a:gd name="connsiteX1" fmla="*/ 2461 w 75257"/>
                  <a:gd name="connsiteY1" fmla="*/ 72916 h 75361"/>
                  <a:gd name="connsiteX2" fmla="*/ 2451 w 75257"/>
                  <a:gd name="connsiteY2" fmla="*/ 61133 h 75361"/>
                  <a:gd name="connsiteX3" fmla="*/ 61040 w 75257"/>
                  <a:gd name="connsiteY3" fmla="*/ 2440 h 75361"/>
                  <a:gd name="connsiteX4" fmla="*/ 72822 w 75257"/>
                  <a:gd name="connsiteY4" fmla="*/ 2431 h 75361"/>
                  <a:gd name="connsiteX5" fmla="*/ 72832 w 75257"/>
                  <a:gd name="connsiteY5" fmla="*/ 14213 h 75361"/>
                  <a:gd name="connsiteX6" fmla="*/ 14243 w 75257"/>
                  <a:gd name="connsiteY6" fmla="*/ 72906 h 75361"/>
                  <a:gd name="connsiteX7" fmla="*/ 8347 w 75257"/>
                  <a:gd name="connsiteY7" fmla="*/ 75354 h 75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5257" h="75361">
                    <a:moveTo>
                      <a:pt x="8347" y="75354"/>
                    </a:moveTo>
                    <a:cubicBezTo>
                      <a:pt x="6214" y="75354"/>
                      <a:pt x="4090" y="74545"/>
                      <a:pt x="2461" y="72916"/>
                    </a:cubicBezTo>
                    <a:cubicBezTo>
                      <a:pt x="-797" y="69668"/>
                      <a:pt x="-806" y="64381"/>
                      <a:pt x="2451" y="61133"/>
                    </a:cubicBezTo>
                    <a:lnTo>
                      <a:pt x="61040" y="2440"/>
                    </a:lnTo>
                    <a:cubicBezTo>
                      <a:pt x="64288" y="-808"/>
                      <a:pt x="69565" y="-836"/>
                      <a:pt x="72822" y="2431"/>
                    </a:cubicBezTo>
                    <a:cubicBezTo>
                      <a:pt x="76080" y="5679"/>
                      <a:pt x="76089" y="10965"/>
                      <a:pt x="72832" y="14213"/>
                    </a:cubicBezTo>
                    <a:lnTo>
                      <a:pt x="14243" y="72906"/>
                    </a:lnTo>
                    <a:cubicBezTo>
                      <a:pt x="12624" y="74535"/>
                      <a:pt x="10491" y="75354"/>
                      <a:pt x="8347" y="7535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675588B-E54B-3179-5297-FB93B2C5644F}"/>
                  </a:ext>
                </a:extLst>
              </p:cNvPr>
              <p:cNvSpPr/>
              <p:nvPr/>
            </p:nvSpPr>
            <p:spPr>
              <a:xfrm>
                <a:off x="8830738" y="237755"/>
                <a:ext cx="57826" cy="16668"/>
              </a:xfrm>
              <a:custGeom>
                <a:avLst/>
                <a:gdLst>
                  <a:gd name="connsiteX0" fmla="*/ 49495 w 57826"/>
                  <a:gd name="connsiteY0" fmla="*/ 16661 h 16668"/>
                  <a:gd name="connsiteX1" fmla="*/ 8566 w 57826"/>
                  <a:gd name="connsiteY1" fmla="*/ 16661 h 16668"/>
                  <a:gd name="connsiteX2" fmla="*/ 13 w 57826"/>
                  <a:gd name="connsiteY2" fmla="*/ 8327 h 16668"/>
                  <a:gd name="connsiteX3" fmla="*/ 8138 w 57826"/>
                  <a:gd name="connsiteY3" fmla="*/ -8 h 16668"/>
                  <a:gd name="connsiteX4" fmla="*/ 49505 w 57826"/>
                  <a:gd name="connsiteY4" fmla="*/ -8 h 16668"/>
                  <a:gd name="connsiteX5" fmla="*/ 57839 w 57826"/>
                  <a:gd name="connsiteY5" fmla="*/ 8327 h 16668"/>
                  <a:gd name="connsiteX6" fmla="*/ 49495 w 57826"/>
                  <a:gd name="connsiteY6" fmla="*/ 16661 h 16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826" h="16668">
                    <a:moveTo>
                      <a:pt x="49495" y="16661"/>
                    </a:moveTo>
                    <a:lnTo>
                      <a:pt x="8566" y="16661"/>
                    </a:lnTo>
                    <a:cubicBezTo>
                      <a:pt x="3966" y="16661"/>
                      <a:pt x="13" y="12927"/>
                      <a:pt x="13" y="8327"/>
                    </a:cubicBezTo>
                    <a:cubicBezTo>
                      <a:pt x="13" y="3726"/>
                      <a:pt x="3528" y="-8"/>
                      <a:pt x="8138" y="-8"/>
                    </a:cubicBezTo>
                    <a:lnTo>
                      <a:pt x="49505" y="-8"/>
                    </a:lnTo>
                    <a:cubicBezTo>
                      <a:pt x="54106" y="-8"/>
                      <a:pt x="57839" y="3726"/>
                      <a:pt x="57839" y="8327"/>
                    </a:cubicBezTo>
                    <a:cubicBezTo>
                      <a:pt x="57839" y="12927"/>
                      <a:pt x="54106" y="16661"/>
                      <a:pt x="49495" y="1666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9686E23-7306-CB26-D314-7DD22DCF2FD2}"/>
                  </a:ext>
                </a:extLst>
              </p:cNvPr>
              <p:cNvSpPr/>
              <p:nvPr/>
            </p:nvSpPr>
            <p:spPr>
              <a:xfrm>
                <a:off x="9089141" y="448841"/>
                <a:ext cx="16668" cy="57607"/>
              </a:xfrm>
              <a:custGeom>
                <a:avLst/>
                <a:gdLst>
                  <a:gd name="connsiteX0" fmla="*/ 16682 w 16668"/>
                  <a:gd name="connsiteY0" fmla="*/ 49265 h 57607"/>
                  <a:gd name="connsiteX1" fmla="*/ 16682 w 16668"/>
                  <a:gd name="connsiteY1" fmla="*/ 8327 h 57607"/>
                  <a:gd name="connsiteX2" fmla="*/ 8347 w 16668"/>
                  <a:gd name="connsiteY2" fmla="*/ -8 h 57607"/>
                  <a:gd name="connsiteX3" fmla="*/ 13 w 16668"/>
                  <a:gd name="connsiteY3" fmla="*/ 8327 h 57607"/>
                  <a:gd name="connsiteX4" fmla="*/ 13 w 16668"/>
                  <a:gd name="connsiteY4" fmla="*/ 49265 h 57607"/>
                  <a:gd name="connsiteX5" fmla="*/ 8347 w 16668"/>
                  <a:gd name="connsiteY5" fmla="*/ 57600 h 57607"/>
                  <a:gd name="connsiteX6" fmla="*/ 16682 w 16668"/>
                  <a:gd name="connsiteY6" fmla="*/ 49265 h 57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68" h="57607">
                    <a:moveTo>
                      <a:pt x="16682" y="49265"/>
                    </a:moveTo>
                    <a:lnTo>
                      <a:pt x="16682" y="8327"/>
                    </a:lnTo>
                    <a:cubicBezTo>
                      <a:pt x="16682" y="3726"/>
                      <a:pt x="12948" y="-8"/>
                      <a:pt x="8347" y="-8"/>
                    </a:cubicBezTo>
                    <a:cubicBezTo>
                      <a:pt x="3747" y="-8"/>
                      <a:pt x="13" y="3726"/>
                      <a:pt x="13" y="8327"/>
                    </a:cubicBezTo>
                    <a:lnTo>
                      <a:pt x="13" y="49265"/>
                    </a:lnTo>
                    <a:cubicBezTo>
                      <a:pt x="13" y="53866"/>
                      <a:pt x="3747" y="57600"/>
                      <a:pt x="8347" y="57600"/>
                    </a:cubicBezTo>
                    <a:cubicBezTo>
                      <a:pt x="12948" y="57600"/>
                      <a:pt x="16682" y="53875"/>
                      <a:pt x="16682" y="492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20EC29D0-DAD4-7E83-13F7-FDF1283EE658}"/>
                  </a:ext>
                </a:extLst>
              </p:cNvPr>
              <p:cNvSpPr/>
              <p:nvPr/>
            </p:nvSpPr>
            <p:spPr>
              <a:xfrm>
                <a:off x="9089255" y="-14104"/>
                <a:ext cx="16668" cy="57826"/>
              </a:xfrm>
              <a:custGeom>
                <a:avLst/>
                <a:gdLst>
                  <a:gd name="connsiteX0" fmla="*/ 16682 w 16668"/>
                  <a:gd name="connsiteY0" fmla="*/ 49475 h 57826"/>
                  <a:gd name="connsiteX1" fmla="*/ 16682 w 16668"/>
                  <a:gd name="connsiteY1" fmla="*/ 8546 h 57826"/>
                  <a:gd name="connsiteX2" fmla="*/ 8347 w 16668"/>
                  <a:gd name="connsiteY2" fmla="*/ -8 h 57826"/>
                  <a:gd name="connsiteX3" fmla="*/ 13 w 16668"/>
                  <a:gd name="connsiteY3" fmla="*/ 8117 h 57826"/>
                  <a:gd name="connsiteX4" fmla="*/ 13 w 16668"/>
                  <a:gd name="connsiteY4" fmla="*/ 49484 h 57826"/>
                  <a:gd name="connsiteX5" fmla="*/ 8347 w 16668"/>
                  <a:gd name="connsiteY5" fmla="*/ 57819 h 57826"/>
                  <a:gd name="connsiteX6" fmla="*/ 16682 w 16668"/>
                  <a:gd name="connsiteY6" fmla="*/ 49475 h 5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68" h="57826">
                    <a:moveTo>
                      <a:pt x="16682" y="49475"/>
                    </a:moveTo>
                    <a:lnTo>
                      <a:pt x="16682" y="8546"/>
                    </a:lnTo>
                    <a:cubicBezTo>
                      <a:pt x="16682" y="3945"/>
                      <a:pt x="12948" y="-8"/>
                      <a:pt x="8347" y="-8"/>
                    </a:cubicBezTo>
                    <a:cubicBezTo>
                      <a:pt x="3747" y="-8"/>
                      <a:pt x="13" y="3507"/>
                      <a:pt x="13" y="8117"/>
                    </a:cubicBezTo>
                    <a:lnTo>
                      <a:pt x="13" y="49484"/>
                    </a:lnTo>
                    <a:cubicBezTo>
                      <a:pt x="13" y="54085"/>
                      <a:pt x="3747" y="57819"/>
                      <a:pt x="8347" y="57819"/>
                    </a:cubicBezTo>
                    <a:cubicBezTo>
                      <a:pt x="12948" y="57819"/>
                      <a:pt x="16682" y="54085"/>
                      <a:pt x="16682" y="494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2198250-7268-8654-B203-FA81AF14EB09}"/>
                  </a:ext>
                </a:extLst>
              </p:cNvPr>
              <p:cNvSpPr/>
              <p:nvPr/>
            </p:nvSpPr>
            <p:spPr>
              <a:xfrm>
                <a:off x="9275731" y="430758"/>
                <a:ext cx="75685" cy="75690"/>
              </a:xfrm>
              <a:custGeom>
                <a:avLst/>
                <a:gdLst>
                  <a:gd name="connsiteX0" fmla="*/ 67360 w 75685"/>
                  <a:gd name="connsiteY0" fmla="*/ 75683 h 75690"/>
                  <a:gd name="connsiteX1" fmla="*/ 61464 w 75685"/>
                  <a:gd name="connsiteY1" fmla="*/ 73244 h 75690"/>
                  <a:gd name="connsiteX2" fmla="*/ 2456 w 75685"/>
                  <a:gd name="connsiteY2" fmla="*/ 14228 h 75690"/>
                  <a:gd name="connsiteX3" fmla="*/ 2456 w 75685"/>
                  <a:gd name="connsiteY3" fmla="*/ 2436 h 75690"/>
                  <a:gd name="connsiteX4" fmla="*/ 14248 w 75685"/>
                  <a:gd name="connsiteY4" fmla="*/ 2436 h 75690"/>
                  <a:gd name="connsiteX5" fmla="*/ 73256 w 75685"/>
                  <a:gd name="connsiteY5" fmla="*/ 61453 h 75690"/>
                  <a:gd name="connsiteX6" fmla="*/ 73256 w 75685"/>
                  <a:gd name="connsiteY6" fmla="*/ 73244 h 75690"/>
                  <a:gd name="connsiteX7" fmla="*/ 67360 w 75685"/>
                  <a:gd name="connsiteY7" fmla="*/ 75683 h 7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5685" h="75690">
                    <a:moveTo>
                      <a:pt x="67360" y="75683"/>
                    </a:moveTo>
                    <a:cubicBezTo>
                      <a:pt x="65226" y="75683"/>
                      <a:pt x="63092" y="74873"/>
                      <a:pt x="61464" y="73244"/>
                    </a:cubicBezTo>
                    <a:lnTo>
                      <a:pt x="2456" y="14228"/>
                    </a:lnTo>
                    <a:cubicBezTo>
                      <a:pt x="-801" y="10970"/>
                      <a:pt x="-801" y="5693"/>
                      <a:pt x="2456" y="2436"/>
                    </a:cubicBezTo>
                    <a:cubicBezTo>
                      <a:pt x="5714" y="-822"/>
                      <a:pt x="10991" y="-822"/>
                      <a:pt x="14248" y="2436"/>
                    </a:cubicBezTo>
                    <a:lnTo>
                      <a:pt x="73256" y="61453"/>
                    </a:lnTo>
                    <a:cubicBezTo>
                      <a:pt x="76513" y="64710"/>
                      <a:pt x="76513" y="69987"/>
                      <a:pt x="73256" y="73244"/>
                    </a:cubicBezTo>
                    <a:cubicBezTo>
                      <a:pt x="71636" y="74873"/>
                      <a:pt x="69493" y="75683"/>
                      <a:pt x="67360" y="756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DC9661A3-3D21-6400-5AB8-86B52E98AF90}"/>
                  </a:ext>
                </a:extLst>
              </p:cNvPr>
              <p:cNvSpPr/>
              <p:nvPr/>
            </p:nvSpPr>
            <p:spPr>
              <a:xfrm>
                <a:off x="8830738" y="-14104"/>
                <a:ext cx="75257" cy="75361"/>
              </a:xfrm>
              <a:custGeom>
                <a:avLst/>
                <a:gdLst>
                  <a:gd name="connsiteX0" fmla="*/ 66936 w 75257"/>
                  <a:gd name="connsiteY0" fmla="*/ 75354 h 75361"/>
                  <a:gd name="connsiteX1" fmla="*/ 72822 w 75257"/>
                  <a:gd name="connsiteY1" fmla="*/ 72916 h 75361"/>
                  <a:gd name="connsiteX2" fmla="*/ 72832 w 75257"/>
                  <a:gd name="connsiteY2" fmla="*/ 61133 h 75361"/>
                  <a:gd name="connsiteX3" fmla="*/ 14243 w 75257"/>
                  <a:gd name="connsiteY3" fmla="*/ 2440 h 75361"/>
                  <a:gd name="connsiteX4" fmla="*/ 2461 w 75257"/>
                  <a:gd name="connsiteY4" fmla="*/ 2431 h 75361"/>
                  <a:gd name="connsiteX5" fmla="*/ 2451 w 75257"/>
                  <a:gd name="connsiteY5" fmla="*/ 14213 h 75361"/>
                  <a:gd name="connsiteX6" fmla="*/ 61040 w 75257"/>
                  <a:gd name="connsiteY6" fmla="*/ 72906 h 75361"/>
                  <a:gd name="connsiteX7" fmla="*/ 66936 w 75257"/>
                  <a:gd name="connsiteY7" fmla="*/ 75354 h 75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5257" h="75361">
                    <a:moveTo>
                      <a:pt x="66936" y="75354"/>
                    </a:moveTo>
                    <a:cubicBezTo>
                      <a:pt x="69069" y="75354"/>
                      <a:pt x="71193" y="74545"/>
                      <a:pt x="72822" y="72916"/>
                    </a:cubicBezTo>
                    <a:cubicBezTo>
                      <a:pt x="76080" y="69668"/>
                      <a:pt x="76089" y="64381"/>
                      <a:pt x="72832" y="61133"/>
                    </a:cubicBezTo>
                    <a:lnTo>
                      <a:pt x="14243" y="2440"/>
                    </a:lnTo>
                    <a:cubicBezTo>
                      <a:pt x="10995" y="-808"/>
                      <a:pt x="5719" y="-836"/>
                      <a:pt x="2461" y="2431"/>
                    </a:cubicBezTo>
                    <a:cubicBezTo>
                      <a:pt x="-797" y="5679"/>
                      <a:pt x="-806" y="10965"/>
                      <a:pt x="2451" y="14213"/>
                    </a:cubicBezTo>
                    <a:lnTo>
                      <a:pt x="61040" y="72906"/>
                    </a:lnTo>
                    <a:cubicBezTo>
                      <a:pt x="62659" y="74535"/>
                      <a:pt x="64793" y="75354"/>
                      <a:pt x="66936" y="7535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18BF7B07-A66F-4F75-03CA-5ABAB601607C}"/>
                  </a:ext>
                </a:extLst>
              </p:cNvPr>
              <p:cNvSpPr/>
              <p:nvPr/>
            </p:nvSpPr>
            <p:spPr>
              <a:xfrm>
                <a:off x="8830738" y="430758"/>
                <a:ext cx="75685" cy="75690"/>
              </a:xfrm>
              <a:custGeom>
                <a:avLst/>
                <a:gdLst>
                  <a:gd name="connsiteX0" fmla="*/ 8352 w 75685"/>
                  <a:gd name="connsiteY0" fmla="*/ 75683 h 75690"/>
                  <a:gd name="connsiteX1" fmla="*/ 14248 w 75685"/>
                  <a:gd name="connsiteY1" fmla="*/ 73244 h 75690"/>
                  <a:gd name="connsiteX2" fmla="*/ 73256 w 75685"/>
                  <a:gd name="connsiteY2" fmla="*/ 14228 h 75690"/>
                  <a:gd name="connsiteX3" fmla="*/ 73256 w 75685"/>
                  <a:gd name="connsiteY3" fmla="*/ 2436 h 75690"/>
                  <a:gd name="connsiteX4" fmla="*/ 61464 w 75685"/>
                  <a:gd name="connsiteY4" fmla="*/ 2436 h 75690"/>
                  <a:gd name="connsiteX5" fmla="*/ 2456 w 75685"/>
                  <a:gd name="connsiteY5" fmla="*/ 61453 h 75690"/>
                  <a:gd name="connsiteX6" fmla="*/ 2456 w 75685"/>
                  <a:gd name="connsiteY6" fmla="*/ 73244 h 75690"/>
                  <a:gd name="connsiteX7" fmla="*/ 8352 w 75685"/>
                  <a:gd name="connsiteY7" fmla="*/ 75683 h 7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5685" h="75690">
                    <a:moveTo>
                      <a:pt x="8352" y="75683"/>
                    </a:moveTo>
                    <a:cubicBezTo>
                      <a:pt x="10486" y="75683"/>
                      <a:pt x="12619" y="74873"/>
                      <a:pt x="14248" y="73244"/>
                    </a:cubicBezTo>
                    <a:lnTo>
                      <a:pt x="73256" y="14228"/>
                    </a:lnTo>
                    <a:cubicBezTo>
                      <a:pt x="76513" y="10970"/>
                      <a:pt x="76513" y="5693"/>
                      <a:pt x="73256" y="2436"/>
                    </a:cubicBezTo>
                    <a:cubicBezTo>
                      <a:pt x="69998" y="-822"/>
                      <a:pt x="64721" y="-822"/>
                      <a:pt x="61464" y="2436"/>
                    </a:cubicBezTo>
                    <a:lnTo>
                      <a:pt x="2456" y="61453"/>
                    </a:lnTo>
                    <a:cubicBezTo>
                      <a:pt x="-801" y="64710"/>
                      <a:pt x="-801" y="69987"/>
                      <a:pt x="2456" y="73244"/>
                    </a:cubicBezTo>
                    <a:cubicBezTo>
                      <a:pt x="4075" y="74873"/>
                      <a:pt x="6219" y="75683"/>
                      <a:pt x="8352" y="756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00551382-D7F3-E5C6-A3D2-DA6C9B834401}"/>
                </a:ext>
              </a:extLst>
            </p:cNvPr>
            <p:cNvSpPr/>
            <p:nvPr/>
          </p:nvSpPr>
          <p:spPr>
            <a:xfrm>
              <a:off x="8972191" y="127290"/>
              <a:ext cx="237772" cy="237763"/>
            </a:xfrm>
            <a:custGeom>
              <a:avLst/>
              <a:gdLst>
                <a:gd name="connsiteX0" fmla="*/ 130921 w 237772"/>
                <a:gd name="connsiteY0" fmla="*/ 237763 h 237763"/>
                <a:gd name="connsiteX1" fmla="*/ 106861 w 237772"/>
                <a:gd name="connsiteY1" fmla="*/ 237763 h 237763"/>
                <a:gd name="connsiteX2" fmla="*/ 87630 w 237772"/>
                <a:gd name="connsiteY2" fmla="*/ 218523 h 237763"/>
                <a:gd name="connsiteX3" fmla="*/ 87630 w 237772"/>
                <a:gd name="connsiteY3" fmla="*/ 209836 h 237763"/>
                <a:gd name="connsiteX4" fmla="*/ 76686 w 237772"/>
                <a:gd name="connsiteY4" fmla="*/ 205292 h 237763"/>
                <a:gd name="connsiteX5" fmla="*/ 70533 w 237772"/>
                <a:gd name="connsiteY5" fmla="*/ 211455 h 237763"/>
                <a:gd name="connsiteX6" fmla="*/ 43358 w 237772"/>
                <a:gd name="connsiteY6" fmla="*/ 211493 h 237763"/>
                <a:gd name="connsiteX7" fmla="*/ 26299 w 237772"/>
                <a:gd name="connsiteY7" fmla="*/ 194434 h 237763"/>
                <a:gd name="connsiteX8" fmla="*/ 26260 w 237772"/>
                <a:gd name="connsiteY8" fmla="*/ 167259 h 237763"/>
                <a:gd name="connsiteX9" fmla="*/ 32471 w 237772"/>
                <a:gd name="connsiteY9" fmla="*/ 161087 h 237763"/>
                <a:gd name="connsiteX10" fmla="*/ 27927 w 237772"/>
                <a:gd name="connsiteY10" fmla="*/ 150143 h 237763"/>
                <a:gd name="connsiteX11" fmla="*/ 19241 w 237772"/>
                <a:gd name="connsiteY11" fmla="*/ 150143 h 237763"/>
                <a:gd name="connsiteX12" fmla="*/ 0 w 237772"/>
                <a:gd name="connsiteY12" fmla="*/ 130912 h 237763"/>
                <a:gd name="connsiteX13" fmla="*/ 0 w 237772"/>
                <a:gd name="connsiteY13" fmla="*/ 106861 h 237763"/>
                <a:gd name="connsiteX14" fmla="*/ 19241 w 237772"/>
                <a:gd name="connsiteY14" fmla="*/ 87620 h 237763"/>
                <a:gd name="connsiteX15" fmla="*/ 27927 w 237772"/>
                <a:gd name="connsiteY15" fmla="*/ 87620 h 237763"/>
                <a:gd name="connsiteX16" fmla="*/ 32471 w 237772"/>
                <a:gd name="connsiteY16" fmla="*/ 76686 h 237763"/>
                <a:gd name="connsiteX17" fmla="*/ 26308 w 237772"/>
                <a:gd name="connsiteY17" fmla="*/ 70533 h 237763"/>
                <a:gd name="connsiteX18" fmla="*/ 26260 w 237772"/>
                <a:gd name="connsiteY18" fmla="*/ 43348 h 237763"/>
                <a:gd name="connsiteX19" fmla="*/ 43329 w 237772"/>
                <a:gd name="connsiteY19" fmla="*/ 26299 h 237763"/>
                <a:gd name="connsiteX20" fmla="*/ 70495 w 237772"/>
                <a:gd name="connsiteY20" fmla="*/ 26270 h 237763"/>
                <a:gd name="connsiteX21" fmla="*/ 76676 w 237772"/>
                <a:gd name="connsiteY21" fmla="*/ 32461 h 237763"/>
                <a:gd name="connsiteX22" fmla="*/ 87620 w 237772"/>
                <a:gd name="connsiteY22" fmla="*/ 27927 h 237763"/>
                <a:gd name="connsiteX23" fmla="*/ 87620 w 237772"/>
                <a:gd name="connsiteY23" fmla="*/ 19231 h 237763"/>
                <a:gd name="connsiteX24" fmla="*/ 106851 w 237772"/>
                <a:gd name="connsiteY24" fmla="*/ 0 h 237763"/>
                <a:gd name="connsiteX25" fmla="*/ 130912 w 237772"/>
                <a:gd name="connsiteY25" fmla="*/ 0 h 237763"/>
                <a:gd name="connsiteX26" fmla="*/ 150152 w 237772"/>
                <a:gd name="connsiteY26" fmla="*/ 19231 h 237763"/>
                <a:gd name="connsiteX27" fmla="*/ 150152 w 237772"/>
                <a:gd name="connsiteY27" fmla="*/ 27927 h 237763"/>
                <a:gd name="connsiteX28" fmla="*/ 161087 w 237772"/>
                <a:gd name="connsiteY28" fmla="*/ 32461 h 237763"/>
                <a:gd name="connsiteX29" fmla="*/ 167240 w 237772"/>
                <a:gd name="connsiteY29" fmla="*/ 26308 h 237763"/>
                <a:gd name="connsiteX30" fmla="*/ 194424 w 237772"/>
                <a:gd name="connsiteY30" fmla="*/ 26260 h 237763"/>
                <a:gd name="connsiteX31" fmla="*/ 211474 w 237772"/>
                <a:gd name="connsiteY31" fmla="*/ 43320 h 237763"/>
                <a:gd name="connsiteX32" fmla="*/ 211512 w 237772"/>
                <a:gd name="connsiteY32" fmla="*/ 70495 h 237763"/>
                <a:gd name="connsiteX33" fmla="*/ 205311 w 237772"/>
                <a:gd name="connsiteY33" fmla="*/ 76667 h 237763"/>
                <a:gd name="connsiteX34" fmla="*/ 209845 w 237772"/>
                <a:gd name="connsiteY34" fmla="*/ 87611 h 237763"/>
                <a:gd name="connsiteX35" fmla="*/ 218532 w 237772"/>
                <a:gd name="connsiteY35" fmla="*/ 87611 h 237763"/>
                <a:gd name="connsiteX36" fmla="*/ 237773 w 237772"/>
                <a:gd name="connsiteY36" fmla="*/ 106851 h 237763"/>
                <a:gd name="connsiteX37" fmla="*/ 237773 w 237772"/>
                <a:gd name="connsiteY37" fmla="*/ 130912 h 237763"/>
                <a:gd name="connsiteX38" fmla="*/ 218532 w 237772"/>
                <a:gd name="connsiteY38" fmla="*/ 150143 h 237763"/>
                <a:gd name="connsiteX39" fmla="*/ 209836 w 237772"/>
                <a:gd name="connsiteY39" fmla="*/ 150143 h 237763"/>
                <a:gd name="connsiteX40" fmla="*/ 205302 w 237772"/>
                <a:gd name="connsiteY40" fmla="*/ 161087 h 237763"/>
                <a:gd name="connsiteX41" fmla="*/ 211455 w 237772"/>
                <a:gd name="connsiteY41" fmla="*/ 167230 h 237763"/>
                <a:gd name="connsiteX42" fmla="*/ 211493 w 237772"/>
                <a:gd name="connsiteY42" fmla="*/ 194415 h 237763"/>
                <a:gd name="connsiteX43" fmla="*/ 194443 w 237772"/>
                <a:gd name="connsiteY43" fmla="*/ 211474 h 237763"/>
                <a:gd name="connsiteX44" fmla="*/ 167269 w 237772"/>
                <a:gd name="connsiteY44" fmla="*/ 211512 h 237763"/>
                <a:gd name="connsiteX45" fmla="*/ 161087 w 237772"/>
                <a:gd name="connsiteY45" fmla="*/ 205302 h 237763"/>
                <a:gd name="connsiteX46" fmla="*/ 150152 w 237772"/>
                <a:gd name="connsiteY46" fmla="*/ 209845 h 237763"/>
                <a:gd name="connsiteX47" fmla="*/ 150152 w 237772"/>
                <a:gd name="connsiteY47" fmla="*/ 218532 h 237763"/>
                <a:gd name="connsiteX48" fmla="*/ 130921 w 237772"/>
                <a:gd name="connsiteY48" fmla="*/ 237763 h 237763"/>
                <a:gd name="connsiteX49" fmla="*/ 74943 w 237772"/>
                <a:gd name="connsiteY49" fmla="*/ 184033 h 237763"/>
                <a:gd name="connsiteX50" fmla="*/ 79800 w 237772"/>
                <a:gd name="connsiteY50" fmla="*/ 185366 h 237763"/>
                <a:gd name="connsiteX51" fmla="*/ 99536 w 237772"/>
                <a:gd name="connsiteY51" fmla="*/ 193548 h 237763"/>
                <a:gd name="connsiteX52" fmla="*/ 106680 w 237772"/>
                <a:gd name="connsiteY52" fmla="*/ 202768 h 237763"/>
                <a:gd name="connsiteX53" fmla="*/ 106680 w 237772"/>
                <a:gd name="connsiteY53" fmla="*/ 218532 h 237763"/>
                <a:gd name="connsiteX54" fmla="*/ 130921 w 237772"/>
                <a:gd name="connsiteY54" fmla="*/ 218723 h 237763"/>
                <a:gd name="connsiteX55" fmla="*/ 131112 w 237772"/>
                <a:gd name="connsiteY55" fmla="*/ 202768 h 237763"/>
                <a:gd name="connsiteX56" fmla="*/ 138255 w 237772"/>
                <a:gd name="connsiteY56" fmla="*/ 193548 h 237763"/>
                <a:gd name="connsiteX57" fmla="*/ 157982 w 237772"/>
                <a:gd name="connsiteY57" fmla="*/ 185366 h 237763"/>
                <a:gd name="connsiteX58" fmla="*/ 169583 w 237772"/>
                <a:gd name="connsiteY58" fmla="*/ 186833 h 237763"/>
                <a:gd name="connsiteX59" fmla="*/ 180737 w 237772"/>
                <a:gd name="connsiteY59" fmla="*/ 198025 h 237763"/>
                <a:gd name="connsiteX60" fmla="*/ 198006 w 237772"/>
                <a:gd name="connsiteY60" fmla="*/ 180985 h 237763"/>
                <a:gd name="connsiteX61" fmla="*/ 186833 w 237772"/>
                <a:gd name="connsiteY61" fmla="*/ 169593 h 237763"/>
                <a:gd name="connsiteX62" fmla="*/ 185356 w 237772"/>
                <a:gd name="connsiteY62" fmla="*/ 158010 h 237763"/>
                <a:gd name="connsiteX63" fmla="*/ 193529 w 237772"/>
                <a:gd name="connsiteY63" fmla="*/ 138265 h 237763"/>
                <a:gd name="connsiteX64" fmla="*/ 202759 w 237772"/>
                <a:gd name="connsiteY64" fmla="*/ 131112 h 237763"/>
                <a:gd name="connsiteX65" fmla="*/ 218523 w 237772"/>
                <a:gd name="connsiteY65" fmla="*/ 131112 h 237763"/>
                <a:gd name="connsiteX66" fmla="*/ 218713 w 237772"/>
                <a:gd name="connsiteY66" fmla="*/ 106870 h 237763"/>
                <a:gd name="connsiteX67" fmla="*/ 218523 w 237772"/>
                <a:gd name="connsiteY67" fmla="*/ 106680 h 237763"/>
                <a:gd name="connsiteX68" fmla="*/ 202759 w 237772"/>
                <a:gd name="connsiteY68" fmla="*/ 106680 h 237763"/>
                <a:gd name="connsiteX69" fmla="*/ 193529 w 237772"/>
                <a:gd name="connsiteY69" fmla="*/ 99527 h 237763"/>
                <a:gd name="connsiteX70" fmla="*/ 185356 w 237772"/>
                <a:gd name="connsiteY70" fmla="*/ 79800 h 237763"/>
                <a:gd name="connsiteX71" fmla="*/ 186833 w 237772"/>
                <a:gd name="connsiteY71" fmla="*/ 68209 h 237763"/>
                <a:gd name="connsiteX72" fmla="*/ 198015 w 237772"/>
                <a:gd name="connsiteY72" fmla="*/ 57055 h 237763"/>
                <a:gd name="connsiteX73" fmla="*/ 180985 w 237772"/>
                <a:gd name="connsiteY73" fmla="*/ 39786 h 237763"/>
                <a:gd name="connsiteX74" fmla="*/ 169583 w 237772"/>
                <a:gd name="connsiteY74" fmla="*/ 50959 h 237763"/>
                <a:gd name="connsiteX75" fmla="*/ 157991 w 237772"/>
                <a:gd name="connsiteY75" fmla="*/ 52435 h 237763"/>
                <a:gd name="connsiteX76" fmla="*/ 138265 w 237772"/>
                <a:gd name="connsiteY76" fmla="*/ 44263 h 237763"/>
                <a:gd name="connsiteX77" fmla="*/ 131112 w 237772"/>
                <a:gd name="connsiteY77" fmla="*/ 35033 h 237763"/>
                <a:gd name="connsiteX78" fmla="*/ 131112 w 237772"/>
                <a:gd name="connsiteY78" fmla="*/ 19260 h 237763"/>
                <a:gd name="connsiteX79" fmla="*/ 106861 w 237772"/>
                <a:gd name="connsiteY79" fmla="*/ 19079 h 237763"/>
                <a:gd name="connsiteX80" fmla="*/ 106680 w 237772"/>
                <a:gd name="connsiteY80" fmla="*/ 35033 h 237763"/>
                <a:gd name="connsiteX81" fmla="*/ 99527 w 237772"/>
                <a:gd name="connsiteY81" fmla="*/ 44263 h 237763"/>
                <a:gd name="connsiteX82" fmla="*/ 79791 w 237772"/>
                <a:gd name="connsiteY82" fmla="*/ 52435 h 237763"/>
                <a:gd name="connsiteX83" fmla="*/ 68199 w 237772"/>
                <a:gd name="connsiteY83" fmla="*/ 50959 h 237763"/>
                <a:gd name="connsiteX84" fmla="*/ 57045 w 237772"/>
                <a:gd name="connsiteY84" fmla="*/ 39776 h 237763"/>
                <a:gd name="connsiteX85" fmla="*/ 39776 w 237772"/>
                <a:gd name="connsiteY85" fmla="*/ 56807 h 237763"/>
                <a:gd name="connsiteX86" fmla="*/ 50959 w 237772"/>
                <a:gd name="connsiteY86" fmla="*/ 68209 h 237763"/>
                <a:gd name="connsiteX87" fmla="*/ 52426 w 237772"/>
                <a:gd name="connsiteY87" fmla="*/ 79810 h 237763"/>
                <a:gd name="connsiteX88" fmla="*/ 44244 w 237772"/>
                <a:gd name="connsiteY88" fmla="*/ 99536 h 237763"/>
                <a:gd name="connsiteX89" fmla="*/ 35023 w 237772"/>
                <a:gd name="connsiteY89" fmla="*/ 106680 h 237763"/>
                <a:gd name="connsiteX90" fmla="*/ 19260 w 237772"/>
                <a:gd name="connsiteY90" fmla="*/ 106680 h 237763"/>
                <a:gd name="connsiteX91" fmla="*/ 19069 w 237772"/>
                <a:gd name="connsiteY91" fmla="*/ 130931 h 237763"/>
                <a:gd name="connsiteX92" fmla="*/ 35023 w 237772"/>
                <a:gd name="connsiteY92" fmla="*/ 131112 h 237763"/>
                <a:gd name="connsiteX93" fmla="*/ 44244 w 237772"/>
                <a:gd name="connsiteY93" fmla="*/ 138255 h 237763"/>
                <a:gd name="connsiteX94" fmla="*/ 52426 w 237772"/>
                <a:gd name="connsiteY94" fmla="*/ 158001 h 237763"/>
                <a:gd name="connsiteX95" fmla="*/ 50959 w 237772"/>
                <a:gd name="connsiteY95" fmla="*/ 169602 h 237763"/>
                <a:gd name="connsiteX96" fmla="*/ 39767 w 237772"/>
                <a:gd name="connsiteY96" fmla="*/ 180746 h 237763"/>
                <a:gd name="connsiteX97" fmla="*/ 56807 w 237772"/>
                <a:gd name="connsiteY97" fmla="*/ 198015 h 237763"/>
                <a:gd name="connsiteX98" fmla="*/ 68199 w 237772"/>
                <a:gd name="connsiteY98" fmla="*/ 186833 h 237763"/>
                <a:gd name="connsiteX99" fmla="*/ 74943 w 237772"/>
                <a:gd name="connsiteY99" fmla="*/ 184033 h 237763"/>
                <a:gd name="connsiteX100" fmla="*/ 118891 w 237772"/>
                <a:gd name="connsiteY100" fmla="*/ 168307 h 237763"/>
                <a:gd name="connsiteX101" fmla="*/ 69475 w 237772"/>
                <a:gd name="connsiteY101" fmla="*/ 118891 h 237763"/>
                <a:gd name="connsiteX102" fmla="*/ 118891 w 237772"/>
                <a:gd name="connsiteY102" fmla="*/ 69475 h 237763"/>
                <a:gd name="connsiteX103" fmla="*/ 168307 w 237772"/>
                <a:gd name="connsiteY103" fmla="*/ 118891 h 237763"/>
                <a:gd name="connsiteX104" fmla="*/ 118891 w 237772"/>
                <a:gd name="connsiteY104" fmla="*/ 168307 h 237763"/>
                <a:gd name="connsiteX105" fmla="*/ 118891 w 237772"/>
                <a:gd name="connsiteY105" fmla="*/ 88516 h 237763"/>
                <a:gd name="connsiteX106" fmla="*/ 88525 w 237772"/>
                <a:gd name="connsiteY106" fmla="*/ 118882 h 237763"/>
                <a:gd name="connsiteX107" fmla="*/ 118891 w 237772"/>
                <a:gd name="connsiteY107" fmla="*/ 149247 h 237763"/>
                <a:gd name="connsiteX108" fmla="*/ 149257 w 237772"/>
                <a:gd name="connsiteY108" fmla="*/ 118882 h 237763"/>
                <a:gd name="connsiteX109" fmla="*/ 118891 w 237772"/>
                <a:gd name="connsiteY109" fmla="*/ 88516 h 237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</a:cxnLst>
              <a:rect l="l" t="t" r="r" b="b"/>
              <a:pathLst>
                <a:path w="237772" h="237763">
                  <a:moveTo>
                    <a:pt x="130921" y="237763"/>
                  </a:moveTo>
                  <a:lnTo>
                    <a:pt x="106861" y="237763"/>
                  </a:lnTo>
                  <a:cubicBezTo>
                    <a:pt x="96260" y="237763"/>
                    <a:pt x="87630" y="229133"/>
                    <a:pt x="87630" y="218523"/>
                  </a:cubicBezTo>
                  <a:lnTo>
                    <a:pt x="87630" y="209836"/>
                  </a:lnTo>
                  <a:cubicBezTo>
                    <a:pt x="83877" y="208550"/>
                    <a:pt x="80229" y="207035"/>
                    <a:pt x="76686" y="205292"/>
                  </a:cubicBezTo>
                  <a:lnTo>
                    <a:pt x="70533" y="211455"/>
                  </a:lnTo>
                  <a:cubicBezTo>
                    <a:pt x="63027" y="218932"/>
                    <a:pt x="50835" y="218913"/>
                    <a:pt x="43358" y="211493"/>
                  </a:cubicBezTo>
                  <a:lnTo>
                    <a:pt x="26299" y="194434"/>
                  </a:lnTo>
                  <a:cubicBezTo>
                    <a:pt x="18850" y="186938"/>
                    <a:pt x="18850" y="174765"/>
                    <a:pt x="26260" y="167259"/>
                  </a:cubicBezTo>
                  <a:lnTo>
                    <a:pt x="32471" y="161087"/>
                  </a:lnTo>
                  <a:cubicBezTo>
                    <a:pt x="30728" y="157543"/>
                    <a:pt x="29213" y="153886"/>
                    <a:pt x="27927" y="150143"/>
                  </a:cubicBezTo>
                  <a:lnTo>
                    <a:pt x="19241" y="150143"/>
                  </a:lnTo>
                  <a:cubicBezTo>
                    <a:pt x="8639" y="150143"/>
                    <a:pt x="0" y="141522"/>
                    <a:pt x="0" y="130912"/>
                  </a:cubicBezTo>
                  <a:lnTo>
                    <a:pt x="0" y="106861"/>
                  </a:lnTo>
                  <a:cubicBezTo>
                    <a:pt x="0" y="96260"/>
                    <a:pt x="8630" y="87620"/>
                    <a:pt x="19241" y="87620"/>
                  </a:cubicBezTo>
                  <a:lnTo>
                    <a:pt x="27927" y="87620"/>
                  </a:lnTo>
                  <a:cubicBezTo>
                    <a:pt x="29213" y="83868"/>
                    <a:pt x="30728" y="80220"/>
                    <a:pt x="32471" y="76686"/>
                  </a:cubicBezTo>
                  <a:lnTo>
                    <a:pt x="26308" y="70533"/>
                  </a:lnTo>
                  <a:cubicBezTo>
                    <a:pt x="18859" y="63008"/>
                    <a:pt x="18859" y="50844"/>
                    <a:pt x="26260" y="43348"/>
                  </a:cubicBezTo>
                  <a:lnTo>
                    <a:pt x="43329" y="26299"/>
                  </a:lnTo>
                  <a:cubicBezTo>
                    <a:pt x="50844" y="18840"/>
                    <a:pt x="63008" y="18850"/>
                    <a:pt x="70495" y="26270"/>
                  </a:cubicBezTo>
                  <a:lnTo>
                    <a:pt x="76676" y="32461"/>
                  </a:lnTo>
                  <a:cubicBezTo>
                    <a:pt x="80220" y="30718"/>
                    <a:pt x="83887" y="29213"/>
                    <a:pt x="87620" y="27927"/>
                  </a:cubicBezTo>
                  <a:lnTo>
                    <a:pt x="87620" y="19231"/>
                  </a:lnTo>
                  <a:cubicBezTo>
                    <a:pt x="87620" y="8630"/>
                    <a:pt x="96241" y="0"/>
                    <a:pt x="106851" y="0"/>
                  </a:cubicBezTo>
                  <a:lnTo>
                    <a:pt x="130912" y="0"/>
                  </a:lnTo>
                  <a:cubicBezTo>
                    <a:pt x="141513" y="0"/>
                    <a:pt x="150152" y="8620"/>
                    <a:pt x="150152" y="19231"/>
                  </a:cubicBezTo>
                  <a:lnTo>
                    <a:pt x="150152" y="27927"/>
                  </a:lnTo>
                  <a:cubicBezTo>
                    <a:pt x="153895" y="29213"/>
                    <a:pt x="157543" y="30718"/>
                    <a:pt x="161087" y="32461"/>
                  </a:cubicBezTo>
                  <a:lnTo>
                    <a:pt x="167240" y="26308"/>
                  </a:lnTo>
                  <a:cubicBezTo>
                    <a:pt x="174755" y="18859"/>
                    <a:pt x="186919" y="18859"/>
                    <a:pt x="194424" y="26260"/>
                  </a:cubicBezTo>
                  <a:lnTo>
                    <a:pt x="211474" y="43320"/>
                  </a:lnTo>
                  <a:cubicBezTo>
                    <a:pt x="218913" y="50835"/>
                    <a:pt x="218913" y="62998"/>
                    <a:pt x="211512" y="70495"/>
                  </a:cubicBezTo>
                  <a:lnTo>
                    <a:pt x="205311" y="76667"/>
                  </a:lnTo>
                  <a:cubicBezTo>
                    <a:pt x="207054" y="80220"/>
                    <a:pt x="208559" y="83877"/>
                    <a:pt x="209845" y="87611"/>
                  </a:cubicBezTo>
                  <a:lnTo>
                    <a:pt x="218532" y="87611"/>
                  </a:lnTo>
                  <a:cubicBezTo>
                    <a:pt x="229133" y="87611"/>
                    <a:pt x="237773" y="96241"/>
                    <a:pt x="237773" y="106851"/>
                  </a:cubicBezTo>
                  <a:lnTo>
                    <a:pt x="237773" y="130912"/>
                  </a:lnTo>
                  <a:cubicBezTo>
                    <a:pt x="237773" y="141513"/>
                    <a:pt x="229143" y="150143"/>
                    <a:pt x="218532" y="150143"/>
                  </a:cubicBezTo>
                  <a:lnTo>
                    <a:pt x="209836" y="150143"/>
                  </a:lnTo>
                  <a:cubicBezTo>
                    <a:pt x="208559" y="153886"/>
                    <a:pt x="207045" y="157534"/>
                    <a:pt x="205302" y="161087"/>
                  </a:cubicBezTo>
                  <a:lnTo>
                    <a:pt x="211455" y="167230"/>
                  </a:lnTo>
                  <a:cubicBezTo>
                    <a:pt x="218913" y="174765"/>
                    <a:pt x="218913" y="186938"/>
                    <a:pt x="211493" y="194415"/>
                  </a:cubicBezTo>
                  <a:lnTo>
                    <a:pt x="194443" y="211474"/>
                  </a:lnTo>
                  <a:cubicBezTo>
                    <a:pt x="186928" y="218913"/>
                    <a:pt x="174755" y="218894"/>
                    <a:pt x="167269" y="211512"/>
                  </a:cubicBezTo>
                  <a:lnTo>
                    <a:pt x="161087" y="205302"/>
                  </a:lnTo>
                  <a:cubicBezTo>
                    <a:pt x="157553" y="207045"/>
                    <a:pt x="153895" y="208559"/>
                    <a:pt x="150152" y="209845"/>
                  </a:cubicBezTo>
                  <a:lnTo>
                    <a:pt x="150152" y="218532"/>
                  </a:lnTo>
                  <a:cubicBezTo>
                    <a:pt x="150152" y="229133"/>
                    <a:pt x="141522" y="237763"/>
                    <a:pt x="130921" y="237763"/>
                  </a:cubicBezTo>
                  <a:close/>
                  <a:moveTo>
                    <a:pt x="74943" y="184033"/>
                  </a:moveTo>
                  <a:cubicBezTo>
                    <a:pt x="76610" y="184033"/>
                    <a:pt x="78295" y="184471"/>
                    <a:pt x="79800" y="185366"/>
                  </a:cubicBezTo>
                  <a:cubicBezTo>
                    <a:pt x="85925" y="188995"/>
                    <a:pt x="92564" y="191748"/>
                    <a:pt x="99536" y="193548"/>
                  </a:cubicBezTo>
                  <a:cubicBezTo>
                    <a:pt x="103737" y="194624"/>
                    <a:pt x="106680" y="198425"/>
                    <a:pt x="106680" y="202768"/>
                  </a:cubicBezTo>
                  <a:lnTo>
                    <a:pt x="106680" y="218532"/>
                  </a:lnTo>
                  <a:lnTo>
                    <a:pt x="130921" y="218723"/>
                  </a:lnTo>
                  <a:lnTo>
                    <a:pt x="131112" y="202768"/>
                  </a:lnTo>
                  <a:cubicBezTo>
                    <a:pt x="131112" y="198425"/>
                    <a:pt x="134055" y="194634"/>
                    <a:pt x="138255" y="193548"/>
                  </a:cubicBezTo>
                  <a:cubicBezTo>
                    <a:pt x="145218" y="191748"/>
                    <a:pt x="151867" y="188986"/>
                    <a:pt x="157982" y="185366"/>
                  </a:cubicBezTo>
                  <a:cubicBezTo>
                    <a:pt x="161735" y="183156"/>
                    <a:pt x="166516" y="183756"/>
                    <a:pt x="169583" y="186833"/>
                  </a:cubicBezTo>
                  <a:lnTo>
                    <a:pt x="180737" y="198025"/>
                  </a:lnTo>
                  <a:lnTo>
                    <a:pt x="198006" y="180985"/>
                  </a:lnTo>
                  <a:lnTo>
                    <a:pt x="186833" y="169593"/>
                  </a:lnTo>
                  <a:cubicBezTo>
                    <a:pt x="183756" y="166526"/>
                    <a:pt x="183137" y="161754"/>
                    <a:pt x="185356" y="158010"/>
                  </a:cubicBezTo>
                  <a:cubicBezTo>
                    <a:pt x="189005" y="151838"/>
                    <a:pt x="191757" y="145190"/>
                    <a:pt x="193529" y="138265"/>
                  </a:cubicBezTo>
                  <a:cubicBezTo>
                    <a:pt x="194615" y="134055"/>
                    <a:pt x="198415" y="131112"/>
                    <a:pt x="202759" y="131112"/>
                  </a:cubicBezTo>
                  <a:lnTo>
                    <a:pt x="218523" y="131112"/>
                  </a:lnTo>
                  <a:lnTo>
                    <a:pt x="218713" y="106870"/>
                  </a:lnTo>
                  <a:lnTo>
                    <a:pt x="218523" y="106680"/>
                  </a:lnTo>
                  <a:lnTo>
                    <a:pt x="202759" y="106680"/>
                  </a:lnTo>
                  <a:cubicBezTo>
                    <a:pt x="198415" y="106680"/>
                    <a:pt x="194624" y="103737"/>
                    <a:pt x="193529" y="99527"/>
                  </a:cubicBezTo>
                  <a:cubicBezTo>
                    <a:pt x="191738" y="92593"/>
                    <a:pt x="188995" y="85954"/>
                    <a:pt x="185356" y="79800"/>
                  </a:cubicBezTo>
                  <a:cubicBezTo>
                    <a:pt x="183147" y="76048"/>
                    <a:pt x="183756" y="71276"/>
                    <a:pt x="186833" y="68209"/>
                  </a:cubicBezTo>
                  <a:lnTo>
                    <a:pt x="198015" y="57055"/>
                  </a:lnTo>
                  <a:lnTo>
                    <a:pt x="180985" y="39786"/>
                  </a:lnTo>
                  <a:lnTo>
                    <a:pt x="169583" y="50959"/>
                  </a:lnTo>
                  <a:cubicBezTo>
                    <a:pt x="166516" y="54054"/>
                    <a:pt x="161744" y="54635"/>
                    <a:pt x="157991" y="52435"/>
                  </a:cubicBezTo>
                  <a:cubicBezTo>
                    <a:pt x="151838" y="48787"/>
                    <a:pt x="145190" y="46044"/>
                    <a:pt x="138265" y="44263"/>
                  </a:cubicBezTo>
                  <a:cubicBezTo>
                    <a:pt x="134055" y="43177"/>
                    <a:pt x="131112" y="39376"/>
                    <a:pt x="131112" y="35033"/>
                  </a:cubicBezTo>
                  <a:lnTo>
                    <a:pt x="131112" y="19260"/>
                  </a:lnTo>
                  <a:lnTo>
                    <a:pt x="106861" y="19079"/>
                  </a:lnTo>
                  <a:lnTo>
                    <a:pt x="106680" y="35033"/>
                  </a:lnTo>
                  <a:cubicBezTo>
                    <a:pt x="106680" y="39376"/>
                    <a:pt x="103737" y="43167"/>
                    <a:pt x="99527" y="44263"/>
                  </a:cubicBezTo>
                  <a:cubicBezTo>
                    <a:pt x="92583" y="46053"/>
                    <a:pt x="85944" y="48806"/>
                    <a:pt x="79791" y="52435"/>
                  </a:cubicBezTo>
                  <a:cubicBezTo>
                    <a:pt x="76057" y="54626"/>
                    <a:pt x="71266" y="54054"/>
                    <a:pt x="68199" y="50959"/>
                  </a:cubicBezTo>
                  <a:lnTo>
                    <a:pt x="57045" y="39776"/>
                  </a:lnTo>
                  <a:lnTo>
                    <a:pt x="39776" y="56807"/>
                  </a:lnTo>
                  <a:lnTo>
                    <a:pt x="50959" y="68209"/>
                  </a:lnTo>
                  <a:cubicBezTo>
                    <a:pt x="54045" y="71276"/>
                    <a:pt x="54654" y="76057"/>
                    <a:pt x="52426" y="79810"/>
                  </a:cubicBezTo>
                  <a:cubicBezTo>
                    <a:pt x="48797" y="85935"/>
                    <a:pt x="46044" y="92573"/>
                    <a:pt x="44244" y="99536"/>
                  </a:cubicBezTo>
                  <a:cubicBezTo>
                    <a:pt x="43167" y="103737"/>
                    <a:pt x="39367" y="106680"/>
                    <a:pt x="35023" y="106680"/>
                  </a:cubicBezTo>
                  <a:lnTo>
                    <a:pt x="19260" y="106680"/>
                  </a:lnTo>
                  <a:lnTo>
                    <a:pt x="19069" y="130931"/>
                  </a:lnTo>
                  <a:lnTo>
                    <a:pt x="35023" y="131112"/>
                  </a:lnTo>
                  <a:cubicBezTo>
                    <a:pt x="39367" y="131112"/>
                    <a:pt x="43158" y="134055"/>
                    <a:pt x="44244" y="138255"/>
                  </a:cubicBezTo>
                  <a:cubicBezTo>
                    <a:pt x="46044" y="145218"/>
                    <a:pt x="48806" y="151867"/>
                    <a:pt x="52426" y="158001"/>
                  </a:cubicBezTo>
                  <a:cubicBezTo>
                    <a:pt x="54645" y="161754"/>
                    <a:pt x="54035" y="166526"/>
                    <a:pt x="50959" y="169602"/>
                  </a:cubicBezTo>
                  <a:lnTo>
                    <a:pt x="39767" y="180746"/>
                  </a:lnTo>
                  <a:lnTo>
                    <a:pt x="56807" y="198015"/>
                  </a:lnTo>
                  <a:lnTo>
                    <a:pt x="68199" y="186833"/>
                  </a:lnTo>
                  <a:cubicBezTo>
                    <a:pt x="70028" y="184985"/>
                    <a:pt x="72476" y="184033"/>
                    <a:pt x="74943" y="184033"/>
                  </a:cubicBezTo>
                  <a:close/>
                  <a:moveTo>
                    <a:pt x="118891" y="168307"/>
                  </a:moveTo>
                  <a:cubicBezTo>
                    <a:pt x="91640" y="168307"/>
                    <a:pt x="69475" y="146142"/>
                    <a:pt x="69475" y="118891"/>
                  </a:cubicBezTo>
                  <a:cubicBezTo>
                    <a:pt x="69475" y="91640"/>
                    <a:pt x="91640" y="69475"/>
                    <a:pt x="118891" y="69475"/>
                  </a:cubicBezTo>
                  <a:cubicBezTo>
                    <a:pt x="146133" y="69475"/>
                    <a:pt x="168307" y="91640"/>
                    <a:pt x="168307" y="118891"/>
                  </a:cubicBezTo>
                  <a:cubicBezTo>
                    <a:pt x="168307" y="146142"/>
                    <a:pt x="146142" y="168307"/>
                    <a:pt x="118891" y="168307"/>
                  </a:cubicBezTo>
                  <a:close/>
                  <a:moveTo>
                    <a:pt x="118891" y="88516"/>
                  </a:moveTo>
                  <a:cubicBezTo>
                    <a:pt x="102146" y="88516"/>
                    <a:pt x="88525" y="102146"/>
                    <a:pt x="88525" y="118882"/>
                  </a:cubicBezTo>
                  <a:cubicBezTo>
                    <a:pt x="88525" y="135617"/>
                    <a:pt x="102156" y="149247"/>
                    <a:pt x="118891" y="149247"/>
                  </a:cubicBezTo>
                  <a:cubicBezTo>
                    <a:pt x="135626" y="149247"/>
                    <a:pt x="149257" y="135617"/>
                    <a:pt x="149257" y="118882"/>
                  </a:cubicBezTo>
                  <a:cubicBezTo>
                    <a:pt x="149257" y="102146"/>
                    <a:pt x="135636" y="88516"/>
                    <a:pt x="118891" y="885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714647EA-D260-AE56-A9B3-39F7568B0E0E}"/>
              </a:ext>
            </a:extLst>
          </p:cNvPr>
          <p:cNvSpPr/>
          <p:nvPr/>
        </p:nvSpPr>
        <p:spPr>
          <a:xfrm>
            <a:off x="10669761" y="1026831"/>
            <a:ext cx="274320" cy="365760"/>
          </a:xfrm>
          <a:custGeom>
            <a:avLst/>
            <a:gdLst>
              <a:gd name="connsiteX0" fmla="*/ 627538 w 758241"/>
              <a:gd name="connsiteY0" fmla="*/ 194413 h 902354"/>
              <a:gd name="connsiteX1" fmla="*/ 664410 w 758241"/>
              <a:gd name="connsiteY1" fmla="*/ 156573 h 902354"/>
              <a:gd name="connsiteX2" fmla="*/ 698417 w 758241"/>
              <a:gd name="connsiteY2" fmla="*/ 115161 h 902354"/>
              <a:gd name="connsiteX3" fmla="*/ 698380 w 758241"/>
              <a:gd name="connsiteY3" fmla="*/ 115198 h 902354"/>
              <a:gd name="connsiteX4" fmla="*/ 710138 w 758241"/>
              <a:gd name="connsiteY4" fmla="*/ 111515 h 902354"/>
              <a:gd name="connsiteX5" fmla="*/ 717356 w 758241"/>
              <a:gd name="connsiteY5" fmla="*/ 121487 h 902354"/>
              <a:gd name="connsiteX6" fmla="*/ 717356 w 758241"/>
              <a:gd name="connsiteY6" fmla="*/ 515545 h 902354"/>
              <a:gd name="connsiteX7" fmla="*/ 713338 w 758241"/>
              <a:gd name="connsiteY7" fmla="*/ 525182 h 902354"/>
              <a:gd name="connsiteX8" fmla="*/ 703701 w 758241"/>
              <a:gd name="connsiteY8" fmla="*/ 529200 h 902354"/>
              <a:gd name="connsiteX9" fmla="*/ 637323 w 758241"/>
              <a:gd name="connsiteY9" fmla="*/ 529200 h 902354"/>
              <a:gd name="connsiteX10" fmla="*/ 627687 w 758241"/>
              <a:gd name="connsiteY10" fmla="*/ 525182 h 902354"/>
              <a:gd name="connsiteX11" fmla="*/ 623668 w 758241"/>
              <a:gd name="connsiteY11" fmla="*/ 515545 h 902354"/>
              <a:gd name="connsiteX12" fmla="*/ 623668 w 758241"/>
              <a:gd name="connsiteY12" fmla="*/ 202602 h 902354"/>
              <a:gd name="connsiteX13" fmla="*/ 627575 w 758241"/>
              <a:gd name="connsiteY13" fmla="*/ 194416 h 902354"/>
              <a:gd name="connsiteX14" fmla="*/ 489759 w 758241"/>
              <a:gd name="connsiteY14" fmla="*/ 114567 h 902354"/>
              <a:gd name="connsiteX15" fmla="*/ 479192 w 758241"/>
              <a:gd name="connsiteY15" fmla="*/ 104000 h 902354"/>
              <a:gd name="connsiteX16" fmla="*/ 489759 w 758241"/>
              <a:gd name="connsiteY16" fmla="*/ 93433 h 902354"/>
              <a:gd name="connsiteX17" fmla="*/ 587685 w 758241"/>
              <a:gd name="connsiteY17" fmla="*/ 93433 h 902354"/>
              <a:gd name="connsiteX18" fmla="*/ 598252 w 758241"/>
              <a:gd name="connsiteY18" fmla="*/ 104000 h 902354"/>
              <a:gd name="connsiteX19" fmla="*/ 587685 w 758241"/>
              <a:gd name="connsiteY19" fmla="*/ 114567 h 902354"/>
              <a:gd name="connsiteX20" fmla="*/ 489759 w 758241"/>
              <a:gd name="connsiteY20" fmla="*/ 79034 h 902354"/>
              <a:gd name="connsiteX21" fmla="*/ 489759 w 758241"/>
              <a:gd name="connsiteY21" fmla="*/ 79071 h 902354"/>
              <a:gd name="connsiteX22" fmla="*/ 482094 w 758241"/>
              <a:gd name="connsiteY22" fmla="*/ 76095 h 902354"/>
              <a:gd name="connsiteX23" fmla="*/ 478857 w 758241"/>
              <a:gd name="connsiteY23" fmla="*/ 68504 h 902354"/>
              <a:gd name="connsiteX24" fmla="*/ 482094 w 758241"/>
              <a:gd name="connsiteY24" fmla="*/ 60877 h 902354"/>
              <a:gd name="connsiteX25" fmla="*/ 489759 w 758241"/>
              <a:gd name="connsiteY25" fmla="*/ 57900 h 902354"/>
              <a:gd name="connsiteX26" fmla="*/ 587685 w 758241"/>
              <a:gd name="connsiteY26" fmla="*/ 57900 h 902354"/>
              <a:gd name="connsiteX27" fmla="*/ 595387 w 758241"/>
              <a:gd name="connsiteY27" fmla="*/ 60877 h 902354"/>
              <a:gd name="connsiteX28" fmla="*/ 598587 w 758241"/>
              <a:gd name="connsiteY28" fmla="*/ 68504 h 902354"/>
              <a:gd name="connsiteX29" fmla="*/ 595387 w 758241"/>
              <a:gd name="connsiteY29" fmla="*/ 76095 h 902354"/>
              <a:gd name="connsiteX30" fmla="*/ 587685 w 758241"/>
              <a:gd name="connsiteY30" fmla="*/ 79071 h 902354"/>
              <a:gd name="connsiteX31" fmla="*/ 489759 w 758241"/>
              <a:gd name="connsiteY31" fmla="*/ 43538 h 902354"/>
              <a:gd name="connsiteX32" fmla="*/ 482094 w 758241"/>
              <a:gd name="connsiteY32" fmla="*/ 40561 h 902354"/>
              <a:gd name="connsiteX33" fmla="*/ 478857 w 758241"/>
              <a:gd name="connsiteY33" fmla="*/ 32971 h 902354"/>
              <a:gd name="connsiteX34" fmla="*/ 482094 w 758241"/>
              <a:gd name="connsiteY34" fmla="*/ 25381 h 902354"/>
              <a:gd name="connsiteX35" fmla="*/ 489759 w 758241"/>
              <a:gd name="connsiteY35" fmla="*/ 22404 h 902354"/>
              <a:gd name="connsiteX36" fmla="*/ 587685 w 758241"/>
              <a:gd name="connsiteY36" fmla="*/ 22404 h 902354"/>
              <a:gd name="connsiteX37" fmla="*/ 595387 w 758241"/>
              <a:gd name="connsiteY37" fmla="*/ 25381 h 902354"/>
              <a:gd name="connsiteX38" fmla="*/ 598587 w 758241"/>
              <a:gd name="connsiteY38" fmla="*/ 32971 h 902354"/>
              <a:gd name="connsiteX39" fmla="*/ 595387 w 758241"/>
              <a:gd name="connsiteY39" fmla="*/ 40561 h 902354"/>
              <a:gd name="connsiteX40" fmla="*/ 587685 w 758241"/>
              <a:gd name="connsiteY40" fmla="*/ 43538 h 902354"/>
              <a:gd name="connsiteX41" fmla="*/ 252224 w 758241"/>
              <a:gd name="connsiteY41" fmla="*/ 36766 h 902354"/>
              <a:gd name="connsiteX42" fmla="*/ 410797 w 758241"/>
              <a:gd name="connsiteY42" fmla="*/ 21177 h 902354"/>
              <a:gd name="connsiteX43" fmla="*/ 457045 w 758241"/>
              <a:gd name="connsiteY43" fmla="*/ 173615 h 902354"/>
              <a:gd name="connsiteX44" fmla="*/ 316513 w 758241"/>
              <a:gd name="connsiteY44" fmla="*/ 248736 h 902354"/>
              <a:gd name="connsiteX45" fmla="*/ 215463 w 758241"/>
              <a:gd name="connsiteY45" fmla="*/ 125577 h 902354"/>
              <a:gd name="connsiteX46" fmla="*/ 252223 w 758241"/>
              <a:gd name="connsiteY46" fmla="*/ 36764 h 902354"/>
              <a:gd name="connsiteX47" fmla="*/ 341037 w 758241"/>
              <a:gd name="connsiteY47" fmla="*/ 21140 h 902354"/>
              <a:gd name="connsiteX48" fmla="*/ 238606 w 758241"/>
              <a:gd name="connsiteY48" fmla="*/ 105190 h 902354"/>
              <a:gd name="connsiteX49" fmla="*/ 301076 w 758241"/>
              <a:gd name="connsiteY49" fmla="*/ 222062 h 902354"/>
              <a:gd name="connsiteX50" fmla="*/ 427844 w 758241"/>
              <a:gd name="connsiteY50" fmla="*/ 183589 h 902354"/>
              <a:gd name="connsiteX51" fmla="*/ 414896 w 758241"/>
              <a:gd name="connsiteY51" fmla="*/ 51725 h 902354"/>
              <a:gd name="connsiteX52" fmla="*/ 341040 w 758241"/>
              <a:gd name="connsiteY52" fmla="*/ 21141 h 902354"/>
              <a:gd name="connsiteX53" fmla="*/ 330433 w 758241"/>
              <a:gd name="connsiteY53" fmla="*/ 46589 h 902354"/>
              <a:gd name="connsiteX54" fmla="*/ 330433 w 758241"/>
              <a:gd name="connsiteY54" fmla="*/ 51985 h 902354"/>
              <a:gd name="connsiteX55" fmla="*/ 298286 w 758241"/>
              <a:gd name="connsiteY55" fmla="*/ 93396 h 902354"/>
              <a:gd name="connsiteX56" fmla="*/ 338582 w 758241"/>
              <a:gd name="connsiteY56" fmla="*/ 135849 h 902354"/>
              <a:gd name="connsiteX57" fmla="*/ 362654 w 758241"/>
              <a:gd name="connsiteY57" fmla="*/ 157727 h 902354"/>
              <a:gd name="connsiteX58" fmla="*/ 362654 w 758241"/>
              <a:gd name="connsiteY58" fmla="*/ 157764 h 902354"/>
              <a:gd name="connsiteX59" fmla="*/ 341037 w 758241"/>
              <a:gd name="connsiteY59" fmla="*/ 178899 h 902354"/>
              <a:gd name="connsiteX60" fmla="*/ 319458 w 758241"/>
              <a:gd name="connsiteY60" fmla="*/ 157764 h 902354"/>
              <a:gd name="connsiteX61" fmla="*/ 316444 w 758241"/>
              <a:gd name="connsiteY61" fmla="*/ 150063 h 902354"/>
              <a:gd name="connsiteX62" fmla="*/ 308853 w 758241"/>
              <a:gd name="connsiteY62" fmla="*/ 146863 h 902354"/>
              <a:gd name="connsiteX63" fmla="*/ 301263 w 758241"/>
              <a:gd name="connsiteY63" fmla="*/ 150063 h 902354"/>
              <a:gd name="connsiteX64" fmla="*/ 298287 w 758241"/>
              <a:gd name="connsiteY64" fmla="*/ 157764 h 902354"/>
              <a:gd name="connsiteX65" fmla="*/ 330471 w 758241"/>
              <a:gd name="connsiteY65" fmla="*/ 199176 h 902354"/>
              <a:gd name="connsiteX66" fmla="*/ 330471 w 758241"/>
              <a:gd name="connsiteY66" fmla="*/ 204534 h 902354"/>
              <a:gd name="connsiteX67" fmla="*/ 333447 w 758241"/>
              <a:gd name="connsiteY67" fmla="*/ 212236 h 902354"/>
              <a:gd name="connsiteX68" fmla="*/ 341037 w 758241"/>
              <a:gd name="connsiteY68" fmla="*/ 215436 h 902354"/>
              <a:gd name="connsiteX69" fmla="*/ 348628 w 758241"/>
              <a:gd name="connsiteY69" fmla="*/ 212236 h 902354"/>
              <a:gd name="connsiteX70" fmla="*/ 351604 w 758241"/>
              <a:gd name="connsiteY70" fmla="*/ 204534 h 902354"/>
              <a:gd name="connsiteX71" fmla="*/ 351604 w 758241"/>
              <a:gd name="connsiteY71" fmla="*/ 199139 h 902354"/>
              <a:gd name="connsiteX72" fmla="*/ 383788 w 758241"/>
              <a:gd name="connsiteY72" fmla="*/ 157727 h 902354"/>
              <a:gd name="connsiteX73" fmla="*/ 343456 w 758241"/>
              <a:gd name="connsiteY73" fmla="*/ 115274 h 902354"/>
              <a:gd name="connsiteX74" fmla="*/ 319383 w 758241"/>
              <a:gd name="connsiteY74" fmla="*/ 93396 h 902354"/>
              <a:gd name="connsiteX75" fmla="*/ 319420 w 758241"/>
              <a:gd name="connsiteY75" fmla="*/ 93359 h 902354"/>
              <a:gd name="connsiteX76" fmla="*/ 341000 w 758241"/>
              <a:gd name="connsiteY76" fmla="*/ 72225 h 902354"/>
              <a:gd name="connsiteX77" fmla="*/ 362617 w 758241"/>
              <a:gd name="connsiteY77" fmla="*/ 93359 h 902354"/>
              <a:gd name="connsiteX78" fmla="*/ 365594 w 758241"/>
              <a:gd name="connsiteY78" fmla="*/ 101061 h 902354"/>
              <a:gd name="connsiteX79" fmla="*/ 373184 w 758241"/>
              <a:gd name="connsiteY79" fmla="*/ 104261 h 902354"/>
              <a:gd name="connsiteX80" fmla="*/ 380774 w 758241"/>
              <a:gd name="connsiteY80" fmla="*/ 101061 h 902354"/>
              <a:gd name="connsiteX81" fmla="*/ 383751 w 758241"/>
              <a:gd name="connsiteY81" fmla="*/ 93359 h 902354"/>
              <a:gd name="connsiteX82" fmla="*/ 351567 w 758241"/>
              <a:gd name="connsiteY82" fmla="*/ 51947 h 902354"/>
              <a:gd name="connsiteX83" fmla="*/ 351567 w 758241"/>
              <a:gd name="connsiteY83" fmla="*/ 46589 h 902354"/>
              <a:gd name="connsiteX84" fmla="*/ 348590 w 758241"/>
              <a:gd name="connsiteY84" fmla="*/ 38888 h 902354"/>
              <a:gd name="connsiteX85" fmla="*/ 341000 w 758241"/>
              <a:gd name="connsiteY85" fmla="*/ 35688 h 902354"/>
              <a:gd name="connsiteX86" fmla="*/ 333410 w 758241"/>
              <a:gd name="connsiteY86" fmla="*/ 38888 h 902354"/>
              <a:gd name="connsiteX87" fmla="*/ 330433 w 758241"/>
              <a:gd name="connsiteY87" fmla="*/ 46589 h 902354"/>
              <a:gd name="connsiteX88" fmla="*/ 93613 w 758241"/>
              <a:gd name="connsiteY88" fmla="*/ 340826 h 902354"/>
              <a:gd name="connsiteX89" fmla="*/ 178929 w 758241"/>
              <a:gd name="connsiteY89" fmla="*/ 332455 h 902354"/>
              <a:gd name="connsiteX90" fmla="*/ 203820 w 758241"/>
              <a:gd name="connsiteY90" fmla="*/ 414533 h 902354"/>
              <a:gd name="connsiteX91" fmla="*/ 128178 w 758241"/>
              <a:gd name="connsiteY91" fmla="*/ 454940 h 902354"/>
              <a:gd name="connsiteX92" fmla="*/ 73819 w 758241"/>
              <a:gd name="connsiteY92" fmla="*/ 388638 h 902354"/>
              <a:gd name="connsiteX93" fmla="*/ 93613 w 758241"/>
              <a:gd name="connsiteY93" fmla="*/ 340827 h 902354"/>
              <a:gd name="connsiteX94" fmla="*/ 141424 w 758241"/>
              <a:gd name="connsiteY94" fmla="*/ 342166 h 902354"/>
              <a:gd name="connsiteX95" fmla="*/ 141424 w 758241"/>
              <a:gd name="connsiteY95" fmla="*/ 342203 h 902354"/>
              <a:gd name="connsiteX96" fmla="*/ 95883 w 758241"/>
              <a:gd name="connsiteY96" fmla="*/ 379596 h 902354"/>
              <a:gd name="connsiteX97" fmla="*/ 123677 w 758241"/>
              <a:gd name="connsiteY97" fmla="*/ 431537 h 902354"/>
              <a:gd name="connsiteX98" fmla="*/ 180046 w 758241"/>
              <a:gd name="connsiteY98" fmla="*/ 414421 h 902354"/>
              <a:gd name="connsiteX99" fmla="*/ 174279 w 758241"/>
              <a:gd name="connsiteY99" fmla="*/ 355784 h 902354"/>
              <a:gd name="connsiteX100" fmla="*/ 141425 w 758241"/>
              <a:gd name="connsiteY100" fmla="*/ 342203 h 902354"/>
              <a:gd name="connsiteX101" fmla="*/ 120699 w 758241"/>
              <a:gd name="connsiteY101" fmla="*/ 247213 h 902354"/>
              <a:gd name="connsiteX102" fmla="*/ 120699 w 758241"/>
              <a:gd name="connsiteY102" fmla="*/ 247250 h 902354"/>
              <a:gd name="connsiteX103" fmla="*/ 110802 w 758241"/>
              <a:gd name="connsiteY103" fmla="*/ 251380 h 902354"/>
              <a:gd name="connsiteX104" fmla="*/ 110728 w 758241"/>
              <a:gd name="connsiteY104" fmla="*/ 251454 h 902354"/>
              <a:gd name="connsiteX105" fmla="*/ 110728 w 758241"/>
              <a:gd name="connsiteY105" fmla="*/ 251417 h 902354"/>
              <a:gd name="connsiteX106" fmla="*/ 106598 w 758241"/>
              <a:gd name="connsiteY106" fmla="*/ 261352 h 902354"/>
              <a:gd name="connsiteX107" fmla="*/ 106598 w 758241"/>
              <a:gd name="connsiteY107" fmla="*/ 279881 h 902354"/>
              <a:gd name="connsiteX108" fmla="*/ 97742 w 758241"/>
              <a:gd name="connsiteY108" fmla="*/ 283118 h 902354"/>
              <a:gd name="connsiteX109" fmla="*/ 89147 w 758241"/>
              <a:gd name="connsiteY109" fmla="*/ 287136 h 902354"/>
              <a:gd name="connsiteX110" fmla="*/ 76051 w 758241"/>
              <a:gd name="connsiteY110" fmla="*/ 274039 h 902354"/>
              <a:gd name="connsiteX111" fmla="*/ 76013 w 758241"/>
              <a:gd name="connsiteY111" fmla="*/ 274039 h 902354"/>
              <a:gd name="connsiteX112" fmla="*/ 56108 w 758241"/>
              <a:gd name="connsiteY112" fmla="*/ 274039 h 902354"/>
              <a:gd name="connsiteX113" fmla="*/ 26789 w 758241"/>
              <a:gd name="connsiteY113" fmla="*/ 303358 h 902354"/>
              <a:gd name="connsiteX114" fmla="*/ 26789 w 758241"/>
              <a:gd name="connsiteY114" fmla="*/ 323264 h 902354"/>
              <a:gd name="connsiteX115" fmla="*/ 39886 w 758241"/>
              <a:gd name="connsiteY115" fmla="*/ 336360 h 902354"/>
              <a:gd name="connsiteX116" fmla="*/ 35868 w 758241"/>
              <a:gd name="connsiteY116" fmla="*/ 344955 h 902354"/>
              <a:gd name="connsiteX117" fmla="*/ 32631 w 758241"/>
              <a:gd name="connsiteY117" fmla="*/ 353811 h 902354"/>
              <a:gd name="connsiteX118" fmla="*/ 14065 w 758241"/>
              <a:gd name="connsiteY118" fmla="*/ 353811 h 902354"/>
              <a:gd name="connsiteX119" fmla="*/ 14102 w 758241"/>
              <a:gd name="connsiteY119" fmla="*/ 353848 h 902354"/>
              <a:gd name="connsiteX120" fmla="*/ 4204 w 758241"/>
              <a:gd name="connsiteY120" fmla="*/ 357941 h 902354"/>
              <a:gd name="connsiteX121" fmla="*/ 4130 w 758241"/>
              <a:gd name="connsiteY121" fmla="*/ 358015 h 902354"/>
              <a:gd name="connsiteX122" fmla="*/ 0 w 758241"/>
              <a:gd name="connsiteY122" fmla="*/ 367912 h 902354"/>
              <a:gd name="connsiteX123" fmla="*/ 0 w 758241"/>
              <a:gd name="connsiteY123" fmla="*/ 409399 h 902354"/>
              <a:gd name="connsiteX124" fmla="*/ 4130 w 758241"/>
              <a:gd name="connsiteY124" fmla="*/ 419333 h 902354"/>
              <a:gd name="connsiteX125" fmla="*/ 4130 w 758241"/>
              <a:gd name="connsiteY125" fmla="*/ 419370 h 902354"/>
              <a:gd name="connsiteX126" fmla="*/ 14065 w 758241"/>
              <a:gd name="connsiteY126" fmla="*/ 423500 h 902354"/>
              <a:gd name="connsiteX127" fmla="*/ 32631 w 758241"/>
              <a:gd name="connsiteY127" fmla="*/ 423500 h 902354"/>
              <a:gd name="connsiteX128" fmla="*/ 35868 w 758241"/>
              <a:gd name="connsiteY128" fmla="*/ 432356 h 902354"/>
              <a:gd name="connsiteX129" fmla="*/ 39886 w 758241"/>
              <a:gd name="connsiteY129" fmla="*/ 440950 h 902354"/>
              <a:gd name="connsiteX130" fmla="*/ 26789 w 758241"/>
              <a:gd name="connsiteY130" fmla="*/ 454047 h 902354"/>
              <a:gd name="connsiteX131" fmla="*/ 26752 w 758241"/>
              <a:gd name="connsiteY131" fmla="*/ 454047 h 902354"/>
              <a:gd name="connsiteX132" fmla="*/ 26752 w 758241"/>
              <a:gd name="connsiteY132" fmla="*/ 473991 h 902354"/>
              <a:gd name="connsiteX133" fmla="*/ 56108 w 758241"/>
              <a:gd name="connsiteY133" fmla="*/ 503310 h 902354"/>
              <a:gd name="connsiteX134" fmla="*/ 74935 w 758241"/>
              <a:gd name="connsiteY134" fmla="*/ 504314 h 902354"/>
              <a:gd name="connsiteX135" fmla="*/ 76014 w 758241"/>
              <a:gd name="connsiteY135" fmla="*/ 503310 h 902354"/>
              <a:gd name="connsiteX136" fmla="*/ 89111 w 758241"/>
              <a:gd name="connsiteY136" fmla="*/ 490213 h 902354"/>
              <a:gd name="connsiteX137" fmla="*/ 97706 w 758241"/>
              <a:gd name="connsiteY137" fmla="*/ 494231 h 902354"/>
              <a:gd name="connsiteX138" fmla="*/ 106561 w 758241"/>
              <a:gd name="connsiteY138" fmla="*/ 497468 h 902354"/>
              <a:gd name="connsiteX139" fmla="*/ 106598 w 758241"/>
              <a:gd name="connsiteY139" fmla="*/ 515960 h 902354"/>
              <a:gd name="connsiteX140" fmla="*/ 110728 w 758241"/>
              <a:gd name="connsiteY140" fmla="*/ 525894 h 902354"/>
              <a:gd name="connsiteX141" fmla="*/ 120663 w 758241"/>
              <a:gd name="connsiteY141" fmla="*/ 530062 h 902354"/>
              <a:gd name="connsiteX142" fmla="*/ 162149 w 758241"/>
              <a:gd name="connsiteY142" fmla="*/ 530062 h 902354"/>
              <a:gd name="connsiteX143" fmla="*/ 172046 w 758241"/>
              <a:gd name="connsiteY143" fmla="*/ 525932 h 902354"/>
              <a:gd name="connsiteX144" fmla="*/ 172121 w 758241"/>
              <a:gd name="connsiteY144" fmla="*/ 525857 h 902354"/>
              <a:gd name="connsiteX145" fmla="*/ 172083 w 758241"/>
              <a:gd name="connsiteY145" fmla="*/ 525895 h 902354"/>
              <a:gd name="connsiteX146" fmla="*/ 176213 w 758241"/>
              <a:gd name="connsiteY146" fmla="*/ 515960 h 902354"/>
              <a:gd name="connsiteX147" fmla="*/ 176213 w 758241"/>
              <a:gd name="connsiteY147" fmla="*/ 497431 h 902354"/>
              <a:gd name="connsiteX148" fmla="*/ 185069 w 758241"/>
              <a:gd name="connsiteY148" fmla="*/ 494194 h 902354"/>
              <a:gd name="connsiteX149" fmla="*/ 193664 w 758241"/>
              <a:gd name="connsiteY149" fmla="*/ 490176 h 902354"/>
              <a:gd name="connsiteX150" fmla="*/ 206835 w 758241"/>
              <a:gd name="connsiteY150" fmla="*/ 503310 h 902354"/>
              <a:gd name="connsiteX151" fmla="*/ 216769 w 758241"/>
              <a:gd name="connsiteY151" fmla="*/ 507440 h 902354"/>
              <a:gd name="connsiteX152" fmla="*/ 226704 w 758241"/>
              <a:gd name="connsiteY152" fmla="*/ 503310 h 902354"/>
              <a:gd name="connsiteX153" fmla="*/ 256023 w 758241"/>
              <a:gd name="connsiteY153" fmla="*/ 473991 h 902354"/>
              <a:gd name="connsiteX154" fmla="*/ 256060 w 758241"/>
              <a:gd name="connsiteY154" fmla="*/ 473991 h 902354"/>
              <a:gd name="connsiteX155" fmla="*/ 257065 w 758241"/>
              <a:gd name="connsiteY155" fmla="*/ 455201 h 902354"/>
              <a:gd name="connsiteX156" fmla="*/ 256060 w 758241"/>
              <a:gd name="connsiteY156" fmla="*/ 454084 h 902354"/>
              <a:gd name="connsiteX157" fmla="*/ 242963 w 758241"/>
              <a:gd name="connsiteY157" fmla="*/ 440988 h 902354"/>
              <a:gd name="connsiteX158" fmla="*/ 246981 w 758241"/>
              <a:gd name="connsiteY158" fmla="*/ 432393 h 902354"/>
              <a:gd name="connsiteX159" fmla="*/ 250218 w 758241"/>
              <a:gd name="connsiteY159" fmla="*/ 423538 h 902354"/>
              <a:gd name="connsiteX160" fmla="*/ 268785 w 758241"/>
              <a:gd name="connsiteY160" fmla="*/ 423538 h 902354"/>
              <a:gd name="connsiteX161" fmla="*/ 268747 w 758241"/>
              <a:gd name="connsiteY161" fmla="*/ 423500 h 902354"/>
              <a:gd name="connsiteX162" fmla="*/ 278608 w 758241"/>
              <a:gd name="connsiteY162" fmla="*/ 419408 h 902354"/>
              <a:gd name="connsiteX163" fmla="*/ 278682 w 758241"/>
              <a:gd name="connsiteY163" fmla="*/ 419333 h 902354"/>
              <a:gd name="connsiteX164" fmla="*/ 282812 w 758241"/>
              <a:gd name="connsiteY164" fmla="*/ 409399 h 902354"/>
              <a:gd name="connsiteX165" fmla="*/ 282812 w 758241"/>
              <a:gd name="connsiteY165" fmla="*/ 367912 h 902354"/>
              <a:gd name="connsiteX166" fmla="*/ 278719 w 758241"/>
              <a:gd name="connsiteY166" fmla="*/ 358015 h 902354"/>
              <a:gd name="connsiteX167" fmla="*/ 278645 w 758241"/>
              <a:gd name="connsiteY167" fmla="*/ 357941 h 902354"/>
              <a:gd name="connsiteX168" fmla="*/ 268747 w 758241"/>
              <a:gd name="connsiteY168" fmla="*/ 353811 h 902354"/>
              <a:gd name="connsiteX169" fmla="*/ 250181 w 758241"/>
              <a:gd name="connsiteY169" fmla="*/ 353811 h 902354"/>
              <a:gd name="connsiteX170" fmla="*/ 246944 w 758241"/>
              <a:gd name="connsiteY170" fmla="*/ 344955 h 902354"/>
              <a:gd name="connsiteX171" fmla="*/ 242926 w 758241"/>
              <a:gd name="connsiteY171" fmla="*/ 336361 h 902354"/>
              <a:gd name="connsiteX172" fmla="*/ 256023 w 758241"/>
              <a:gd name="connsiteY172" fmla="*/ 323264 h 902354"/>
              <a:gd name="connsiteX173" fmla="*/ 257027 w 758241"/>
              <a:gd name="connsiteY173" fmla="*/ 304474 h 902354"/>
              <a:gd name="connsiteX174" fmla="*/ 256023 w 758241"/>
              <a:gd name="connsiteY174" fmla="*/ 303357 h 902354"/>
              <a:gd name="connsiteX175" fmla="*/ 226741 w 758241"/>
              <a:gd name="connsiteY175" fmla="*/ 274001 h 902354"/>
              <a:gd name="connsiteX176" fmla="*/ 206836 w 758241"/>
              <a:gd name="connsiteY176" fmla="*/ 274001 h 902354"/>
              <a:gd name="connsiteX177" fmla="*/ 193739 w 758241"/>
              <a:gd name="connsiteY177" fmla="*/ 287098 h 902354"/>
              <a:gd name="connsiteX178" fmla="*/ 185144 w 758241"/>
              <a:gd name="connsiteY178" fmla="*/ 283080 h 902354"/>
              <a:gd name="connsiteX179" fmla="*/ 176289 w 758241"/>
              <a:gd name="connsiteY179" fmla="*/ 279843 h 902354"/>
              <a:gd name="connsiteX180" fmla="*/ 176252 w 758241"/>
              <a:gd name="connsiteY180" fmla="*/ 261351 h 902354"/>
              <a:gd name="connsiteX181" fmla="*/ 172159 w 758241"/>
              <a:gd name="connsiteY181" fmla="*/ 251454 h 902354"/>
              <a:gd name="connsiteX182" fmla="*/ 172084 w 758241"/>
              <a:gd name="connsiteY182" fmla="*/ 251379 h 902354"/>
              <a:gd name="connsiteX183" fmla="*/ 162187 w 758241"/>
              <a:gd name="connsiteY183" fmla="*/ 247249 h 902354"/>
              <a:gd name="connsiteX184" fmla="*/ 155116 w 758241"/>
              <a:gd name="connsiteY184" fmla="*/ 268347 h 902354"/>
              <a:gd name="connsiteX185" fmla="*/ 127732 w 758241"/>
              <a:gd name="connsiteY185" fmla="*/ 268384 h 902354"/>
              <a:gd name="connsiteX186" fmla="*/ 127732 w 758241"/>
              <a:gd name="connsiteY186" fmla="*/ 287881 h 902354"/>
              <a:gd name="connsiteX187" fmla="*/ 119658 w 758241"/>
              <a:gd name="connsiteY187" fmla="*/ 298113 h 902354"/>
              <a:gd name="connsiteX188" fmla="*/ 93390 w 758241"/>
              <a:gd name="connsiteY188" fmla="*/ 308865 h 902354"/>
              <a:gd name="connsiteX189" fmla="*/ 79809 w 758241"/>
              <a:gd name="connsiteY189" fmla="*/ 307712 h 902354"/>
              <a:gd name="connsiteX190" fmla="*/ 66042 w 758241"/>
              <a:gd name="connsiteY190" fmla="*/ 293946 h 902354"/>
              <a:gd name="connsiteX191" fmla="*/ 46695 w 758241"/>
              <a:gd name="connsiteY191" fmla="*/ 313293 h 902354"/>
              <a:gd name="connsiteX192" fmla="*/ 60462 w 758241"/>
              <a:gd name="connsiteY192" fmla="*/ 327022 h 902354"/>
              <a:gd name="connsiteX193" fmla="*/ 60462 w 758241"/>
              <a:gd name="connsiteY193" fmla="*/ 327059 h 902354"/>
              <a:gd name="connsiteX194" fmla="*/ 62024 w 758241"/>
              <a:gd name="connsiteY194" fmla="*/ 340008 h 902354"/>
              <a:gd name="connsiteX195" fmla="*/ 51086 w 758241"/>
              <a:gd name="connsiteY195" fmla="*/ 365941 h 902354"/>
              <a:gd name="connsiteX196" fmla="*/ 40630 w 758241"/>
              <a:gd name="connsiteY196" fmla="*/ 374983 h 902354"/>
              <a:gd name="connsiteX197" fmla="*/ 21208 w 758241"/>
              <a:gd name="connsiteY197" fmla="*/ 374983 h 902354"/>
              <a:gd name="connsiteX198" fmla="*/ 21208 w 758241"/>
              <a:gd name="connsiteY198" fmla="*/ 402330 h 902354"/>
              <a:gd name="connsiteX199" fmla="*/ 40667 w 758241"/>
              <a:gd name="connsiteY199" fmla="*/ 402330 h 902354"/>
              <a:gd name="connsiteX200" fmla="*/ 50899 w 758241"/>
              <a:gd name="connsiteY200" fmla="*/ 410441 h 902354"/>
              <a:gd name="connsiteX201" fmla="*/ 61652 w 758241"/>
              <a:gd name="connsiteY201" fmla="*/ 436635 h 902354"/>
              <a:gd name="connsiteX202" fmla="*/ 60499 w 758241"/>
              <a:gd name="connsiteY202" fmla="*/ 450215 h 902354"/>
              <a:gd name="connsiteX203" fmla="*/ 46732 w 758241"/>
              <a:gd name="connsiteY203" fmla="*/ 463982 h 902354"/>
              <a:gd name="connsiteX204" fmla="*/ 66079 w 758241"/>
              <a:gd name="connsiteY204" fmla="*/ 483329 h 902354"/>
              <a:gd name="connsiteX205" fmla="*/ 79846 w 758241"/>
              <a:gd name="connsiteY205" fmla="*/ 469563 h 902354"/>
              <a:gd name="connsiteX206" fmla="*/ 92794 w 758241"/>
              <a:gd name="connsiteY206" fmla="*/ 468000 h 902354"/>
              <a:gd name="connsiteX207" fmla="*/ 105779 w 758241"/>
              <a:gd name="connsiteY207" fmla="*/ 474623 h 902354"/>
              <a:gd name="connsiteX208" fmla="*/ 118728 w 758241"/>
              <a:gd name="connsiteY208" fmla="*/ 478939 h 902354"/>
              <a:gd name="connsiteX209" fmla="*/ 127732 w 758241"/>
              <a:gd name="connsiteY209" fmla="*/ 489394 h 902354"/>
              <a:gd name="connsiteX210" fmla="*/ 127732 w 758241"/>
              <a:gd name="connsiteY210" fmla="*/ 508854 h 902354"/>
              <a:gd name="connsiteX211" fmla="*/ 155079 w 758241"/>
              <a:gd name="connsiteY211" fmla="*/ 508854 h 902354"/>
              <a:gd name="connsiteX212" fmla="*/ 155116 w 758241"/>
              <a:gd name="connsiteY212" fmla="*/ 489432 h 902354"/>
              <a:gd name="connsiteX213" fmla="*/ 163190 w 758241"/>
              <a:gd name="connsiteY213" fmla="*/ 479200 h 902354"/>
              <a:gd name="connsiteX214" fmla="*/ 189458 w 758241"/>
              <a:gd name="connsiteY214" fmla="*/ 468410 h 902354"/>
              <a:gd name="connsiteX215" fmla="*/ 203002 w 758241"/>
              <a:gd name="connsiteY215" fmla="*/ 469600 h 902354"/>
              <a:gd name="connsiteX216" fmla="*/ 216768 w 758241"/>
              <a:gd name="connsiteY216" fmla="*/ 483367 h 902354"/>
              <a:gd name="connsiteX217" fmla="*/ 236116 w 758241"/>
              <a:gd name="connsiteY217" fmla="*/ 464020 h 902354"/>
              <a:gd name="connsiteX218" fmla="*/ 222349 w 758241"/>
              <a:gd name="connsiteY218" fmla="*/ 450253 h 902354"/>
              <a:gd name="connsiteX219" fmla="*/ 220824 w 758241"/>
              <a:gd name="connsiteY219" fmla="*/ 437305 h 902354"/>
              <a:gd name="connsiteX220" fmla="*/ 231762 w 758241"/>
              <a:gd name="connsiteY220" fmla="*/ 411334 h 902354"/>
              <a:gd name="connsiteX221" fmla="*/ 242218 w 758241"/>
              <a:gd name="connsiteY221" fmla="*/ 402330 h 902354"/>
              <a:gd name="connsiteX222" fmla="*/ 261677 w 758241"/>
              <a:gd name="connsiteY222" fmla="*/ 402330 h 902354"/>
              <a:gd name="connsiteX223" fmla="*/ 261677 w 758241"/>
              <a:gd name="connsiteY223" fmla="*/ 374983 h 902354"/>
              <a:gd name="connsiteX224" fmla="*/ 242218 w 758241"/>
              <a:gd name="connsiteY224" fmla="*/ 374983 h 902354"/>
              <a:gd name="connsiteX225" fmla="*/ 231949 w 758241"/>
              <a:gd name="connsiteY225" fmla="*/ 366872 h 902354"/>
              <a:gd name="connsiteX226" fmla="*/ 227447 w 758241"/>
              <a:gd name="connsiteY226" fmla="*/ 353031 h 902354"/>
              <a:gd name="connsiteX227" fmla="*/ 221196 w 758241"/>
              <a:gd name="connsiteY227" fmla="*/ 340678 h 902354"/>
              <a:gd name="connsiteX228" fmla="*/ 222349 w 758241"/>
              <a:gd name="connsiteY228" fmla="*/ 327097 h 902354"/>
              <a:gd name="connsiteX229" fmla="*/ 236116 w 758241"/>
              <a:gd name="connsiteY229" fmla="*/ 313368 h 902354"/>
              <a:gd name="connsiteX230" fmla="*/ 216769 w 758241"/>
              <a:gd name="connsiteY230" fmla="*/ 294021 h 902354"/>
              <a:gd name="connsiteX231" fmla="*/ 203002 w 758241"/>
              <a:gd name="connsiteY231" fmla="*/ 307713 h 902354"/>
              <a:gd name="connsiteX232" fmla="*/ 190054 w 758241"/>
              <a:gd name="connsiteY232" fmla="*/ 309238 h 902354"/>
              <a:gd name="connsiteX233" fmla="*/ 164120 w 758241"/>
              <a:gd name="connsiteY233" fmla="*/ 298337 h 902354"/>
              <a:gd name="connsiteX234" fmla="*/ 155116 w 758241"/>
              <a:gd name="connsiteY234" fmla="*/ 287881 h 902354"/>
              <a:gd name="connsiteX235" fmla="*/ 193216 w 758241"/>
              <a:gd name="connsiteY235" fmla="*/ 756284 h 902354"/>
              <a:gd name="connsiteX236" fmla="*/ 193216 w 758241"/>
              <a:gd name="connsiteY236" fmla="*/ 756359 h 902354"/>
              <a:gd name="connsiteX237" fmla="*/ 218516 w 758241"/>
              <a:gd name="connsiteY237" fmla="*/ 777083 h 902354"/>
              <a:gd name="connsiteX238" fmla="*/ 203113 w 758241"/>
              <a:gd name="connsiteY238" fmla="*/ 805918 h 902354"/>
              <a:gd name="connsiteX239" fmla="*/ 171784 w 758241"/>
              <a:gd name="connsiteY239" fmla="*/ 796467 h 902354"/>
              <a:gd name="connsiteX240" fmla="*/ 174984 w 758241"/>
              <a:gd name="connsiteY240" fmla="*/ 763911 h 902354"/>
              <a:gd name="connsiteX241" fmla="*/ 193215 w 758241"/>
              <a:gd name="connsiteY241" fmla="*/ 756358 h 902354"/>
              <a:gd name="connsiteX242" fmla="*/ 196490 w 758241"/>
              <a:gd name="connsiteY242" fmla="*/ 778795 h 902354"/>
              <a:gd name="connsiteX243" fmla="*/ 196453 w 758241"/>
              <a:gd name="connsiteY243" fmla="*/ 778832 h 902354"/>
              <a:gd name="connsiteX244" fmla="*/ 190612 w 758241"/>
              <a:gd name="connsiteY244" fmla="*/ 778274 h 902354"/>
              <a:gd name="connsiteX245" fmla="*/ 188900 w 758241"/>
              <a:gd name="connsiteY245" fmla="*/ 783855 h 902354"/>
              <a:gd name="connsiteX246" fmla="*/ 194072 w 758241"/>
              <a:gd name="connsiteY246" fmla="*/ 786645 h 902354"/>
              <a:gd name="connsiteX247" fmla="*/ 197793 w 758241"/>
              <a:gd name="connsiteY247" fmla="*/ 782106 h 902354"/>
              <a:gd name="connsiteX248" fmla="*/ 196453 w 758241"/>
              <a:gd name="connsiteY248" fmla="*/ 778832 h 902354"/>
              <a:gd name="connsiteX249" fmla="*/ 93573 w 758241"/>
              <a:gd name="connsiteY249" fmla="*/ 705497 h 902354"/>
              <a:gd name="connsiteX250" fmla="*/ 90150 w 758241"/>
              <a:gd name="connsiteY250" fmla="*/ 730203 h 902354"/>
              <a:gd name="connsiteX251" fmla="*/ 214975 w 758241"/>
              <a:gd name="connsiteY251" fmla="*/ 895366 h 902354"/>
              <a:gd name="connsiteX252" fmla="*/ 239642 w 758241"/>
              <a:gd name="connsiteY252" fmla="*/ 898789 h 902354"/>
              <a:gd name="connsiteX253" fmla="*/ 292253 w 758241"/>
              <a:gd name="connsiteY253" fmla="*/ 859052 h 902354"/>
              <a:gd name="connsiteX254" fmla="*/ 293444 w 758241"/>
              <a:gd name="connsiteY254" fmla="*/ 858122 h 902354"/>
              <a:gd name="connsiteX255" fmla="*/ 297685 w 758241"/>
              <a:gd name="connsiteY255" fmla="*/ 836431 h 902354"/>
              <a:gd name="connsiteX256" fmla="*/ 416529 w 758241"/>
              <a:gd name="connsiteY256" fmla="*/ 820394 h 902354"/>
              <a:gd name="connsiteX257" fmla="*/ 563052 w 758241"/>
              <a:gd name="connsiteY257" fmla="*/ 791671 h 902354"/>
              <a:gd name="connsiteX258" fmla="*/ 743693 w 758241"/>
              <a:gd name="connsiteY258" fmla="*/ 615382 h 902354"/>
              <a:gd name="connsiteX259" fmla="*/ 745182 w 758241"/>
              <a:gd name="connsiteY259" fmla="*/ 613819 h 902354"/>
              <a:gd name="connsiteX260" fmla="*/ 758241 w 758241"/>
              <a:gd name="connsiteY260" fmla="*/ 580742 h 902354"/>
              <a:gd name="connsiteX261" fmla="*/ 749795 w 758241"/>
              <a:gd name="connsiteY261" fmla="*/ 559757 h 902354"/>
              <a:gd name="connsiteX262" fmla="*/ 730299 w 758241"/>
              <a:gd name="connsiteY262" fmla="*/ 548558 h 902354"/>
              <a:gd name="connsiteX263" fmla="*/ 679660 w 758241"/>
              <a:gd name="connsiteY263" fmla="*/ 554362 h 902354"/>
              <a:gd name="connsiteX264" fmla="*/ 677576 w 758241"/>
              <a:gd name="connsiteY264" fmla="*/ 555553 h 902354"/>
              <a:gd name="connsiteX265" fmla="*/ 538273 w 758241"/>
              <a:gd name="connsiteY265" fmla="*/ 657318 h 902354"/>
              <a:gd name="connsiteX266" fmla="*/ 461776 w 758241"/>
              <a:gd name="connsiteY266" fmla="*/ 681242 h 902354"/>
              <a:gd name="connsiteX267" fmla="*/ 428401 w 758241"/>
              <a:gd name="connsiteY267" fmla="*/ 680609 h 902354"/>
              <a:gd name="connsiteX268" fmla="*/ 426206 w 758241"/>
              <a:gd name="connsiteY268" fmla="*/ 679195 h 902354"/>
              <a:gd name="connsiteX269" fmla="*/ 424383 w 758241"/>
              <a:gd name="connsiteY269" fmla="*/ 675214 h 902354"/>
              <a:gd name="connsiteX270" fmla="*/ 424271 w 758241"/>
              <a:gd name="connsiteY270" fmla="*/ 671531 h 902354"/>
              <a:gd name="connsiteX271" fmla="*/ 447526 w 758241"/>
              <a:gd name="connsiteY271" fmla="*/ 669187 h 902354"/>
              <a:gd name="connsiteX272" fmla="*/ 496638 w 758241"/>
              <a:gd name="connsiteY272" fmla="*/ 666954 h 902354"/>
              <a:gd name="connsiteX273" fmla="*/ 498164 w 758241"/>
              <a:gd name="connsiteY273" fmla="*/ 666731 h 902354"/>
              <a:gd name="connsiteX274" fmla="*/ 543668 w 758241"/>
              <a:gd name="connsiteY274" fmla="*/ 645374 h 902354"/>
              <a:gd name="connsiteX275" fmla="*/ 565322 w 758241"/>
              <a:gd name="connsiteY275" fmla="*/ 616576 h 902354"/>
              <a:gd name="connsiteX276" fmla="*/ 568001 w 758241"/>
              <a:gd name="connsiteY276" fmla="*/ 582011 h 902354"/>
              <a:gd name="connsiteX277" fmla="*/ 554123 w 758241"/>
              <a:gd name="connsiteY277" fmla="*/ 554329 h 902354"/>
              <a:gd name="connsiteX278" fmla="*/ 542402 w 758241"/>
              <a:gd name="connsiteY278" fmla="*/ 550348 h 902354"/>
              <a:gd name="connsiteX279" fmla="*/ 465086 w 758241"/>
              <a:gd name="connsiteY279" fmla="*/ 561771 h 902354"/>
              <a:gd name="connsiteX280" fmla="*/ 388328 w 758241"/>
              <a:gd name="connsiteY280" fmla="*/ 549902 h 902354"/>
              <a:gd name="connsiteX281" fmla="*/ 223726 w 758241"/>
              <a:gd name="connsiteY281" fmla="*/ 606196 h 902354"/>
              <a:gd name="connsiteX282" fmla="*/ 172344 w 758241"/>
              <a:gd name="connsiteY282" fmla="*/ 670193 h 902354"/>
              <a:gd name="connsiteX283" fmla="*/ 171339 w 758241"/>
              <a:gd name="connsiteY283" fmla="*/ 668853 h 902354"/>
              <a:gd name="connsiteX284" fmla="*/ 171376 w 758241"/>
              <a:gd name="connsiteY284" fmla="*/ 668853 h 902354"/>
              <a:gd name="connsiteX285" fmla="*/ 146670 w 758241"/>
              <a:gd name="connsiteY285" fmla="*/ 665393 h 902354"/>
              <a:gd name="connsiteX286" fmla="*/ 93613 w 758241"/>
              <a:gd name="connsiteY286" fmla="*/ 705502 h 902354"/>
              <a:gd name="connsiteX287" fmla="*/ 185065 w 758241"/>
              <a:gd name="connsiteY287" fmla="*/ 687042 h 902354"/>
              <a:gd name="connsiteX288" fmla="*/ 285116 w 758241"/>
              <a:gd name="connsiteY288" fmla="*/ 819392 h 902354"/>
              <a:gd name="connsiteX289" fmla="*/ 419847 w 758241"/>
              <a:gd name="connsiteY289" fmla="*/ 799524 h 902354"/>
              <a:gd name="connsiteX290" fmla="*/ 548358 w 758241"/>
              <a:gd name="connsiteY290" fmla="*/ 776455 h 902354"/>
              <a:gd name="connsiteX291" fmla="*/ 728847 w 758241"/>
              <a:gd name="connsiteY291" fmla="*/ 600395 h 902354"/>
              <a:gd name="connsiteX292" fmla="*/ 737182 w 758241"/>
              <a:gd name="connsiteY292" fmla="*/ 581159 h 902354"/>
              <a:gd name="connsiteX293" fmla="*/ 734391 w 758241"/>
              <a:gd name="connsiteY293" fmla="*/ 574016 h 902354"/>
              <a:gd name="connsiteX294" fmla="*/ 724941 w 758241"/>
              <a:gd name="connsiteY294" fmla="*/ 568956 h 902354"/>
              <a:gd name="connsiteX295" fmla="*/ 688925 w 758241"/>
              <a:gd name="connsiteY295" fmla="*/ 573346 h 902354"/>
              <a:gd name="connsiteX296" fmla="*/ 550660 w 758241"/>
              <a:gd name="connsiteY296" fmla="*/ 674330 h 902354"/>
              <a:gd name="connsiteX297" fmla="*/ 460619 w 758241"/>
              <a:gd name="connsiteY297" fmla="*/ 702310 h 902354"/>
              <a:gd name="connsiteX298" fmla="*/ 428956 w 758241"/>
              <a:gd name="connsiteY298" fmla="*/ 701677 h 902354"/>
              <a:gd name="connsiteX299" fmla="*/ 427356 w 758241"/>
              <a:gd name="connsiteY299" fmla="*/ 701677 h 902354"/>
              <a:gd name="connsiteX300" fmla="*/ 409980 w 758241"/>
              <a:gd name="connsiteY300" fmla="*/ 692636 h 902354"/>
              <a:gd name="connsiteX301" fmla="*/ 403692 w 758241"/>
              <a:gd name="connsiteY301" fmla="*/ 679613 h 902354"/>
              <a:gd name="connsiteX302" fmla="*/ 404027 w 758241"/>
              <a:gd name="connsiteY302" fmla="*/ 665586 h 902354"/>
              <a:gd name="connsiteX303" fmla="*/ 414296 w 758241"/>
              <a:gd name="connsiteY303" fmla="*/ 652936 h 902354"/>
              <a:gd name="connsiteX304" fmla="*/ 447261 w 758241"/>
              <a:gd name="connsiteY304" fmla="*/ 648099 h 902354"/>
              <a:gd name="connsiteX305" fmla="*/ 494328 w 758241"/>
              <a:gd name="connsiteY305" fmla="*/ 645904 h 902354"/>
              <a:gd name="connsiteX306" fmla="*/ 530307 w 758241"/>
              <a:gd name="connsiteY306" fmla="*/ 629086 h 902354"/>
              <a:gd name="connsiteX307" fmla="*/ 545711 w 758241"/>
              <a:gd name="connsiteY307" fmla="*/ 608771 h 902354"/>
              <a:gd name="connsiteX308" fmla="*/ 547459 w 758241"/>
              <a:gd name="connsiteY308" fmla="*/ 586708 h 902354"/>
              <a:gd name="connsiteX309" fmla="*/ 541469 w 758241"/>
              <a:gd name="connsiteY309" fmla="*/ 572680 h 902354"/>
              <a:gd name="connsiteX310" fmla="*/ 464562 w 758241"/>
              <a:gd name="connsiteY310" fmla="*/ 582838 h 902354"/>
              <a:gd name="connsiteX311" fmla="*/ 383600 w 758241"/>
              <a:gd name="connsiteY311" fmla="*/ 570522 h 902354"/>
              <a:gd name="connsiteX312" fmla="*/ 242477 w 758241"/>
              <a:gd name="connsiteY312" fmla="*/ 615988 h 902354"/>
              <a:gd name="connsiteX313" fmla="*/ 185105 w 758241"/>
              <a:gd name="connsiteY313" fmla="*/ 687091 h 902354"/>
              <a:gd name="connsiteX314" fmla="*/ 156564 w 758241"/>
              <a:gd name="connsiteY314" fmla="*/ 684363 h 902354"/>
              <a:gd name="connsiteX315" fmla="*/ 109088 w 758241"/>
              <a:gd name="connsiteY315" fmla="*/ 720268 h 902354"/>
              <a:gd name="connsiteX316" fmla="*/ 229751 w 758241"/>
              <a:gd name="connsiteY316" fmla="*/ 879850 h 902354"/>
              <a:gd name="connsiteX317" fmla="*/ 277264 w 758241"/>
              <a:gd name="connsiteY317" fmla="*/ 843945 h 902354"/>
              <a:gd name="connsiteX318" fmla="*/ 648140 w 758241"/>
              <a:gd name="connsiteY318" fmla="*/ 64571 h 902354"/>
              <a:gd name="connsiteX319" fmla="*/ 667934 w 758241"/>
              <a:gd name="connsiteY319" fmla="*/ 61707 h 902354"/>
              <a:gd name="connsiteX320" fmla="*/ 667971 w 758241"/>
              <a:gd name="connsiteY320" fmla="*/ 61669 h 902354"/>
              <a:gd name="connsiteX321" fmla="*/ 507427 w 758241"/>
              <a:gd name="connsiteY321" fmla="*/ 205849 h 902354"/>
              <a:gd name="connsiteX322" fmla="*/ 310603 w 758241"/>
              <a:gd name="connsiteY322" fmla="*/ 296411 h 902354"/>
              <a:gd name="connsiteX323" fmla="*/ 303347 w 758241"/>
              <a:gd name="connsiteY323" fmla="*/ 309211 h 902354"/>
              <a:gd name="connsiteX324" fmla="*/ 315886 w 758241"/>
              <a:gd name="connsiteY324" fmla="*/ 316838 h 902354"/>
              <a:gd name="connsiteX325" fmla="*/ 519330 w 758241"/>
              <a:gd name="connsiteY325" fmla="*/ 223263 h 902354"/>
              <a:gd name="connsiteX326" fmla="*/ 681446 w 758241"/>
              <a:gd name="connsiteY326" fmla="*/ 78302 h 902354"/>
              <a:gd name="connsiteX327" fmla="*/ 680255 w 758241"/>
              <a:gd name="connsiteY327" fmla="*/ 94449 h 902354"/>
              <a:gd name="connsiteX328" fmla="*/ 680293 w 758241"/>
              <a:gd name="connsiteY328" fmla="*/ 94449 h 902354"/>
              <a:gd name="connsiteX329" fmla="*/ 690115 w 758241"/>
              <a:gd name="connsiteY329" fmla="*/ 105202 h 902354"/>
              <a:gd name="connsiteX330" fmla="*/ 701351 w 758241"/>
              <a:gd name="connsiteY330" fmla="*/ 95938 h 902354"/>
              <a:gd name="connsiteX331" fmla="*/ 704812 w 758241"/>
              <a:gd name="connsiteY331" fmla="*/ 47940 h 902354"/>
              <a:gd name="connsiteX332" fmla="*/ 704737 w 758241"/>
              <a:gd name="connsiteY332" fmla="*/ 45708 h 902354"/>
              <a:gd name="connsiteX333" fmla="*/ 700607 w 758241"/>
              <a:gd name="connsiteY333" fmla="*/ 38750 h 902354"/>
              <a:gd name="connsiteX334" fmla="*/ 692794 w 758241"/>
              <a:gd name="connsiteY334" fmla="*/ 36741 h 902354"/>
              <a:gd name="connsiteX335" fmla="*/ 645169 w 758241"/>
              <a:gd name="connsiteY335" fmla="*/ 43661 h 902354"/>
              <a:gd name="connsiteX336" fmla="*/ 636202 w 758241"/>
              <a:gd name="connsiteY336" fmla="*/ 55605 h 902354"/>
              <a:gd name="connsiteX337" fmla="*/ 648182 w 758241"/>
              <a:gd name="connsiteY337" fmla="*/ 64572 h 902354"/>
              <a:gd name="connsiteX338" fmla="*/ 317146 w 758241"/>
              <a:gd name="connsiteY338" fmla="*/ 353855 h 902354"/>
              <a:gd name="connsiteX339" fmla="*/ 352493 w 758241"/>
              <a:gd name="connsiteY339" fmla="*/ 345819 h 902354"/>
              <a:gd name="connsiteX340" fmla="*/ 387951 w 758241"/>
              <a:gd name="connsiteY340" fmla="*/ 335661 h 902354"/>
              <a:gd name="connsiteX341" fmla="*/ 387914 w 758241"/>
              <a:gd name="connsiteY341" fmla="*/ 335698 h 902354"/>
              <a:gd name="connsiteX342" fmla="*/ 395951 w 758241"/>
              <a:gd name="connsiteY342" fmla="*/ 336368 h 902354"/>
              <a:gd name="connsiteX343" fmla="*/ 401123 w 758241"/>
              <a:gd name="connsiteY343" fmla="*/ 342544 h 902354"/>
              <a:gd name="connsiteX344" fmla="*/ 401644 w 758241"/>
              <a:gd name="connsiteY344" fmla="*/ 345707 h 902354"/>
              <a:gd name="connsiteX345" fmla="*/ 401681 w 758241"/>
              <a:gd name="connsiteY345" fmla="*/ 345707 h 902354"/>
              <a:gd name="connsiteX346" fmla="*/ 401681 w 758241"/>
              <a:gd name="connsiteY346" fmla="*/ 515519 h 902354"/>
              <a:gd name="connsiteX347" fmla="*/ 397662 w 758241"/>
              <a:gd name="connsiteY347" fmla="*/ 525155 h 902354"/>
              <a:gd name="connsiteX348" fmla="*/ 388063 w 758241"/>
              <a:gd name="connsiteY348" fmla="*/ 529136 h 902354"/>
              <a:gd name="connsiteX349" fmla="*/ 321685 w 758241"/>
              <a:gd name="connsiteY349" fmla="*/ 529136 h 902354"/>
              <a:gd name="connsiteX350" fmla="*/ 312049 w 758241"/>
              <a:gd name="connsiteY350" fmla="*/ 525155 h 902354"/>
              <a:gd name="connsiteX351" fmla="*/ 308030 w 758241"/>
              <a:gd name="connsiteY351" fmla="*/ 515519 h 902354"/>
              <a:gd name="connsiteX352" fmla="*/ 308030 w 758241"/>
              <a:gd name="connsiteY352" fmla="*/ 364347 h 902354"/>
              <a:gd name="connsiteX353" fmla="*/ 317220 w 758241"/>
              <a:gd name="connsiteY353" fmla="*/ 353855 h 902354"/>
              <a:gd name="connsiteX354" fmla="*/ 357702 w 758241"/>
              <a:gd name="connsiteY354" fmla="*/ 366357 h 902354"/>
              <a:gd name="connsiteX355" fmla="*/ 329127 w 758241"/>
              <a:gd name="connsiteY355" fmla="*/ 372980 h 902354"/>
              <a:gd name="connsiteX356" fmla="*/ 329090 w 758241"/>
              <a:gd name="connsiteY356" fmla="*/ 508044 h 902354"/>
              <a:gd name="connsiteX357" fmla="*/ 380509 w 758241"/>
              <a:gd name="connsiteY357" fmla="*/ 508044 h 902354"/>
              <a:gd name="connsiteX358" fmla="*/ 380509 w 758241"/>
              <a:gd name="connsiteY358" fmla="*/ 360035 h 902354"/>
              <a:gd name="connsiteX359" fmla="*/ 357665 w 758241"/>
              <a:gd name="connsiteY359" fmla="*/ 366360 h 902354"/>
              <a:gd name="connsiteX360" fmla="*/ 420508 w 758241"/>
              <a:gd name="connsiteY360" fmla="*/ 324238 h 902354"/>
              <a:gd name="connsiteX361" fmla="*/ 456227 w 758241"/>
              <a:gd name="connsiteY361" fmla="*/ 309355 h 902354"/>
              <a:gd name="connsiteX362" fmla="*/ 491424 w 758241"/>
              <a:gd name="connsiteY362" fmla="*/ 292091 h 902354"/>
              <a:gd name="connsiteX363" fmla="*/ 501843 w 758241"/>
              <a:gd name="connsiteY363" fmla="*/ 292352 h 902354"/>
              <a:gd name="connsiteX364" fmla="*/ 506977 w 758241"/>
              <a:gd name="connsiteY364" fmla="*/ 301430 h 902354"/>
              <a:gd name="connsiteX365" fmla="*/ 506977 w 758241"/>
              <a:gd name="connsiteY365" fmla="*/ 515524 h 902354"/>
              <a:gd name="connsiteX366" fmla="*/ 502959 w 758241"/>
              <a:gd name="connsiteY366" fmla="*/ 525160 h 902354"/>
              <a:gd name="connsiteX367" fmla="*/ 493322 w 758241"/>
              <a:gd name="connsiteY367" fmla="*/ 529141 h 902354"/>
              <a:gd name="connsiteX368" fmla="*/ 426870 w 758241"/>
              <a:gd name="connsiteY368" fmla="*/ 529141 h 902354"/>
              <a:gd name="connsiteX369" fmla="*/ 417234 w 758241"/>
              <a:gd name="connsiteY369" fmla="*/ 525160 h 902354"/>
              <a:gd name="connsiteX370" fmla="*/ 413215 w 758241"/>
              <a:gd name="connsiteY370" fmla="*/ 515524 h 902354"/>
              <a:gd name="connsiteX371" fmla="*/ 413215 w 758241"/>
              <a:gd name="connsiteY371" fmla="*/ 334358 h 902354"/>
              <a:gd name="connsiteX372" fmla="*/ 420508 w 758241"/>
              <a:gd name="connsiteY372" fmla="*/ 324312 h 902354"/>
              <a:gd name="connsiteX373" fmla="*/ 464933 w 758241"/>
              <a:gd name="connsiteY373" fmla="*/ 328591 h 902354"/>
              <a:gd name="connsiteX374" fmla="*/ 434350 w 758241"/>
              <a:gd name="connsiteY374" fmla="*/ 341540 h 902354"/>
              <a:gd name="connsiteX375" fmla="*/ 434350 w 758241"/>
              <a:gd name="connsiteY375" fmla="*/ 507970 h 902354"/>
              <a:gd name="connsiteX376" fmla="*/ 485769 w 758241"/>
              <a:gd name="connsiteY376" fmla="*/ 507970 h 902354"/>
              <a:gd name="connsiteX377" fmla="*/ 485769 w 758241"/>
              <a:gd name="connsiteY377" fmla="*/ 318737 h 902354"/>
              <a:gd name="connsiteX378" fmla="*/ 464896 w 758241"/>
              <a:gd name="connsiteY378" fmla="*/ 328671 h 902354"/>
              <a:gd name="connsiteX379" fmla="*/ 524167 w 758241"/>
              <a:gd name="connsiteY379" fmla="*/ 273339 h 902354"/>
              <a:gd name="connsiteX380" fmla="*/ 560109 w 758241"/>
              <a:gd name="connsiteY380" fmla="*/ 249675 h 902354"/>
              <a:gd name="connsiteX381" fmla="*/ 594934 w 758241"/>
              <a:gd name="connsiteY381" fmla="*/ 223109 h 902354"/>
              <a:gd name="connsiteX382" fmla="*/ 594897 w 758241"/>
              <a:gd name="connsiteY382" fmla="*/ 223146 h 902354"/>
              <a:gd name="connsiteX383" fmla="*/ 606060 w 758241"/>
              <a:gd name="connsiteY383" fmla="*/ 221732 h 902354"/>
              <a:gd name="connsiteX384" fmla="*/ 612087 w 758241"/>
              <a:gd name="connsiteY384" fmla="*/ 231257 h 902354"/>
              <a:gd name="connsiteX385" fmla="*/ 612087 w 758241"/>
              <a:gd name="connsiteY385" fmla="*/ 515521 h 902354"/>
              <a:gd name="connsiteX386" fmla="*/ 608106 w 758241"/>
              <a:gd name="connsiteY386" fmla="*/ 525158 h 902354"/>
              <a:gd name="connsiteX387" fmla="*/ 598469 w 758241"/>
              <a:gd name="connsiteY387" fmla="*/ 529139 h 902354"/>
              <a:gd name="connsiteX388" fmla="*/ 532092 w 758241"/>
              <a:gd name="connsiteY388" fmla="*/ 529139 h 902354"/>
              <a:gd name="connsiteX389" fmla="*/ 522455 w 758241"/>
              <a:gd name="connsiteY389" fmla="*/ 525158 h 902354"/>
              <a:gd name="connsiteX390" fmla="*/ 518437 w 758241"/>
              <a:gd name="connsiteY390" fmla="*/ 515521 h 902354"/>
              <a:gd name="connsiteX391" fmla="*/ 518437 w 758241"/>
              <a:gd name="connsiteY391" fmla="*/ 282825 h 902354"/>
              <a:gd name="connsiteX392" fmla="*/ 524167 w 758241"/>
              <a:gd name="connsiteY392" fmla="*/ 273412 h 902354"/>
              <a:gd name="connsiteX393" fmla="*/ 572276 w 758241"/>
              <a:gd name="connsiteY393" fmla="*/ 266828 h 902354"/>
              <a:gd name="connsiteX394" fmla="*/ 590991 w 758241"/>
              <a:gd name="connsiteY394" fmla="*/ 253024 h 902354"/>
              <a:gd name="connsiteX395" fmla="*/ 590954 w 758241"/>
              <a:gd name="connsiteY395" fmla="*/ 508037 h 902354"/>
              <a:gd name="connsiteX396" fmla="*/ 539571 w 758241"/>
              <a:gd name="connsiteY396" fmla="*/ 508037 h 902354"/>
              <a:gd name="connsiteX397" fmla="*/ 539571 w 758241"/>
              <a:gd name="connsiteY397" fmla="*/ 288705 h 902354"/>
              <a:gd name="connsiteX398" fmla="*/ 572313 w 758241"/>
              <a:gd name="connsiteY398" fmla="*/ 266938 h 902354"/>
              <a:gd name="connsiteX399" fmla="*/ 680061 w 758241"/>
              <a:gd name="connsiteY399" fmla="*/ 170578 h 902354"/>
              <a:gd name="connsiteX400" fmla="*/ 644826 w 758241"/>
              <a:gd name="connsiteY400" fmla="*/ 207114 h 902354"/>
              <a:gd name="connsiteX401" fmla="*/ 644826 w 758241"/>
              <a:gd name="connsiteY401" fmla="*/ 508047 h 902354"/>
              <a:gd name="connsiteX402" fmla="*/ 696246 w 758241"/>
              <a:gd name="connsiteY402" fmla="*/ 508047 h 902354"/>
              <a:gd name="connsiteX403" fmla="*/ 696246 w 758241"/>
              <a:gd name="connsiteY403" fmla="*/ 151898 h 902354"/>
              <a:gd name="connsiteX404" fmla="*/ 680061 w 758241"/>
              <a:gd name="connsiteY404" fmla="*/ 170651 h 902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</a:cxnLst>
            <a:rect l="l" t="t" r="r" b="b"/>
            <a:pathLst>
              <a:path w="758241" h="902354">
                <a:moveTo>
                  <a:pt x="627538" y="194413"/>
                </a:moveTo>
                <a:cubicBezTo>
                  <a:pt x="640412" y="182284"/>
                  <a:pt x="652690" y="169670"/>
                  <a:pt x="664410" y="156573"/>
                </a:cubicBezTo>
                <a:cubicBezTo>
                  <a:pt x="676279" y="143328"/>
                  <a:pt x="687590" y="129524"/>
                  <a:pt x="698417" y="115161"/>
                </a:cubicBezTo>
                <a:lnTo>
                  <a:pt x="698380" y="115198"/>
                </a:lnTo>
                <a:cubicBezTo>
                  <a:pt x="701096" y="111552"/>
                  <a:pt x="705822" y="110064"/>
                  <a:pt x="710138" y="111515"/>
                </a:cubicBezTo>
                <a:cubicBezTo>
                  <a:pt x="714454" y="112929"/>
                  <a:pt x="717356" y="116947"/>
                  <a:pt x="717356" y="121487"/>
                </a:cubicBezTo>
                <a:lnTo>
                  <a:pt x="717356" y="515545"/>
                </a:lnTo>
                <a:cubicBezTo>
                  <a:pt x="717356" y="519155"/>
                  <a:pt x="715905" y="522615"/>
                  <a:pt x="713338" y="525182"/>
                </a:cubicBezTo>
                <a:cubicBezTo>
                  <a:pt x="710770" y="527749"/>
                  <a:pt x="707310" y="529163"/>
                  <a:pt x="703701" y="529200"/>
                </a:cubicBezTo>
                <a:lnTo>
                  <a:pt x="637323" y="529200"/>
                </a:lnTo>
                <a:cubicBezTo>
                  <a:pt x="633714" y="529163"/>
                  <a:pt x="630254" y="527749"/>
                  <a:pt x="627687" y="525182"/>
                </a:cubicBezTo>
                <a:cubicBezTo>
                  <a:pt x="625120" y="522615"/>
                  <a:pt x="623706" y="519154"/>
                  <a:pt x="623668" y="515545"/>
                </a:cubicBezTo>
                <a:lnTo>
                  <a:pt x="623668" y="202602"/>
                </a:lnTo>
                <a:cubicBezTo>
                  <a:pt x="623668" y="199439"/>
                  <a:pt x="625120" y="196425"/>
                  <a:pt x="627575" y="194416"/>
                </a:cubicBezTo>
                <a:close/>
                <a:moveTo>
                  <a:pt x="489759" y="114567"/>
                </a:moveTo>
                <a:cubicBezTo>
                  <a:pt x="483917" y="114567"/>
                  <a:pt x="479192" y="109842"/>
                  <a:pt x="479192" y="104000"/>
                </a:cubicBezTo>
                <a:cubicBezTo>
                  <a:pt x="479192" y="98158"/>
                  <a:pt x="483917" y="93433"/>
                  <a:pt x="489759" y="93433"/>
                </a:cubicBezTo>
                <a:lnTo>
                  <a:pt x="587685" y="93433"/>
                </a:lnTo>
                <a:cubicBezTo>
                  <a:pt x="593527" y="93433"/>
                  <a:pt x="598252" y="98158"/>
                  <a:pt x="598252" y="104000"/>
                </a:cubicBezTo>
                <a:cubicBezTo>
                  <a:pt x="598252" y="109842"/>
                  <a:pt x="593527" y="114567"/>
                  <a:pt x="587685" y="114567"/>
                </a:cubicBezTo>
                <a:close/>
                <a:moveTo>
                  <a:pt x="489759" y="79034"/>
                </a:moveTo>
                <a:lnTo>
                  <a:pt x="489759" y="79071"/>
                </a:lnTo>
                <a:cubicBezTo>
                  <a:pt x="486894" y="79145"/>
                  <a:pt x="484141" y="78066"/>
                  <a:pt x="482094" y="76095"/>
                </a:cubicBezTo>
                <a:cubicBezTo>
                  <a:pt x="480011" y="74085"/>
                  <a:pt x="478857" y="71369"/>
                  <a:pt x="478857" y="68504"/>
                </a:cubicBezTo>
                <a:cubicBezTo>
                  <a:pt x="478857" y="65639"/>
                  <a:pt x="480011" y="62886"/>
                  <a:pt x="482094" y="60877"/>
                </a:cubicBezTo>
                <a:cubicBezTo>
                  <a:pt x="484141" y="58905"/>
                  <a:pt x="486894" y="57826"/>
                  <a:pt x="489759" y="57900"/>
                </a:cubicBezTo>
                <a:lnTo>
                  <a:pt x="587685" y="57900"/>
                </a:lnTo>
                <a:cubicBezTo>
                  <a:pt x="590550" y="57826"/>
                  <a:pt x="593304" y="58905"/>
                  <a:pt x="595387" y="60877"/>
                </a:cubicBezTo>
                <a:cubicBezTo>
                  <a:pt x="597434" y="62886"/>
                  <a:pt x="598587" y="65639"/>
                  <a:pt x="598587" y="68504"/>
                </a:cubicBezTo>
                <a:cubicBezTo>
                  <a:pt x="598587" y="71369"/>
                  <a:pt x="597434" y="74085"/>
                  <a:pt x="595387" y="76095"/>
                </a:cubicBezTo>
                <a:cubicBezTo>
                  <a:pt x="593304" y="78066"/>
                  <a:pt x="590550" y="79145"/>
                  <a:pt x="587685" y="79071"/>
                </a:cubicBezTo>
                <a:close/>
                <a:moveTo>
                  <a:pt x="489759" y="43538"/>
                </a:moveTo>
                <a:cubicBezTo>
                  <a:pt x="486894" y="43650"/>
                  <a:pt x="484141" y="42571"/>
                  <a:pt x="482094" y="40561"/>
                </a:cubicBezTo>
                <a:cubicBezTo>
                  <a:pt x="480011" y="38589"/>
                  <a:pt x="478857" y="35836"/>
                  <a:pt x="478857" y="32971"/>
                </a:cubicBezTo>
                <a:cubicBezTo>
                  <a:pt x="478857" y="30106"/>
                  <a:pt x="480011" y="27390"/>
                  <a:pt x="482094" y="25381"/>
                </a:cubicBezTo>
                <a:cubicBezTo>
                  <a:pt x="484141" y="23372"/>
                  <a:pt x="486894" y="22330"/>
                  <a:pt x="489759" y="22404"/>
                </a:cubicBezTo>
                <a:lnTo>
                  <a:pt x="587685" y="22404"/>
                </a:lnTo>
                <a:cubicBezTo>
                  <a:pt x="590550" y="22330"/>
                  <a:pt x="593304" y="23372"/>
                  <a:pt x="595387" y="25381"/>
                </a:cubicBezTo>
                <a:cubicBezTo>
                  <a:pt x="597434" y="27390"/>
                  <a:pt x="598587" y="30106"/>
                  <a:pt x="598587" y="32971"/>
                </a:cubicBezTo>
                <a:cubicBezTo>
                  <a:pt x="598587" y="35836"/>
                  <a:pt x="597434" y="38589"/>
                  <a:pt x="595387" y="40561"/>
                </a:cubicBezTo>
                <a:cubicBezTo>
                  <a:pt x="593304" y="42571"/>
                  <a:pt x="590550" y="43650"/>
                  <a:pt x="587685" y="43538"/>
                </a:cubicBezTo>
                <a:close/>
                <a:moveTo>
                  <a:pt x="252224" y="36766"/>
                </a:moveTo>
                <a:cubicBezTo>
                  <a:pt x="294603" y="-5575"/>
                  <a:pt x="360981" y="-12124"/>
                  <a:pt x="410797" y="21177"/>
                </a:cubicBezTo>
                <a:cubicBezTo>
                  <a:pt x="460580" y="54440"/>
                  <a:pt x="479964" y="118284"/>
                  <a:pt x="457045" y="173615"/>
                </a:cubicBezTo>
                <a:cubicBezTo>
                  <a:pt x="434126" y="228979"/>
                  <a:pt x="375302" y="260419"/>
                  <a:pt x="316513" y="248736"/>
                </a:cubicBezTo>
                <a:cubicBezTo>
                  <a:pt x="257763" y="237052"/>
                  <a:pt x="215463" y="185484"/>
                  <a:pt x="215463" y="125577"/>
                </a:cubicBezTo>
                <a:cubicBezTo>
                  <a:pt x="215425" y="92277"/>
                  <a:pt x="228634" y="60316"/>
                  <a:pt x="252223" y="36764"/>
                </a:cubicBezTo>
                <a:close/>
                <a:moveTo>
                  <a:pt x="341037" y="21140"/>
                </a:moveTo>
                <a:cubicBezTo>
                  <a:pt x="291217" y="21140"/>
                  <a:pt x="248354" y="56337"/>
                  <a:pt x="238606" y="105190"/>
                </a:cubicBezTo>
                <a:cubicBezTo>
                  <a:pt x="228895" y="154043"/>
                  <a:pt x="255051" y="202974"/>
                  <a:pt x="301076" y="222062"/>
                </a:cubicBezTo>
                <a:cubicBezTo>
                  <a:pt x="347101" y="241112"/>
                  <a:pt x="400193" y="225001"/>
                  <a:pt x="427844" y="183589"/>
                </a:cubicBezTo>
                <a:cubicBezTo>
                  <a:pt x="455526" y="142178"/>
                  <a:pt x="450094" y="86958"/>
                  <a:pt x="414896" y="51725"/>
                </a:cubicBezTo>
                <a:cubicBezTo>
                  <a:pt x="395325" y="32117"/>
                  <a:pt x="368759" y="21104"/>
                  <a:pt x="341040" y="21141"/>
                </a:cubicBezTo>
                <a:close/>
                <a:moveTo>
                  <a:pt x="330433" y="46589"/>
                </a:moveTo>
                <a:lnTo>
                  <a:pt x="330433" y="51985"/>
                </a:lnTo>
                <a:cubicBezTo>
                  <a:pt x="311532" y="56821"/>
                  <a:pt x="298286" y="73862"/>
                  <a:pt x="298286" y="93396"/>
                </a:cubicBezTo>
                <a:cubicBezTo>
                  <a:pt x="298286" y="126250"/>
                  <a:pt x="318453" y="131050"/>
                  <a:pt x="338582" y="135849"/>
                </a:cubicBezTo>
                <a:cubicBezTo>
                  <a:pt x="350600" y="138714"/>
                  <a:pt x="362654" y="141579"/>
                  <a:pt x="362654" y="157727"/>
                </a:cubicBezTo>
                <a:lnTo>
                  <a:pt x="362654" y="157764"/>
                </a:lnTo>
                <a:cubicBezTo>
                  <a:pt x="362394" y="169485"/>
                  <a:pt x="352794" y="178899"/>
                  <a:pt x="341037" y="178899"/>
                </a:cubicBezTo>
                <a:cubicBezTo>
                  <a:pt x="329281" y="178899"/>
                  <a:pt x="319680" y="169485"/>
                  <a:pt x="319458" y="157764"/>
                </a:cubicBezTo>
                <a:cubicBezTo>
                  <a:pt x="319532" y="154900"/>
                  <a:pt x="318453" y="152109"/>
                  <a:pt x="316444" y="150063"/>
                </a:cubicBezTo>
                <a:cubicBezTo>
                  <a:pt x="314472" y="148016"/>
                  <a:pt x="311718" y="146863"/>
                  <a:pt x="308853" y="146863"/>
                </a:cubicBezTo>
                <a:cubicBezTo>
                  <a:pt x="305989" y="146863"/>
                  <a:pt x="303272" y="148016"/>
                  <a:pt x="301263" y="150063"/>
                </a:cubicBezTo>
                <a:cubicBezTo>
                  <a:pt x="299291" y="152109"/>
                  <a:pt x="298212" y="154900"/>
                  <a:pt x="298287" y="157764"/>
                </a:cubicBezTo>
                <a:cubicBezTo>
                  <a:pt x="298287" y="177298"/>
                  <a:pt x="311532" y="194339"/>
                  <a:pt x="330471" y="199176"/>
                </a:cubicBezTo>
                <a:lnTo>
                  <a:pt x="330471" y="204534"/>
                </a:lnTo>
                <a:cubicBezTo>
                  <a:pt x="330396" y="207399"/>
                  <a:pt x="331438" y="210152"/>
                  <a:pt x="333447" y="212236"/>
                </a:cubicBezTo>
                <a:cubicBezTo>
                  <a:pt x="335456" y="214282"/>
                  <a:pt x="338172" y="215436"/>
                  <a:pt x="341037" y="215436"/>
                </a:cubicBezTo>
                <a:cubicBezTo>
                  <a:pt x="343902" y="215436"/>
                  <a:pt x="346656" y="214282"/>
                  <a:pt x="348628" y="212236"/>
                </a:cubicBezTo>
                <a:cubicBezTo>
                  <a:pt x="350637" y="210152"/>
                  <a:pt x="351716" y="207399"/>
                  <a:pt x="351604" y="204534"/>
                </a:cubicBezTo>
                <a:lnTo>
                  <a:pt x="351604" y="199139"/>
                </a:lnTo>
                <a:cubicBezTo>
                  <a:pt x="370543" y="194302"/>
                  <a:pt x="383788" y="177261"/>
                  <a:pt x="383788" y="157727"/>
                </a:cubicBezTo>
                <a:cubicBezTo>
                  <a:pt x="383788" y="124874"/>
                  <a:pt x="363622" y="120074"/>
                  <a:pt x="343456" y="115274"/>
                </a:cubicBezTo>
                <a:cubicBezTo>
                  <a:pt x="331438" y="112409"/>
                  <a:pt x="319383" y="109544"/>
                  <a:pt x="319383" y="93396"/>
                </a:cubicBezTo>
                <a:lnTo>
                  <a:pt x="319420" y="93359"/>
                </a:lnTo>
                <a:cubicBezTo>
                  <a:pt x="319681" y="81639"/>
                  <a:pt x="329243" y="72225"/>
                  <a:pt x="341000" y="72225"/>
                </a:cubicBezTo>
                <a:cubicBezTo>
                  <a:pt x="352758" y="72225"/>
                  <a:pt x="362357" y="81638"/>
                  <a:pt x="362617" y="93359"/>
                </a:cubicBezTo>
                <a:cubicBezTo>
                  <a:pt x="362543" y="96224"/>
                  <a:pt x="363585" y="99015"/>
                  <a:pt x="365594" y="101061"/>
                </a:cubicBezTo>
                <a:cubicBezTo>
                  <a:pt x="367603" y="103107"/>
                  <a:pt x="370319" y="104261"/>
                  <a:pt x="373184" y="104261"/>
                </a:cubicBezTo>
                <a:cubicBezTo>
                  <a:pt x="376049" y="104261"/>
                  <a:pt x="378802" y="103107"/>
                  <a:pt x="380774" y="101061"/>
                </a:cubicBezTo>
                <a:cubicBezTo>
                  <a:pt x="382784" y="99015"/>
                  <a:pt x="383863" y="96224"/>
                  <a:pt x="383751" y="93359"/>
                </a:cubicBezTo>
                <a:cubicBezTo>
                  <a:pt x="383751" y="73825"/>
                  <a:pt x="370505" y="56785"/>
                  <a:pt x="351567" y="51947"/>
                </a:cubicBezTo>
                <a:lnTo>
                  <a:pt x="351567" y="46589"/>
                </a:lnTo>
                <a:cubicBezTo>
                  <a:pt x="351678" y="43725"/>
                  <a:pt x="350600" y="40934"/>
                  <a:pt x="348590" y="38888"/>
                </a:cubicBezTo>
                <a:cubicBezTo>
                  <a:pt x="346618" y="36841"/>
                  <a:pt x="343865" y="35688"/>
                  <a:pt x="341000" y="35688"/>
                </a:cubicBezTo>
                <a:cubicBezTo>
                  <a:pt x="338135" y="35688"/>
                  <a:pt x="335419" y="36841"/>
                  <a:pt x="333410" y="38888"/>
                </a:cubicBezTo>
                <a:cubicBezTo>
                  <a:pt x="331438" y="40934"/>
                  <a:pt x="330359" y="43725"/>
                  <a:pt x="330433" y="46589"/>
                </a:cubicBezTo>
                <a:close/>
                <a:moveTo>
                  <a:pt x="93613" y="340826"/>
                </a:moveTo>
                <a:cubicBezTo>
                  <a:pt x="116421" y="318056"/>
                  <a:pt x="152139" y="314558"/>
                  <a:pt x="178929" y="332455"/>
                </a:cubicBezTo>
                <a:cubicBezTo>
                  <a:pt x="205755" y="350388"/>
                  <a:pt x="216173" y="384731"/>
                  <a:pt x="203820" y="414533"/>
                </a:cubicBezTo>
                <a:cubicBezTo>
                  <a:pt x="191467" y="444299"/>
                  <a:pt x="159804" y="461228"/>
                  <a:pt x="128178" y="454940"/>
                </a:cubicBezTo>
                <a:cubicBezTo>
                  <a:pt x="96590" y="448615"/>
                  <a:pt x="73819" y="420896"/>
                  <a:pt x="73819" y="388638"/>
                </a:cubicBezTo>
                <a:cubicBezTo>
                  <a:pt x="73782" y="370704"/>
                  <a:pt x="80926" y="353514"/>
                  <a:pt x="93613" y="340827"/>
                </a:cubicBezTo>
                <a:close/>
                <a:moveTo>
                  <a:pt x="141424" y="342166"/>
                </a:moveTo>
                <a:lnTo>
                  <a:pt x="141424" y="342203"/>
                </a:lnTo>
                <a:cubicBezTo>
                  <a:pt x="119249" y="342203"/>
                  <a:pt x="100199" y="357867"/>
                  <a:pt x="95883" y="379596"/>
                </a:cubicBezTo>
                <a:cubicBezTo>
                  <a:pt x="91604" y="401325"/>
                  <a:pt x="103213" y="423054"/>
                  <a:pt x="123677" y="431537"/>
                </a:cubicBezTo>
                <a:cubicBezTo>
                  <a:pt x="144140" y="439983"/>
                  <a:pt x="167767" y="432839"/>
                  <a:pt x="180046" y="414421"/>
                </a:cubicBezTo>
                <a:cubicBezTo>
                  <a:pt x="192362" y="396004"/>
                  <a:pt x="189943" y="371448"/>
                  <a:pt x="174279" y="355784"/>
                </a:cubicBezTo>
                <a:cubicBezTo>
                  <a:pt x="165572" y="347077"/>
                  <a:pt x="153741" y="342166"/>
                  <a:pt x="141425" y="342203"/>
                </a:cubicBezTo>
                <a:close/>
                <a:moveTo>
                  <a:pt x="120699" y="247213"/>
                </a:moveTo>
                <a:lnTo>
                  <a:pt x="120699" y="247250"/>
                </a:lnTo>
                <a:cubicBezTo>
                  <a:pt x="116979" y="247250"/>
                  <a:pt x="113407" y="248738"/>
                  <a:pt x="110802" y="251380"/>
                </a:cubicBezTo>
                <a:lnTo>
                  <a:pt x="110728" y="251454"/>
                </a:lnTo>
                <a:lnTo>
                  <a:pt x="110728" y="251417"/>
                </a:lnTo>
                <a:cubicBezTo>
                  <a:pt x="108086" y="254059"/>
                  <a:pt x="106598" y="257631"/>
                  <a:pt x="106598" y="261352"/>
                </a:cubicBezTo>
                <a:lnTo>
                  <a:pt x="106598" y="279881"/>
                </a:lnTo>
                <a:cubicBezTo>
                  <a:pt x="103621" y="280848"/>
                  <a:pt x="100644" y="281927"/>
                  <a:pt x="97742" y="283118"/>
                </a:cubicBezTo>
                <a:cubicBezTo>
                  <a:pt x="94840" y="284346"/>
                  <a:pt x="91938" y="285648"/>
                  <a:pt x="89147" y="287136"/>
                </a:cubicBezTo>
                <a:lnTo>
                  <a:pt x="76051" y="274039"/>
                </a:lnTo>
                <a:lnTo>
                  <a:pt x="76013" y="274039"/>
                </a:lnTo>
                <a:cubicBezTo>
                  <a:pt x="70507" y="268533"/>
                  <a:pt x="61614" y="268533"/>
                  <a:pt x="56108" y="274039"/>
                </a:cubicBezTo>
                <a:lnTo>
                  <a:pt x="26789" y="303358"/>
                </a:lnTo>
                <a:cubicBezTo>
                  <a:pt x="21283" y="308865"/>
                  <a:pt x="21283" y="317757"/>
                  <a:pt x="26789" y="323264"/>
                </a:cubicBezTo>
                <a:lnTo>
                  <a:pt x="39886" y="336360"/>
                </a:lnTo>
                <a:cubicBezTo>
                  <a:pt x="38435" y="339188"/>
                  <a:pt x="37095" y="342053"/>
                  <a:pt x="35868" y="344955"/>
                </a:cubicBezTo>
                <a:cubicBezTo>
                  <a:pt x="34640" y="347895"/>
                  <a:pt x="33561" y="350834"/>
                  <a:pt x="32631" y="353811"/>
                </a:cubicBezTo>
                <a:lnTo>
                  <a:pt x="14065" y="353811"/>
                </a:lnTo>
                <a:lnTo>
                  <a:pt x="14102" y="353848"/>
                </a:lnTo>
                <a:cubicBezTo>
                  <a:pt x="10381" y="353848"/>
                  <a:pt x="6846" y="355336"/>
                  <a:pt x="4204" y="357941"/>
                </a:cubicBezTo>
                <a:lnTo>
                  <a:pt x="4130" y="358015"/>
                </a:lnTo>
                <a:cubicBezTo>
                  <a:pt x="1488" y="360657"/>
                  <a:pt x="37" y="364191"/>
                  <a:pt x="0" y="367912"/>
                </a:cubicBezTo>
                <a:lnTo>
                  <a:pt x="0" y="409399"/>
                </a:lnTo>
                <a:cubicBezTo>
                  <a:pt x="37" y="413119"/>
                  <a:pt x="1488" y="416691"/>
                  <a:pt x="4130" y="419333"/>
                </a:cubicBezTo>
                <a:lnTo>
                  <a:pt x="4130" y="419370"/>
                </a:lnTo>
                <a:cubicBezTo>
                  <a:pt x="6772" y="422012"/>
                  <a:pt x="10343" y="423500"/>
                  <a:pt x="14065" y="423500"/>
                </a:cubicBezTo>
                <a:lnTo>
                  <a:pt x="32631" y="423500"/>
                </a:lnTo>
                <a:cubicBezTo>
                  <a:pt x="33598" y="426514"/>
                  <a:pt x="34677" y="429453"/>
                  <a:pt x="35868" y="432356"/>
                </a:cubicBezTo>
                <a:cubicBezTo>
                  <a:pt x="37058" y="435258"/>
                  <a:pt x="38398" y="438123"/>
                  <a:pt x="39886" y="440950"/>
                </a:cubicBezTo>
                <a:lnTo>
                  <a:pt x="26789" y="454047"/>
                </a:lnTo>
                <a:lnTo>
                  <a:pt x="26752" y="454047"/>
                </a:lnTo>
                <a:cubicBezTo>
                  <a:pt x="21245" y="459554"/>
                  <a:pt x="21245" y="468483"/>
                  <a:pt x="26752" y="473991"/>
                </a:cubicBezTo>
                <a:lnTo>
                  <a:pt x="56108" y="503310"/>
                </a:lnTo>
                <a:cubicBezTo>
                  <a:pt x="61205" y="508444"/>
                  <a:pt x="69316" y="508853"/>
                  <a:pt x="74935" y="504314"/>
                </a:cubicBezTo>
                <a:cubicBezTo>
                  <a:pt x="75307" y="504016"/>
                  <a:pt x="75679" y="503682"/>
                  <a:pt x="76014" y="503310"/>
                </a:cubicBezTo>
                <a:lnTo>
                  <a:pt x="89111" y="490213"/>
                </a:lnTo>
                <a:cubicBezTo>
                  <a:pt x="91901" y="491664"/>
                  <a:pt x="94804" y="493003"/>
                  <a:pt x="97706" y="494231"/>
                </a:cubicBezTo>
                <a:cubicBezTo>
                  <a:pt x="100645" y="495459"/>
                  <a:pt x="103584" y="496538"/>
                  <a:pt x="106561" y="497468"/>
                </a:cubicBezTo>
                <a:lnTo>
                  <a:pt x="106598" y="515960"/>
                </a:lnTo>
                <a:cubicBezTo>
                  <a:pt x="106598" y="519681"/>
                  <a:pt x="108086" y="523290"/>
                  <a:pt x="110728" y="525894"/>
                </a:cubicBezTo>
                <a:cubicBezTo>
                  <a:pt x="113370" y="528573"/>
                  <a:pt x="116942" y="530062"/>
                  <a:pt x="120663" y="530062"/>
                </a:cubicBezTo>
                <a:lnTo>
                  <a:pt x="162149" y="530062"/>
                </a:lnTo>
                <a:cubicBezTo>
                  <a:pt x="165870" y="530062"/>
                  <a:pt x="169404" y="528573"/>
                  <a:pt x="172046" y="525932"/>
                </a:cubicBezTo>
                <a:lnTo>
                  <a:pt x="172121" y="525857"/>
                </a:lnTo>
                <a:lnTo>
                  <a:pt x="172083" y="525895"/>
                </a:lnTo>
                <a:cubicBezTo>
                  <a:pt x="174725" y="523253"/>
                  <a:pt x="176213" y="519681"/>
                  <a:pt x="176213" y="515960"/>
                </a:cubicBezTo>
                <a:lnTo>
                  <a:pt x="176213" y="497431"/>
                </a:lnTo>
                <a:cubicBezTo>
                  <a:pt x="179190" y="496464"/>
                  <a:pt x="182167" y="495385"/>
                  <a:pt x="185069" y="494194"/>
                </a:cubicBezTo>
                <a:cubicBezTo>
                  <a:pt x="187971" y="492966"/>
                  <a:pt x="190873" y="491664"/>
                  <a:pt x="193664" y="490176"/>
                </a:cubicBezTo>
                <a:lnTo>
                  <a:pt x="206835" y="503310"/>
                </a:lnTo>
                <a:cubicBezTo>
                  <a:pt x="209439" y="505951"/>
                  <a:pt x="213048" y="507440"/>
                  <a:pt x="216769" y="507440"/>
                </a:cubicBezTo>
                <a:cubicBezTo>
                  <a:pt x="220490" y="507440"/>
                  <a:pt x="224062" y="505951"/>
                  <a:pt x="226704" y="503310"/>
                </a:cubicBezTo>
                <a:lnTo>
                  <a:pt x="256023" y="473991"/>
                </a:lnTo>
                <a:lnTo>
                  <a:pt x="256060" y="473991"/>
                </a:lnTo>
                <a:cubicBezTo>
                  <a:pt x="261157" y="468893"/>
                  <a:pt x="261604" y="460782"/>
                  <a:pt x="257065" y="455201"/>
                </a:cubicBezTo>
                <a:cubicBezTo>
                  <a:pt x="256730" y="454791"/>
                  <a:pt x="256395" y="454419"/>
                  <a:pt x="256060" y="454084"/>
                </a:cubicBezTo>
                <a:lnTo>
                  <a:pt x="242963" y="440988"/>
                </a:lnTo>
                <a:cubicBezTo>
                  <a:pt x="244414" y="438197"/>
                  <a:pt x="245754" y="435295"/>
                  <a:pt x="246981" y="432393"/>
                </a:cubicBezTo>
                <a:cubicBezTo>
                  <a:pt x="248209" y="429453"/>
                  <a:pt x="249288" y="426514"/>
                  <a:pt x="250218" y="423538"/>
                </a:cubicBezTo>
                <a:lnTo>
                  <a:pt x="268785" y="423538"/>
                </a:lnTo>
                <a:lnTo>
                  <a:pt x="268747" y="423500"/>
                </a:lnTo>
                <a:cubicBezTo>
                  <a:pt x="272431" y="423500"/>
                  <a:pt x="276003" y="422012"/>
                  <a:pt x="278608" y="419408"/>
                </a:cubicBezTo>
                <a:lnTo>
                  <a:pt x="278682" y="419333"/>
                </a:lnTo>
                <a:cubicBezTo>
                  <a:pt x="281324" y="416691"/>
                  <a:pt x="282812" y="413120"/>
                  <a:pt x="282812" y="409399"/>
                </a:cubicBezTo>
                <a:lnTo>
                  <a:pt x="282812" y="367912"/>
                </a:lnTo>
                <a:cubicBezTo>
                  <a:pt x="282812" y="364192"/>
                  <a:pt x="281324" y="360657"/>
                  <a:pt x="278719" y="358015"/>
                </a:cubicBezTo>
                <a:lnTo>
                  <a:pt x="278645" y="357941"/>
                </a:lnTo>
                <a:cubicBezTo>
                  <a:pt x="276003" y="355299"/>
                  <a:pt x="272431" y="353848"/>
                  <a:pt x="268747" y="353811"/>
                </a:cubicBezTo>
                <a:lnTo>
                  <a:pt x="250181" y="353811"/>
                </a:lnTo>
                <a:cubicBezTo>
                  <a:pt x="249214" y="350797"/>
                  <a:pt x="248135" y="347857"/>
                  <a:pt x="246944" y="344955"/>
                </a:cubicBezTo>
                <a:cubicBezTo>
                  <a:pt x="245716" y="342053"/>
                  <a:pt x="244414" y="339188"/>
                  <a:pt x="242926" y="336361"/>
                </a:cubicBezTo>
                <a:lnTo>
                  <a:pt x="256023" y="323264"/>
                </a:lnTo>
                <a:cubicBezTo>
                  <a:pt x="261120" y="318166"/>
                  <a:pt x="261567" y="310092"/>
                  <a:pt x="257027" y="304474"/>
                </a:cubicBezTo>
                <a:cubicBezTo>
                  <a:pt x="256730" y="304102"/>
                  <a:pt x="256395" y="303730"/>
                  <a:pt x="256023" y="303357"/>
                </a:cubicBezTo>
                <a:lnTo>
                  <a:pt x="226741" y="274001"/>
                </a:lnTo>
                <a:cubicBezTo>
                  <a:pt x="221234" y="268495"/>
                  <a:pt x="212342" y="268495"/>
                  <a:pt x="206836" y="274001"/>
                </a:cubicBezTo>
                <a:lnTo>
                  <a:pt x="193739" y="287098"/>
                </a:lnTo>
                <a:cubicBezTo>
                  <a:pt x="190948" y="285647"/>
                  <a:pt x="188046" y="284308"/>
                  <a:pt x="185144" y="283080"/>
                </a:cubicBezTo>
                <a:cubicBezTo>
                  <a:pt x="182205" y="281852"/>
                  <a:pt x="179265" y="280773"/>
                  <a:pt x="176289" y="279843"/>
                </a:cubicBezTo>
                <a:lnTo>
                  <a:pt x="176252" y="261351"/>
                </a:lnTo>
                <a:cubicBezTo>
                  <a:pt x="176252" y="257630"/>
                  <a:pt x="174763" y="254059"/>
                  <a:pt x="172159" y="251454"/>
                </a:cubicBezTo>
                <a:lnTo>
                  <a:pt x="172084" y="251379"/>
                </a:lnTo>
                <a:cubicBezTo>
                  <a:pt x="169443" y="248738"/>
                  <a:pt x="165908" y="247249"/>
                  <a:pt x="162187" y="247249"/>
                </a:cubicBezTo>
                <a:close/>
                <a:moveTo>
                  <a:pt x="155116" y="268347"/>
                </a:moveTo>
                <a:lnTo>
                  <a:pt x="127732" y="268384"/>
                </a:lnTo>
                <a:lnTo>
                  <a:pt x="127732" y="287881"/>
                </a:lnTo>
                <a:cubicBezTo>
                  <a:pt x="127732" y="292755"/>
                  <a:pt x="124383" y="296997"/>
                  <a:pt x="119658" y="298113"/>
                </a:cubicBezTo>
                <a:cubicBezTo>
                  <a:pt x="110393" y="300308"/>
                  <a:pt x="101538" y="303954"/>
                  <a:pt x="93390" y="308865"/>
                </a:cubicBezTo>
                <a:cubicBezTo>
                  <a:pt x="89185" y="311842"/>
                  <a:pt x="83455" y="311358"/>
                  <a:pt x="79809" y="307712"/>
                </a:cubicBezTo>
                <a:lnTo>
                  <a:pt x="66042" y="293946"/>
                </a:lnTo>
                <a:lnTo>
                  <a:pt x="46695" y="313293"/>
                </a:lnTo>
                <a:lnTo>
                  <a:pt x="60462" y="327022"/>
                </a:lnTo>
                <a:lnTo>
                  <a:pt x="60462" y="327059"/>
                </a:lnTo>
                <a:cubicBezTo>
                  <a:pt x="63922" y="330482"/>
                  <a:pt x="64555" y="335840"/>
                  <a:pt x="62024" y="340008"/>
                </a:cubicBezTo>
                <a:cubicBezTo>
                  <a:pt x="57076" y="348044"/>
                  <a:pt x="53392" y="356788"/>
                  <a:pt x="51086" y="365941"/>
                </a:cubicBezTo>
                <a:cubicBezTo>
                  <a:pt x="50342" y="371150"/>
                  <a:pt x="45877" y="374983"/>
                  <a:pt x="40630" y="374983"/>
                </a:cubicBezTo>
                <a:lnTo>
                  <a:pt x="21208" y="374983"/>
                </a:lnTo>
                <a:lnTo>
                  <a:pt x="21208" y="402330"/>
                </a:lnTo>
                <a:lnTo>
                  <a:pt x="40667" y="402330"/>
                </a:lnTo>
                <a:cubicBezTo>
                  <a:pt x="45542" y="402330"/>
                  <a:pt x="49783" y="405678"/>
                  <a:pt x="50899" y="410441"/>
                </a:cubicBezTo>
                <a:cubicBezTo>
                  <a:pt x="53132" y="419668"/>
                  <a:pt x="56741" y="428523"/>
                  <a:pt x="61652" y="436635"/>
                </a:cubicBezTo>
                <a:cubicBezTo>
                  <a:pt x="64629" y="440839"/>
                  <a:pt x="64145" y="446569"/>
                  <a:pt x="60499" y="450215"/>
                </a:cubicBezTo>
                <a:lnTo>
                  <a:pt x="46732" y="463982"/>
                </a:lnTo>
                <a:lnTo>
                  <a:pt x="66079" y="483329"/>
                </a:lnTo>
                <a:lnTo>
                  <a:pt x="79846" y="469563"/>
                </a:lnTo>
                <a:cubicBezTo>
                  <a:pt x="83269" y="466102"/>
                  <a:pt x="88627" y="465470"/>
                  <a:pt x="92794" y="468000"/>
                </a:cubicBezTo>
                <a:cubicBezTo>
                  <a:pt x="96924" y="470567"/>
                  <a:pt x="101277" y="472762"/>
                  <a:pt x="105779" y="474623"/>
                </a:cubicBezTo>
                <a:cubicBezTo>
                  <a:pt x="109984" y="476371"/>
                  <a:pt x="114300" y="477823"/>
                  <a:pt x="118728" y="478939"/>
                </a:cubicBezTo>
                <a:cubicBezTo>
                  <a:pt x="123900" y="479683"/>
                  <a:pt x="127769" y="484148"/>
                  <a:pt x="127732" y="489394"/>
                </a:cubicBezTo>
                <a:lnTo>
                  <a:pt x="127732" y="508854"/>
                </a:lnTo>
                <a:lnTo>
                  <a:pt x="155079" y="508854"/>
                </a:lnTo>
                <a:lnTo>
                  <a:pt x="155116" y="489432"/>
                </a:lnTo>
                <a:cubicBezTo>
                  <a:pt x="155116" y="484557"/>
                  <a:pt x="158465" y="480316"/>
                  <a:pt x="163190" y="479200"/>
                </a:cubicBezTo>
                <a:cubicBezTo>
                  <a:pt x="172455" y="476967"/>
                  <a:pt x="181310" y="473358"/>
                  <a:pt x="189458" y="468410"/>
                </a:cubicBezTo>
                <a:cubicBezTo>
                  <a:pt x="193663" y="465471"/>
                  <a:pt x="199393" y="465954"/>
                  <a:pt x="203002" y="469600"/>
                </a:cubicBezTo>
                <a:lnTo>
                  <a:pt x="216768" y="483367"/>
                </a:lnTo>
                <a:lnTo>
                  <a:pt x="236116" y="464020"/>
                </a:lnTo>
                <a:lnTo>
                  <a:pt x="222349" y="450253"/>
                </a:lnTo>
                <a:cubicBezTo>
                  <a:pt x="218926" y="446793"/>
                  <a:pt x="218294" y="441472"/>
                  <a:pt x="220824" y="437305"/>
                </a:cubicBezTo>
                <a:cubicBezTo>
                  <a:pt x="225772" y="429268"/>
                  <a:pt x="229456" y="420525"/>
                  <a:pt x="231762" y="411334"/>
                </a:cubicBezTo>
                <a:cubicBezTo>
                  <a:pt x="232506" y="406162"/>
                  <a:pt x="236971" y="402330"/>
                  <a:pt x="242218" y="402330"/>
                </a:cubicBezTo>
                <a:lnTo>
                  <a:pt x="261677" y="402330"/>
                </a:lnTo>
                <a:lnTo>
                  <a:pt x="261677" y="374983"/>
                </a:lnTo>
                <a:lnTo>
                  <a:pt x="242218" y="374983"/>
                </a:lnTo>
                <a:cubicBezTo>
                  <a:pt x="237306" y="374983"/>
                  <a:pt x="233102" y="371634"/>
                  <a:pt x="231949" y="366872"/>
                </a:cubicBezTo>
                <a:cubicBezTo>
                  <a:pt x="230833" y="362146"/>
                  <a:pt x="229307" y="357533"/>
                  <a:pt x="227447" y="353031"/>
                </a:cubicBezTo>
                <a:cubicBezTo>
                  <a:pt x="225698" y="348752"/>
                  <a:pt x="223577" y="344622"/>
                  <a:pt x="221196" y="340678"/>
                </a:cubicBezTo>
                <a:cubicBezTo>
                  <a:pt x="218219" y="336474"/>
                  <a:pt x="218703" y="330743"/>
                  <a:pt x="222349" y="327097"/>
                </a:cubicBezTo>
                <a:lnTo>
                  <a:pt x="236116" y="313368"/>
                </a:lnTo>
                <a:lnTo>
                  <a:pt x="216769" y="294021"/>
                </a:lnTo>
                <a:lnTo>
                  <a:pt x="203002" y="307713"/>
                </a:lnTo>
                <a:cubicBezTo>
                  <a:pt x="199579" y="311136"/>
                  <a:pt x="194221" y="311768"/>
                  <a:pt x="190054" y="309238"/>
                </a:cubicBezTo>
                <a:cubicBezTo>
                  <a:pt x="182017" y="304327"/>
                  <a:pt x="173274" y="300644"/>
                  <a:pt x="164120" y="298337"/>
                </a:cubicBezTo>
                <a:cubicBezTo>
                  <a:pt x="158948" y="297556"/>
                  <a:pt x="155116" y="293128"/>
                  <a:pt x="155116" y="287881"/>
                </a:cubicBezTo>
                <a:close/>
                <a:moveTo>
                  <a:pt x="193216" y="756284"/>
                </a:moveTo>
                <a:lnTo>
                  <a:pt x="193216" y="756359"/>
                </a:lnTo>
                <a:cubicBezTo>
                  <a:pt x="205495" y="756321"/>
                  <a:pt x="216098" y="765028"/>
                  <a:pt x="218516" y="777083"/>
                </a:cubicBezTo>
                <a:cubicBezTo>
                  <a:pt x="220898" y="789138"/>
                  <a:pt x="214461" y="801231"/>
                  <a:pt x="203113" y="805918"/>
                </a:cubicBezTo>
                <a:cubicBezTo>
                  <a:pt x="191727" y="810643"/>
                  <a:pt x="178630" y="806662"/>
                  <a:pt x="171784" y="796467"/>
                </a:cubicBezTo>
                <a:cubicBezTo>
                  <a:pt x="164938" y="786236"/>
                  <a:pt x="166277" y="772581"/>
                  <a:pt x="174984" y="763911"/>
                </a:cubicBezTo>
                <a:cubicBezTo>
                  <a:pt x="179821" y="759074"/>
                  <a:pt x="186369" y="756358"/>
                  <a:pt x="193215" y="756358"/>
                </a:cubicBezTo>
                <a:close/>
                <a:moveTo>
                  <a:pt x="196490" y="778795"/>
                </a:moveTo>
                <a:lnTo>
                  <a:pt x="196453" y="778832"/>
                </a:lnTo>
                <a:cubicBezTo>
                  <a:pt x="194890" y="777269"/>
                  <a:pt x="192472" y="777046"/>
                  <a:pt x="190612" y="778274"/>
                </a:cubicBezTo>
                <a:cubicBezTo>
                  <a:pt x="188788" y="779464"/>
                  <a:pt x="188082" y="781808"/>
                  <a:pt x="188900" y="783855"/>
                </a:cubicBezTo>
                <a:cubicBezTo>
                  <a:pt x="189756" y="785901"/>
                  <a:pt x="191914" y="787055"/>
                  <a:pt x="194072" y="786645"/>
                </a:cubicBezTo>
                <a:cubicBezTo>
                  <a:pt x="196230" y="786199"/>
                  <a:pt x="197793" y="784301"/>
                  <a:pt x="197793" y="782106"/>
                </a:cubicBezTo>
                <a:cubicBezTo>
                  <a:pt x="197793" y="780878"/>
                  <a:pt x="197309" y="779725"/>
                  <a:pt x="196453" y="778832"/>
                </a:cubicBezTo>
                <a:close/>
                <a:moveTo>
                  <a:pt x="93573" y="705497"/>
                </a:moveTo>
                <a:cubicBezTo>
                  <a:pt x="85834" y="711376"/>
                  <a:pt x="84308" y="722426"/>
                  <a:pt x="90150" y="730203"/>
                </a:cubicBezTo>
                <a:lnTo>
                  <a:pt x="214975" y="895366"/>
                </a:lnTo>
                <a:cubicBezTo>
                  <a:pt x="220853" y="903105"/>
                  <a:pt x="231866" y="904668"/>
                  <a:pt x="239642" y="898789"/>
                </a:cubicBezTo>
                <a:lnTo>
                  <a:pt x="292253" y="859052"/>
                </a:lnTo>
                <a:cubicBezTo>
                  <a:pt x="292662" y="858754"/>
                  <a:pt x="293071" y="858457"/>
                  <a:pt x="293444" y="858122"/>
                </a:cubicBezTo>
                <a:cubicBezTo>
                  <a:pt x="299769" y="852801"/>
                  <a:pt x="301517" y="843760"/>
                  <a:pt x="297685" y="836431"/>
                </a:cubicBezTo>
                <a:cubicBezTo>
                  <a:pt x="333292" y="806925"/>
                  <a:pt x="374779" y="813623"/>
                  <a:pt x="416529" y="820394"/>
                </a:cubicBezTo>
                <a:cubicBezTo>
                  <a:pt x="466609" y="828468"/>
                  <a:pt x="516989" y="836616"/>
                  <a:pt x="563052" y="791671"/>
                </a:cubicBezTo>
                <a:lnTo>
                  <a:pt x="743693" y="615382"/>
                </a:lnTo>
                <a:cubicBezTo>
                  <a:pt x="744251" y="614936"/>
                  <a:pt x="744735" y="614415"/>
                  <a:pt x="745182" y="613819"/>
                </a:cubicBezTo>
                <a:cubicBezTo>
                  <a:pt x="753218" y="604629"/>
                  <a:pt x="757795" y="592946"/>
                  <a:pt x="758241" y="580742"/>
                </a:cubicBezTo>
                <a:cubicBezTo>
                  <a:pt x="758130" y="572928"/>
                  <a:pt x="755153" y="565450"/>
                  <a:pt x="749795" y="559757"/>
                </a:cubicBezTo>
                <a:cubicBezTo>
                  <a:pt x="744512" y="554251"/>
                  <a:pt x="737740" y="550381"/>
                  <a:pt x="730299" y="548558"/>
                </a:cubicBezTo>
                <a:cubicBezTo>
                  <a:pt x="713257" y="544949"/>
                  <a:pt x="695473" y="546958"/>
                  <a:pt x="679660" y="554362"/>
                </a:cubicBezTo>
                <a:cubicBezTo>
                  <a:pt x="678916" y="554660"/>
                  <a:pt x="678246" y="555069"/>
                  <a:pt x="677576" y="555553"/>
                </a:cubicBezTo>
                <a:lnTo>
                  <a:pt x="538273" y="657318"/>
                </a:lnTo>
                <a:cubicBezTo>
                  <a:pt x="502257" y="683586"/>
                  <a:pt x="486407" y="682656"/>
                  <a:pt x="461776" y="681242"/>
                </a:cubicBezTo>
                <a:cubicBezTo>
                  <a:pt x="450651" y="680423"/>
                  <a:pt x="439526" y="680237"/>
                  <a:pt x="428401" y="680609"/>
                </a:cubicBezTo>
                <a:cubicBezTo>
                  <a:pt x="427508" y="680386"/>
                  <a:pt x="426727" y="679902"/>
                  <a:pt x="426206" y="679195"/>
                </a:cubicBezTo>
                <a:cubicBezTo>
                  <a:pt x="425276" y="678042"/>
                  <a:pt x="424643" y="676665"/>
                  <a:pt x="424383" y="675214"/>
                </a:cubicBezTo>
                <a:cubicBezTo>
                  <a:pt x="424048" y="674024"/>
                  <a:pt x="424011" y="672759"/>
                  <a:pt x="424271" y="671531"/>
                </a:cubicBezTo>
                <a:cubicBezTo>
                  <a:pt x="431824" y="669410"/>
                  <a:pt x="439675" y="668591"/>
                  <a:pt x="447526" y="669187"/>
                </a:cubicBezTo>
                <a:cubicBezTo>
                  <a:pt x="458836" y="669001"/>
                  <a:pt x="474463" y="668778"/>
                  <a:pt x="496638" y="666954"/>
                </a:cubicBezTo>
                <a:cubicBezTo>
                  <a:pt x="497159" y="666917"/>
                  <a:pt x="497680" y="666843"/>
                  <a:pt x="498164" y="666731"/>
                </a:cubicBezTo>
                <a:cubicBezTo>
                  <a:pt x="514796" y="663234"/>
                  <a:pt x="530348" y="655904"/>
                  <a:pt x="543668" y="645374"/>
                </a:cubicBezTo>
                <a:cubicBezTo>
                  <a:pt x="553230" y="637784"/>
                  <a:pt x="560672" y="627850"/>
                  <a:pt x="565322" y="616576"/>
                </a:cubicBezTo>
                <a:cubicBezTo>
                  <a:pt x="569749" y="605601"/>
                  <a:pt x="570680" y="593508"/>
                  <a:pt x="568001" y="582011"/>
                </a:cubicBezTo>
                <a:cubicBezTo>
                  <a:pt x="565545" y="571853"/>
                  <a:pt x="560820" y="562366"/>
                  <a:pt x="554123" y="554329"/>
                </a:cubicBezTo>
                <a:cubicBezTo>
                  <a:pt x="551518" y="550609"/>
                  <a:pt x="546756" y="548972"/>
                  <a:pt x="542402" y="550348"/>
                </a:cubicBezTo>
                <a:cubicBezTo>
                  <a:pt x="517473" y="558534"/>
                  <a:pt x="491317" y="562403"/>
                  <a:pt x="465086" y="561771"/>
                </a:cubicBezTo>
                <a:cubicBezTo>
                  <a:pt x="439189" y="560431"/>
                  <a:pt x="413442" y="556450"/>
                  <a:pt x="388328" y="549902"/>
                </a:cubicBezTo>
                <a:cubicBezTo>
                  <a:pt x="267856" y="521364"/>
                  <a:pt x="248129" y="559315"/>
                  <a:pt x="223726" y="606196"/>
                </a:cubicBezTo>
                <a:cubicBezTo>
                  <a:pt x="212378" y="628037"/>
                  <a:pt x="199839" y="652110"/>
                  <a:pt x="172344" y="670193"/>
                </a:cubicBezTo>
                <a:lnTo>
                  <a:pt x="171339" y="668853"/>
                </a:lnTo>
                <a:lnTo>
                  <a:pt x="171376" y="668853"/>
                </a:lnTo>
                <a:cubicBezTo>
                  <a:pt x="165497" y="661114"/>
                  <a:pt x="154447" y="659551"/>
                  <a:pt x="146670" y="665393"/>
                </a:cubicBezTo>
                <a:lnTo>
                  <a:pt x="93613" y="705502"/>
                </a:lnTo>
                <a:close/>
                <a:moveTo>
                  <a:pt x="185065" y="687042"/>
                </a:moveTo>
                <a:lnTo>
                  <a:pt x="285116" y="819392"/>
                </a:lnTo>
                <a:cubicBezTo>
                  <a:pt x="327346" y="784604"/>
                  <a:pt x="373482" y="792008"/>
                  <a:pt x="419847" y="799524"/>
                </a:cubicBezTo>
                <a:cubicBezTo>
                  <a:pt x="464718" y="806779"/>
                  <a:pt x="509850" y="814034"/>
                  <a:pt x="548358" y="776455"/>
                </a:cubicBezTo>
                <a:lnTo>
                  <a:pt x="728847" y="600395"/>
                </a:lnTo>
                <a:cubicBezTo>
                  <a:pt x="733647" y="595075"/>
                  <a:pt x="736586" y="588303"/>
                  <a:pt x="737182" y="581159"/>
                </a:cubicBezTo>
                <a:cubicBezTo>
                  <a:pt x="737144" y="578518"/>
                  <a:pt x="736177" y="575950"/>
                  <a:pt x="734391" y="574016"/>
                </a:cubicBezTo>
                <a:cubicBezTo>
                  <a:pt x="731787" y="571486"/>
                  <a:pt x="728512" y="569737"/>
                  <a:pt x="724941" y="568956"/>
                </a:cubicBezTo>
                <a:cubicBezTo>
                  <a:pt x="712774" y="566574"/>
                  <a:pt x="700160" y="568100"/>
                  <a:pt x="688925" y="573346"/>
                </a:cubicBezTo>
                <a:lnTo>
                  <a:pt x="550660" y="674330"/>
                </a:lnTo>
                <a:cubicBezTo>
                  <a:pt x="508541" y="705101"/>
                  <a:pt x="489752" y="703984"/>
                  <a:pt x="460619" y="702310"/>
                </a:cubicBezTo>
                <a:cubicBezTo>
                  <a:pt x="450089" y="701528"/>
                  <a:pt x="439523" y="701342"/>
                  <a:pt x="428956" y="701677"/>
                </a:cubicBezTo>
                <a:cubicBezTo>
                  <a:pt x="428435" y="701714"/>
                  <a:pt x="427877" y="701714"/>
                  <a:pt x="427356" y="701677"/>
                </a:cubicBezTo>
                <a:cubicBezTo>
                  <a:pt x="420547" y="701231"/>
                  <a:pt x="414259" y="697957"/>
                  <a:pt x="409980" y="692636"/>
                </a:cubicBezTo>
                <a:cubicBezTo>
                  <a:pt x="406892" y="688878"/>
                  <a:pt x="404734" y="684413"/>
                  <a:pt x="403692" y="679613"/>
                </a:cubicBezTo>
                <a:cubicBezTo>
                  <a:pt x="402688" y="675000"/>
                  <a:pt x="402799" y="670163"/>
                  <a:pt x="404027" y="665586"/>
                </a:cubicBezTo>
                <a:cubicBezTo>
                  <a:pt x="405478" y="660079"/>
                  <a:pt x="409236" y="655466"/>
                  <a:pt x="414296" y="652936"/>
                </a:cubicBezTo>
                <a:cubicBezTo>
                  <a:pt x="424752" y="648731"/>
                  <a:pt x="436063" y="647094"/>
                  <a:pt x="447261" y="648099"/>
                </a:cubicBezTo>
                <a:cubicBezTo>
                  <a:pt x="457754" y="647950"/>
                  <a:pt x="472153" y="647689"/>
                  <a:pt x="494328" y="645904"/>
                </a:cubicBezTo>
                <a:cubicBezTo>
                  <a:pt x="507425" y="643113"/>
                  <a:pt x="519741" y="637346"/>
                  <a:pt x="530307" y="629086"/>
                </a:cubicBezTo>
                <a:cubicBezTo>
                  <a:pt x="537079" y="623728"/>
                  <a:pt x="542399" y="616733"/>
                  <a:pt x="545711" y="608771"/>
                </a:cubicBezTo>
                <a:cubicBezTo>
                  <a:pt x="548539" y="601776"/>
                  <a:pt x="549171" y="594074"/>
                  <a:pt x="547459" y="586708"/>
                </a:cubicBezTo>
                <a:cubicBezTo>
                  <a:pt x="546306" y="581722"/>
                  <a:pt x="544260" y="576997"/>
                  <a:pt x="541469" y="572680"/>
                </a:cubicBezTo>
                <a:cubicBezTo>
                  <a:pt x="516503" y="580122"/>
                  <a:pt x="490569" y="583544"/>
                  <a:pt x="464562" y="582838"/>
                </a:cubicBezTo>
                <a:cubicBezTo>
                  <a:pt x="437215" y="581535"/>
                  <a:pt x="410091" y="577405"/>
                  <a:pt x="383600" y="570522"/>
                </a:cubicBezTo>
                <a:cubicBezTo>
                  <a:pt x="279015" y="545742"/>
                  <a:pt x="262680" y="577182"/>
                  <a:pt x="242477" y="615988"/>
                </a:cubicBezTo>
                <a:cubicBezTo>
                  <a:pt x="230050" y="639912"/>
                  <a:pt x="216321" y="666292"/>
                  <a:pt x="185105" y="687091"/>
                </a:cubicBezTo>
                <a:close/>
                <a:moveTo>
                  <a:pt x="156564" y="684363"/>
                </a:moveTo>
                <a:lnTo>
                  <a:pt x="109088" y="720268"/>
                </a:lnTo>
                <a:lnTo>
                  <a:pt x="229751" y="879850"/>
                </a:lnTo>
                <a:lnTo>
                  <a:pt x="277264" y="843945"/>
                </a:lnTo>
                <a:close/>
                <a:moveTo>
                  <a:pt x="648140" y="64571"/>
                </a:moveTo>
                <a:lnTo>
                  <a:pt x="667934" y="61707"/>
                </a:lnTo>
                <a:lnTo>
                  <a:pt x="667971" y="61669"/>
                </a:lnTo>
                <a:cubicBezTo>
                  <a:pt x="620719" y="116290"/>
                  <a:pt x="566768" y="164692"/>
                  <a:pt x="507427" y="205849"/>
                </a:cubicBezTo>
                <a:cubicBezTo>
                  <a:pt x="447561" y="247186"/>
                  <a:pt x="380964" y="277845"/>
                  <a:pt x="310603" y="296411"/>
                </a:cubicBezTo>
                <a:cubicBezTo>
                  <a:pt x="305133" y="298011"/>
                  <a:pt x="301933" y="303666"/>
                  <a:pt x="303347" y="309211"/>
                </a:cubicBezTo>
                <a:cubicBezTo>
                  <a:pt x="304761" y="314717"/>
                  <a:pt x="310342" y="318103"/>
                  <a:pt x="315886" y="316838"/>
                </a:cubicBezTo>
                <a:cubicBezTo>
                  <a:pt x="388588" y="297640"/>
                  <a:pt x="457418" y="265977"/>
                  <a:pt x="519330" y="223263"/>
                </a:cubicBezTo>
                <a:cubicBezTo>
                  <a:pt x="579159" y="181851"/>
                  <a:pt x="633630" y="133148"/>
                  <a:pt x="681446" y="78302"/>
                </a:cubicBezTo>
                <a:lnTo>
                  <a:pt x="680255" y="94449"/>
                </a:lnTo>
                <a:lnTo>
                  <a:pt x="680293" y="94449"/>
                </a:lnTo>
                <a:cubicBezTo>
                  <a:pt x="680181" y="100068"/>
                  <a:pt x="684497" y="104793"/>
                  <a:pt x="690115" y="105202"/>
                </a:cubicBezTo>
                <a:cubicBezTo>
                  <a:pt x="695733" y="105574"/>
                  <a:pt x="700645" y="101519"/>
                  <a:pt x="701351" y="95938"/>
                </a:cubicBezTo>
                <a:lnTo>
                  <a:pt x="704812" y="47940"/>
                </a:lnTo>
                <a:cubicBezTo>
                  <a:pt x="704849" y="47196"/>
                  <a:pt x="704812" y="46452"/>
                  <a:pt x="704737" y="45708"/>
                </a:cubicBezTo>
                <a:cubicBezTo>
                  <a:pt x="704328" y="42917"/>
                  <a:pt x="702840" y="40424"/>
                  <a:pt x="700607" y="38750"/>
                </a:cubicBezTo>
                <a:cubicBezTo>
                  <a:pt x="698375" y="37076"/>
                  <a:pt x="695547" y="36332"/>
                  <a:pt x="692794" y="36741"/>
                </a:cubicBezTo>
                <a:lnTo>
                  <a:pt x="645169" y="43661"/>
                </a:lnTo>
                <a:cubicBezTo>
                  <a:pt x="639402" y="44480"/>
                  <a:pt x="635384" y="49838"/>
                  <a:pt x="636202" y="55605"/>
                </a:cubicBezTo>
                <a:cubicBezTo>
                  <a:pt x="637058" y="61372"/>
                  <a:pt x="642415" y="65390"/>
                  <a:pt x="648182" y="64572"/>
                </a:cubicBezTo>
                <a:close/>
                <a:moveTo>
                  <a:pt x="317146" y="353855"/>
                </a:moveTo>
                <a:cubicBezTo>
                  <a:pt x="328867" y="351586"/>
                  <a:pt x="340662" y="348907"/>
                  <a:pt x="352493" y="345819"/>
                </a:cubicBezTo>
                <a:cubicBezTo>
                  <a:pt x="364846" y="342656"/>
                  <a:pt x="376678" y="339270"/>
                  <a:pt x="387951" y="335661"/>
                </a:cubicBezTo>
                <a:lnTo>
                  <a:pt x="387914" y="335698"/>
                </a:lnTo>
                <a:cubicBezTo>
                  <a:pt x="390593" y="334843"/>
                  <a:pt x="393495" y="335103"/>
                  <a:pt x="395951" y="336368"/>
                </a:cubicBezTo>
                <a:cubicBezTo>
                  <a:pt x="398444" y="337670"/>
                  <a:pt x="400304" y="339866"/>
                  <a:pt x="401123" y="342544"/>
                </a:cubicBezTo>
                <a:cubicBezTo>
                  <a:pt x="401458" y="343586"/>
                  <a:pt x="401644" y="344628"/>
                  <a:pt x="401644" y="345707"/>
                </a:cubicBezTo>
                <a:lnTo>
                  <a:pt x="401681" y="345707"/>
                </a:lnTo>
                <a:lnTo>
                  <a:pt x="401681" y="515519"/>
                </a:lnTo>
                <a:cubicBezTo>
                  <a:pt x="401681" y="519128"/>
                  <a:pt x="400230" y="522588"/>
                  <a:pt x="397662" y="525155"/>
                </a:cubicBezTo>
                <a:cubicBezTo>
                  <a:pt x="395132" y="527685"/>
                  <a:pt x="391672" y="529136"/>
                  <a:pt x="388063" y="529136"/>
                </a:cubicBezTo>
                <a:lnTo>
                  <a:pt x="321685" y="529136"/>
                </a:lnTo>
                <a:cubicBezTo>
                  <a:pt x="318039" y="529136"/>
                  <a:pt x="314579" y="527685"/>
                  <a:pt x="312049" y="525155"/>
                </a:cubicBezTo>
                <a:cubicBezTo>
                  <a:pt x="309482" y="522588"/>
                  <a:pt x="308030" y="519128"/>
                  <a:pt x="308030" y="515519"/>
                </a:cubicBezTo>
                <a:lnTo>
                  <a:pt x="308030" y="364347"/>
                </a:lnTo>
                <a:cubicBezTo>
                  <a:pt x="308030" y="359027"/>
                  <a:pt x="311974" y="354562"/>
                  <a:pt x="317220" y="353855"/>
                </a:cubicBezTo>
                <a:close/>
                <a:moveTo>
                  <a:pt x="357702" y="366357"/>
                </a:moveTo>
                <a:cubicBezTo>
                  <a:pt x="348326" y="368738"/>
                  <a:pt x="338800" y="370971"/>
                  <a:pt x="329127" y="372980"/>
                </a:cubicBezTo>
                <a:lnTo>
                  <a:pt x="329090" y="508044"/>
                </a:lnTo>
                <a:lnTo>
                  <a:pt x="380509" y="508044"/>
                </a:lnTo>
                <a:lnTo>
                  <a:pt x="380509" y="360035"/>
                </a:lnTo>
                <a:cubicBezTo>
                  <a:pt x="372770" y="362342"/>
                  <a:pt x="365180" y="364426"/>
                  <a:pt x="357665" y="366360"/>
                </a:cubicBezTo>
                <a:close/>
                <a:moveTo>
                  <a:pt x="420508" y="324238"/>
                </a:moveTo>
                <a:cubicBezTo>
                  <a:pt x="432637" y="319625"/>
                  <a:pt x="444543" y="314639"/>
                  <a:pt x="456227" y="309355"/>
                </a:cubicBezTo>
                <a:cubicBezTo>
                  <a:pt x="467910" y="304035"/>
                  <a:pt x="479629" y="298267"/>
                  <a:pt x="491424" y="292091"/>
                </a:cubicBezTo>
                <a:cubicBezTo>
                  <a:pt x="494698" y="290343"/>
                  <a:pt x="498642" y="290454"/>
                  <a:pt x="501843" y="292352"/>
                </a:cubicBezTo>
                <a:cubicBezTo>
                  <a:pt x="505005" y="294249"/>
                  <a:pt x="506977" y="297710"/>
                  <a:pt x="506977" y="301430"/>
                </a:cubicBezTo>
                <a:lnTo>
                  <a:pt x="506977" y="515524"/>
                </a:lnTo>
                <a:cubicBezTo>
                  <a:pt x="506940" y="519133"/>
                  <a:pt x="505526" y="522593"/>
                  <a:pt x="502959" y="525160"/>
                </a:cubicBezTo>
                <a:cubicBezTo>
                  <a:pt x="500392" y="527690"/>
                  <a:pt x="496931" y="529141"/>
                  <a:pt x="493322" y="529141"/>
                </a:cubicBezTo>
                <a:lnTo>
                  <a:pt x="426870" y="529141"/>
                </a:lnTo>
                <a:cubicBezTo>
                  <a:pt x="423261" y="529141"/>
                  <a:pt x="419764" y="527727"/>
                  <a:pt x="417234" y="525160"/>
                </a:cubicBezTo>
                <a:cubicBezTo>
                  <a:pt x="414667" y="522593"/>
                  <a:pt x="413215" y="519133"/>
                  <a:pt x="413215" y="515524"/>
                </a:cubicBezTo>
                <a:lnTo>
                  <a:pt x="413215" y="334358"/>
                </a:lnTo>
                <a:cubicBezTo>
                  <a:pt x="413215" y="329782"/>
                  <a:pt x="416192" y="325726"/>
                  <a:pt x="420508" y="324312"/>
                </a:cubicBezTo>
                <a:close/>
                <a:moveTo>
                  <a:pt x="464933" y="328591"/>
                </a:moveTo>
                <a:cubicBezTo>
                  <a:pt x="454813" y="333168"/>
                  <a:pt x="444618" y="337484"/>
                  <a:pt x="434350" y="341540"/>
                </a:cubicBezTo>
                <a:lnTo>
                  <a:pt x="434350" y="507970"/>
                </a:lnTo>
                <a:lnTo>
                  <a:pt x="485769" y="507970"/>
                </a:lnTo>
                <a:lnTo>
                  <a:pt x="485769" y="318737"/>
                </a:lnTo>
                <a:cubicBezTo>
                  <a:pt x="478923" y="322160"/>
                  <a:pt x="471966" y="325434"/>
                  <a:pt x="464896" y="328671"/>
                </a:cubicBezTo>
                <a:close/>
                <a:moveTo>
                  <a:pt x="524167" y="273339"/>
                </a:moveTo>
                <a:cubicBezTo>
                  <a:pt x="536409" y="265823"/>
                  <a:pt x="548389" y="257935"/>
                  <a:pt x="560109" y="249675"/>
                </a:cubicBezTo>
                <a:cubicBezTo>
                  <a:pt x="572090" y="241192"/>
                  <a:pt x="583699" y="232337"/>
                  <a:pt x="594934" y="223109"/>
                </a:cubicBezTo>
                <a:lnTo>
                  <a:pt x="594897" y="223146"/>
                </a:lnTo>
                <a:cubicBezTo>
                  <a:pt x="598022" y="220541"/>
                  <a:pt x="602376" y="220021"/>
                  <a:pt x="606060" y="221732"/>
                </a:cubicBezTo>
                <a:cubicBezTo>
                  <a:pt x="609743" y="223481"/>
                  <a:pt x="612087" y="227202"/>
                  <a:pt x="612087" y="231257"/>
                </a:cubicBezTo>
                <a:lnTo>
                  <a:pt x="612087" y="515521"/>
                </a:lnTo>
                <a:cubicBezTo>
                  <a:pt x="612087" y="519130"/>
                  <a:pt x="610673" y="522591"/>
                  <a:pt x="608106" y="525158"/>
                </a:cubicBezTo>
                <a:cubicBezTo>
                  <a:pt x="605539" y="527688"/>
                  <a:pt x="602078" y="529139"/>
                  <a:pt x="598469" y="529139"/>
                </a:cubicBezTo>
                <a:lnTo>
                  <a:pt x="532092" y="529139"/>
                </a:lnTo>
                <a:cubicBezTo>
                  <a:pt x="528482" y="529139"/>
                  <a:pt x="525022" y="527688"/>
                  <a:pt x="522455" y="525158"/>
                </a:cubicBezTo>
                <a:cubicBezTo>
                  <a:pt x="519888" y="522590"/>
                  <a:pt x="518437" y="519130"/>
                  <a:pt x="518437" y="515521"/>
                </a:cubicBezTo>
                <a:lnTo>
                  <a:pt x="518437" y="282825"/>
                </a:lnTo>
                <a:cubicBezTo>
                  <a:pt x="518437" y="278844"/>
                  <a:pt x="520669" y="275235"/>
                  <a:pt x="524167" y="273412"/>
                </a:cubicBezTo>
                <a:close/>
                <a:moveTo>
                  <a:pt x="572276" y="266828"/>
                </a:moveTo>
                <a:cubicBezTo>
                  <a:pt x="578564" y="262363"/>
                  <a:pt x="584815" y="257749"/>
                  <a:pt x="590991" y="253024"/>
                </a:cubicBezTo>
                <a:lnTo>
                  <a:pt x="590954" y="508037"/>
                </a:lnTo>
                <a:lnTo>
                  <a:pt x="539571" y="508037"/>
                </a:lnTo>
                <a:lnTo>
                  <a:pt x="539571" y="288705"/>
                </a:lnTo>
                <a:cubicBezTo>
                  <a:pt x="550659" y="281784"/>
                  <a:pt x="561561" y="274529"/>
                  <a:pt x="572313" y="266938"/>
                </a:cubicBezTo>
                <a:close/>
                <a:moveTo>
                  <a:pt x="680061" y="170578"/>
                </a:moveTo>
                <a:cubicBezTo>
                  <a:pt x="668676" y="183377"/>
                  <a:pt x="656918" y="195543"/>
                  <a:pt x="644826" y="207114"/>
                </a:cubicBezTo>
                <a:lnTo>
                  <a:pt x="644826" y="508047"/>
                </a:lnTo>
                <a:lnTo>
                  <a:pt x="696246" y="508047"/>
                </a:lnTo>
                <a:lnTo>
                  <a:pt x="696246" y="151898"/>
                </a:lnTo>
                <a:cubicBezTo>
                  <a:pt x="690963" y="158260"/>
                  <a:pt x="685568" y="164511"/>
                  <a:pt x="680061" y="170651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873335-A264-7A4F-3A4E-4587002F676A}"/>
              </a:ext>
            </a:extLst>
          </p:cNvPr>
          <p:cNvSpPr/>
          <p:nvPr/>
        </p:nvSpPr>
        <p:spPr bwMode="auto">
          <a:xfrm>
            <a:off x="5946898" y="1446059"/>
            <a:ext cx="1870625" cy="80440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square" lIns="90000" tIns="46800" rIns="9000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200" b="1" dirty="0">
                <a:solidFill>
                  <a:schemeClr val="bg1"/>
                </a:solidFill>
                <a:ea typeface="MS PGothic" panose="020B0600070205080204" pitchFamily="34" charset="-128"/>
              </a:rPr>
              <a:t>Working </a:t>
            </a:r>
            <a:r>
              <a:rPr lang="en-US" sz="1200" b="1" i="1" dirty="0">
                <a:solidFill>
                  <a:schemeClr val="bg1"/>
                </a:solidFill>
                <a:ea typeface="MS PGothic" panose="020B0600070205080204" pitchFamily="34" charset="-128"/>
              </a:rPr>
              <a:t>with you</a:t>
            </a:r>
            <a:r>
              <a:rPr lang="en-US" sz="1200" b="1" dirty="0">
                <a:solidFill>
                  <a:schemeClr val="bg1"/>
                </a:solidFill>
                <a:ea typeface="MS PGothic" panose="020B0600070205080204" pitchFamily="34" charset="-128"/>
              </a:rPr>
              <a:t> to secure stakeholder engagement</a:t>
            </a:r>
            <a:endParaRPr lang="en-US" sz="1200" b="1" i="1" dirty="0">
              <a:solidFill>
                <a:schemeClr val="bg1"/>
              </a:solidFill>
              <a:ea typeface="MS PGothic" panose="020B0600070205080204" pitchFamily="34" charset="-128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1A3C005-A927-BF02-011C-C524E0022829}"/>
              </a:ext>
            </a:extLst>
          </p:cNvPr>
          <p:cNvSpPr/>
          <p:nvPr/>
        </p:nvSpPr>
        <p:spPr bwMode="auto">
          <a:xfrm>
            <a:off x="7930144" y="1446059"/>
            <a:ext cx="1870625" cy="804405"/>
          </a:xfrm>
          <a:prstGeom prst="rect">
            <a:avLst/>
          </a:prstGeom>
          <a:solidFill>
            <a:srgbClr val="C5CAEE"/>
          </a:solidFill>
          <a:ln>
            <a:noFill/>
          </a:ln>
          <a:effectLst/>
        </p:spPr>
        <p:txBody>
          <a:bodyPr wrap="square" lIns="90000" tIns="46800" rIns="9000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200" b="1" dirty="0">
                <a:solidFill>
                  <a:schemeClr val="tx2"/>
                </a:solidFill>
                <a:ea typeface="MS PGothic" panose="020B0600070205080204" pitchFamily="34" charset="-128"/>
              </a:rPr>
              <a:t>Proven track record in </a:t>
            </a:r>
            <a:r>
              <a:rPr lang="en-US" sz="1200" b="1" i="1" dirty="0">
                <a:solidFill>
                  <a:schemeClr val="tx2"/>
                </a:solidFill>
                <a:ea typeface="MS PGothic" panose="020B0600070205080204" pitchFamily="34" charset="-128"/>
              </a:rPr>
              <a:t>cultural/organizational alignment</a:t>
            </a:r>
          </a:p>
        </p:txBody>
      </p:sp>
    </p:spTree>
    <p:extLst>
      <p:ext uri="{BB962C8B-B14F-4D97-AF65-F5344CB8AC3E}">
        <p14:creationId xmlns:p14="http://schemas.microsoft.com/office/powerpoint/2010/main" val="341864098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B39591B-FF1D-8A0E-6AB1-8F6C001A7C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7272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39591B-FF1D-8A0E-6AB1-8F6C001A7C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0FBC3D9-AACE-4C83-10FC-9209FE8DB9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mmon integration pitfalls… 			  … and how HPA overcomes them</a:t>
            </a:r>
          </a:p>
        </p:txBody>
      </p:sp>
      <p:graphicFrame>
        <p:nvGraphicFramePr>
          <p:cNvPr id="68" name="Table 67">
            <a:extLst>
              <a:ext uri="{FF2B5EF4-FFF2-40B4-BE49-F238E27FC236}">
                <a16:creationId xmlns:a16="http://schemas.microsoft.com/office/drawing/2014/main" id="{6409467A-D3EB-54DA-B952-780C60808E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1663134"/>
              </p:ext>
            </p:extLst>
          </p:nvPr>
        </p:nvGraphicFramePr>
        <p:xfrm>
          <a:off x="412642" y="1045845"/>
          <a:ext cx="5873858" cy="49377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8160">
                  <a:extLst>
                    <a:ext uri="{9D8B030D-6E8A-4147-A177-3AD203B41FA5}">
                      <a16:colId xmlns:a16="http://schemas.microsoft.com/office/drawing/2014/main" val="2476247030"/>
                    </a:ext>
                  </a:extLst>
                </a:gridCol>
                <a:gridCol w="4625698">
                  <a:extLst>
                    <a:ext uri="{9D8B030D-6E8A-4147-A177-3AD203B41FA5}">
                      <a16:colId xmlns:a16="http://schemas.microsoft.com/office/drawing/2014/main" val="3732611410"/>
                    </a:ext>
                  </a:extLst>
                </a:gridCol>
              </a:tblGrid>
              <a:tr h="739808">
                <a:tc rowSpan="3">
                  <a:txBody>
                    <a:bodyPr/>
                    <a:lstStyle/>
                    <a:p>
                      <a:pPr marL="0" indent="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Strategic Misalignment</a:t>
                      </a:r>
                    </a:p>
                  </a:txBody>
                  <a:tcPr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Integration not tied to the deal thesis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: The IMO executes a generic playbook instead of one anchored to the investment rationale and value drivers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4490261"/>
                  </a:ext>
                </a:extLst>
              </a:tr>
              <a:tr h="554856">
                <a:tc vMerge="1">
                  <a:txBody>
                    <a:bodyPr/>
                    <a:lstStyle/>
                    <a:p>
                      <a:pPr marL="0" indent="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endParaRPr lang="en-US" sz="1200" b="1">
                        <a:solidFill>
                          <a:schemeClr val="bg1"/>
                        </a:solidFill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Activity over impact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: Teams measure progress by milestones completed, not value captured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9263676"/>
                  </a:ext>
                </a:extLst>
              </a:tr>
              <a:tr h="739808">
                <a:tc vMerge="1">
                  <a:txBody>
                    <a:bodyPr/>
                    <a:lstStyle/>
                    <a:p>
                      <a:pPr marL="0" indent="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endParaRPr lang="en-US" sz="1200" b="1">
                        <a:solidFill>
                          <a:schemeClr val="bg1"/>
                        </a:solidFill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Unclear success definition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: Leadership lacks transparent linkage between integration workstreams and the deal’s P&amp;L or synergy targets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1417386"/>
                  </a:ext>
                </a:extLst>
              </a:tr>
              <a:tr h="554856">
                <a:tc rowSpan="2">
                  <a:txBody>
                    <a:bodyPr/>
                    <a:lstStyle/>
                    <a:p>
                      <a:pPr marL="0" indent="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Organizational and Cultural Breakdown</a:t>
                      </a:r>
                    </a:p>
                  </a:txBody>
                  <a:tcPr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Misaligned incentives and KPIs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: Legacy leaders are rewarded for protecting their silo, not for integration success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8077007"/>
                  </a:ext>
                </a:extLst>
              </a:tr>
              <a:tr h="683865">
                <a:tc vMerge="1">
                  <a:txBody>
                    <a:bodyPr/>
                    <a:lstStyle/>
                    <a:p>
                      <a:pPr marL="0" indent="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endParaRPr lang="en-US" sz="1200" b="1">
                        <a:solidFill>
                          <a:schemeClr val="bg1"/>
                        </a:solidFill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Culture and communication gaps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: Integration planning overlooks culture diagnostics, leading to distrust and resistance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0529385"/>
                  </a:ext>
                </a:extLst>
              </a:tr>
              <a:tr h="554856">
                <a:tc rowSpan="3">
                  <a:txBody>
                    <a:bodyPr/>
                    <a:lstStyle/>
                    <a:p>
                      <a:pPr marL="0" indent="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Operational &amp; Executional Friction</a:t>
                      </a:r>
                    </a:p>
                  </a:txBody>
                  <a:tcPr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Overengineering and slow execution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: Teams over-plan instead of prioritizing high-value Day-1 and Day-100 actions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5376067"/>
                  </a:ext>
                </a:extLst>
              </a:tr>
              <a:tr h="554856">
                <a:tc vMerge="1">
                  <a:txBody>
                    <a:bodyPr/>
                    <a:lstStyle/>
                    <a:p>
                      <a:pPr marL="0" indent="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endParaRPr lang="en-US" sz="1200" b="1">
                        <a:solidFill>
                          <a:schemeClr val="bg1"/>
                        </a:solidFill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Systems and process bottlenecks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: Technology, finance, and/or HR integration drags delay synergy capture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3702872"/>
                  </a:ext>
                </a:extLst>
              </a:tr>
              <a:tr h="554856">
                <a:tc vMerge="1">
                  <a:txBody>
                    <a:bodyPr/>
                    <a:lstStyle/>
                    <a:p>
                      <a:pPr marL="0" indent="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endParaRPr lang="en-US" sz="1200" b="1">
                        <a:solidFill>
                          <a:schemeClr val="bg1"/>
                        </a:solidFill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Decision gridlock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: Ambiguous governance creates confusion on who decides what and when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600755"/>
                  </a:ext>
                </a:extLst>
              </a:tr>
            </a:tbl>
          </a:graphicData>
        </a:graphic>
      </p:graphicFrame>
      <p:grpSp>
        <p:nvGrpSpPr>
          <p:cNvPr id="90" name="Group 89">
            <a:extLst>
              <a:ext uri="{FF2B5EF4-FFF2-40B4-BE49-F238E27FC236}">
                <a16:creationId xmlns:a16="http://schemas.microsoft.com/office/drawing/2014/main" id="{9C28AB0B-F715-247E-C05A-193FC5709565}"/>
              </a:ext>
            </a:extLst>
          </p:cNvPr>
          <p:cNvGrpSpPr/>
          <p:nvPr/>
        </p:nvGrpSpPr>
        <p:grpSpPr>
          <a:xfrm>
            <a:off x="6449982" y="1906904"/>
            <a:ext cx="365760" cy="365760"/>
            <a:chOff x="6338279" y="2055963"/>
            <a:chExt cx="274320" cy="274320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08716F5E-8046-F7B8-93D4-C64741F26BB3}"/>
                </a:ext>
              </a:extLst>
            </p:cNvPr>
            <p:cNvSpPr/>
            <p:nvPr/>
          </p:nvSpPr>
          <p:spPr>
            <a:xfrm>
              <a:off x="6338279" y="2055963"/>
              <a:ext cx="274320" cy="274320"/>
            </a:xfrm>
            <a:prstGeom prst="ellipse">
              <a:avLst/>
            </a:prstGeom>
            <a:solidFill>
              <a:schemeClr val="tx2"/>
            </a:solidFill>
            <a:ln w="28575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</a:p>
          </p:txBody>
        </p:sp>
        <p:pic>
          <p:nvPicPr>
            <p:cNvPr id="83" name="Graphic 82">
              <a:extLst>
                <a:ext uri="{FF2B5EF4-FFF2-40B4-BE49-F238E27FC236}">
                  <a16:creationId xmlns:a16="http://schemas.microsoft.com/office/drawing/2014/main" id="{3E75B3A0-F32F-7E0C-73CD-8CF4FFADFA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t="1582" b="18936"/>
            <a:stretch/>
          </p:blipFill>
          <p:spPr>
            <a:xfrm rot="16200000">
              <a:off x="6395114" y="2153739"/>
              <a:ext cx="182880" cy="89879"/>
            </a:xfrm>
            <a:custGeom>
              <a:avLst/>
              <a:gdLst>
                <a:gd name="connsiteX0" fmla="*/ 497774 w 497774"/>
                <a:gd name="connsiteY0" fmla="*/ 0 h 134789"/>
                <a:gd name="connsiteX1" fmla="*/ 497774 w 497774"/>
                <a:gd name="connsiteY1" fmla="*/ 134789 h 134789"/>
                <a:gd name="connsiteX2" fmla="*/ 0 w 497774"/>
                <a:gd name="connsiteY2" fmla="*/ 134789 h 134789"/>
                <a:gd name="connsiteX3" fmla="*/ 0 w 497774"/>
                <a:gd name="connsiteY3" fmla="*/ 2 h 134789"/>
                <a:gd name="connsiteX4" fmla="*/ 248884 w 497774"/>
                <a:gd name="connsiteY4" fmla="*/ 88066 h 13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774" h="134789">
                  <a:moveTo>
                    <a:pt x="497774" y="0"/>
                  </a:moveTo>
                  <a:lnTo>
                    <a:pt x="497774" y="134789"/>
                  </a:lnTo>
                  <a:lnTo>
                    <a:pt x="0" y="134789"/>
                  </a:lnTo>
                  <a:lnTo>
                    <a:pt x="0" y="2"/>
                  </a:lnTo>
                  <a:lnTo>
                    <a:pt x="248884" y="88066"/>
                  </a:lnTo>
                  <a:close/>
                </a:path>
              </a:pathLst>
            </a:cu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2D242BD-F30C-A3BC-BB56-475615C5ADC7}"/>
              </a:ext>
            </a:extLst>
          </p:cNvPr>
          <p:cNvGrpSpPr/>
          <p:nvPr/>
        </p:nvGrpSpPr>
        <p:grpSpPr>
          <a:xfrm>
            <a:off x="6449982" y="3492816"/>
            <a:ext cx="365760" cy="365760"/>
            <a:chOff x="6319642" y="3659504"/>
            <a:chExt cx="274320" cy="274320"/>
          </a:xfrm>
        </p:grpSpPr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90792960-A4BF-DD8E-AADF-6387E830C791}"/>
                </a:ext>
              </a:extLst>
            </p:cNvPr>
            <p:cNvSpPr/>
            <p:nvPr/>
          </p:nvSpPr>
          <p:spPr>
            <a:xfrm>
              <a:off x="6319642" y="3659504"/>
              <a:ext cx="274320" cy="274320"/>
            </a:xfrm>
            <a:prstGeom prst="ellipse">
              <a:avLst/>
            </a:prstGeom>
            <a:solidFill>
              <a:srgbClr val="5061CC"/>
            </a:solidFill>
            <a:ln w="28575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</a:p>
          </p:txBody>
        </p:sp>
        <p:pic>
          <p:nvPicPr>
            <p:cNvPr id="102" name="Graphic 101">
              <a:extLst>
                <a:ext uri="{FF2B5EF4-FFF2-40B4-BE49-F238E27FC236}">
                  <a16:creationId xmlns:a16="http://schemas.microsoft.com/office/drawing/2014/main" id="{FE514999-CFEA-DC23-498D-3314AD348A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t="1582" b="18936"/>
            <a:stretch/>
          </p:blipFill>
          <p:spPr>
            <a:xfrm rot="16200000">
              <a:off x="6370127" y="3754105"/>
              <a:ext cx="182880" cy="89879"/>
            </a:xfrm>
            <a:custGeom>
              <a:avLst/>
              <a:gdLst>
                <a:gd name="connsiteX0" fmla="*/ 497774 w 497774"/>
                <a:gd name="connsiteY0" fmla="*/ 0 h 134789"/>
                <a:gd name="connsiteX1" fmla="*/ 497774 w 497774"/>
                <a:gd name="connsiteY1" fmla="*/ 134789 h 134789"/>
                <a:gd name="connsiteX2" fmla="*/ 0 w 497774"/>
                <a:gd name="connsiteY2" fmla="*/ 134789 h 134789"/>
                <a:gd name="connsiteX3" fmla="*/ 0 w 497774"/>
                <a:gd name="connsiteY3" fmla="*/ 2 h 134789"/>
                <a:gd name="connsiteX4" fmla="*/ 248884 w 497774"/>
                <a:gd name="connsiteY4" fmla="*/ 88066 h 13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774" h="134789">
                  <a:moveTo>
                    <a:pt x="497774" y="0"/>
                  </a:moveTo>
                  <a:lnTo>
                    <a:pt x="497774" y="134789"/>
                  </a:lnTo>
                  <a:lnTo>
                    <a:pt x="0" y="134789"/>
                  </a:lnTo>
                  <a:lnTo>
                    <a:pt x="0" y="2"/>
                  </a:lnTo>
                  <a:lnTo>
                    <a:pt x="248884" y="88066"/>
                  </a:lnTo>
                  <a:close/>
                </a:path>
              </a:pathLst>
            </a:cu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1D69871-AA75-5651-8CCE-AAB1610E720D}"/>
              </a:ext>
            </a:extLst>
          </p:cNvPr>
          <p:cNvGrpSpPr/>
          <p:nvPr/>
        </p:nvGrpSpPr>
        <p:grpSpPr>
          <a:xfrm>
            <a:off x="6449982" y="4945379"/>
            <a:ext cx="365760" cy="365760"/>
            <a:chOff x="6319642" y="5173979"/>
            <a:chExt cx="274320" cy="274320"/>
          </a:xfrm>
        </p:grpSpPr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9015E655-35F0-C364-EE3B-461B052CAE19}"/>
                </a:ext>
              </a:extLst>
            </p:cNvPr>
            <p:cNvSpPr/>
            <p:nvPr/>
          </p:nvSpPr>
          <p:spPr>
            <a:xfrm>
              <a:off x="6319642" y="5173979"/>
              <a:ext cx="274320" cy="274320"/>
            </a:xfrm>
            <a:prstGeom prst="ellipse">
              <a:avLst/>
            </a:prstGeom>
            <a:solidFill>
              <a:srgbClr val="8A96DD"/>
            </a:solidFill>
            <a:ln w="28575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</a:p>
          </p:txBody>
        </p:sp>
        <p:pic>
          <p:nvPicPr>
            <p:cNvPr id="105" name="Graphic 104">
              <a:extLst>
                <a:ext uri="{FF2B5EF4-FFF2-40B4-BE49-F238E27FC236}">
                  <a16:creationId xmlns:a16="http://schemas.microsoft.com/office/drawing/2014/main" id="{3C8300F4-B1FC-1BA7-A510-3C063E8F5A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t="1582" b="18936"/>
            <a:stretch/>
          </p:blipFill>
          <p:spPr>
            <a:xfrm rot="16200000">
              <a:off x="6370127" y="5268580"/>
              <a:ext cx="182880" cy="89879"/>
            </a:xfrm>
            <a:custGeom>
              <a:avLst/>
              <a:gdLst>
                <a:gd name="connsiteX0" fmla="*/ 497774 w 497774"/>
                <a:gd name="connsiteY0" fmla="*/ 0 h 134789"/>
                <a:gd name="connsiteX1" fmla="*/ 497774 w 497774"/>
                <a:gd name="connsiteY1" fmla="*/ 134789 h 134789"/>
                <a:gd name="connsiteX2" fmla="*/ 0 w 497774"/>
                <a:gd name="connsiteY2" fmla="*/ 134789 h 134789"/>
                <a:gd name="connsiteX3" fmla="*/ 0 w 497774"/>
                <a:gd name="connsiteY3" fmla="*/ 2 h 134789"/>
                <a:gd name="connsiteX4" fmla="*/ 248884 w 497774"/>
                <a:gd name="connsiteY4" fmla="*/ 88066 h 13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774" h="134789">
                  <a:moveTo>
                    <a:pt x="497774" y="0"/>
                  </a:moveTo>
                  <a:lnTo>
                    <a:pt x="497774" y="134789"/>
                  </a:lnTo>
                  <a:lnTo>
                    <a:pt x="0" y="134789"/>
                  </a:lnTo>
                  <a:lnTo>
                    <a:pt x="0" y="2"/>
                  </a:lnTo>
                  <a:lnTo>
                    <a:pt x="248884" y="88066"/>
                  </a:lnTo>
                  <a:close/>
                </a:path>
              </a:pathLst>
            </a:custGeom>
          </p:spPr>
        </p:pic>
      </p:grpSp>
      <p:graphicFrame>
        <p:nvGraphicFramePr>
          <p:cNvPr id="106" name="Table 105">
            <a:extLst>
              <a:ext uri="{FF2B5EF4-FFF2-40B4-BE49-F238E27FC236}">
                <a16:creationId xmlns:a16="http://schemas.microsoft.com/office/drawing/2014/main" id="{B5AD2EE2-2D40-BCC2-B5F7-F21ECB8583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5966103"/>
              </p:ext>
            </p:extLst>
          </p:nvPr>
        </p:nvGraphicFramePr>
        <p:xfrm>
          <a:off x="6972300" y="1045845"/>
          <a:ext cx="4807056" cy="493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07056">
                  <a:extLst>
                    <a:ext uri="{9D8B030D-6E8A-4147-A177-3AD203B41FA5}">
                      <a16:colId xmlns:a16="http://schemas.microsoft.com/office/drawing/2014/main" val="3732611410"/>
                    </a:ext>
                  </a:extLst>
                </a:gridCol>
              </a:tblGrid>
              <a:tr h="691702">
                <a:tc>
                  <a:txBody>
                    <a:bodyPr/>
                    <a:lstStyle/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e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 design the integration roadmap directly from the deal thesis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, linking each initiative to financial and strategic outcomes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4490261"/>
                  </a:ext>
                </a:extLst>
              </a:tr>
              <a:tr h="561214">
                <a:tc>
                  <a:txBody>
                    <a:bodyPr/>
                    <a:lstStyle/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e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embed measurable synergy metrics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, ownership, and reporting cadence into every workstream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9263676"/>
                  </a:ext>
                </a:extLst>
              </a:tr>
              <a:tr h="748286"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e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implement governance that connects integration activities to realized business impact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 – visible to both IMO and executive sponsors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1417386"/>
                  </a:ext>
                </a:extLst>
              </a:tr>
              <a:tr h="561214">
                <a:tc>
                  <a:txBody>
                    <a:bodyPr/>
                    <a:lstStyle/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e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redesign KPIs and performance frameworks,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so leaders share ownership of post-close results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8077007"/>
                  </a:ext>
                </a:extLst>
              </a:tr>
              <a:tr h="691702"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Our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operators have lived integrations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; they model trust-building and consistent messaging across both organizations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0529385"/>
                  </a:ext>
                </a:extLst>
              </a:tr>
              <a:tr h="561214">
                <a:tc>
                  <a:txBody>
                    <a:bodyPr/>
                    <a:lstStyle/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e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design pragmatic integration sequences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that minimize customer and employee disruption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5376067"/>
                  </a:ext>
                </a:extLst>
              </a:tr>
              <a:tr h="561214">
                <a:tc>
                  <a:txBody>
                    <a:bodyPr/>
                    <a:lstStyle/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Our experts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 coordinate cross-functional dependencies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to keep operations stable through transition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3702872"/>
                  </a:ext>
                </a:extLst>
              </a:tr>
              <a:tr h="561214"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Our IMO governance model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defines clear decision rights and escalation paths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 to maintain momentum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6007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746112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E6E52D-1E5F-AAAE-E380-E47F0EF791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23F617D0-457C-0C4C-08A6-99C0E3274B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4011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617D0-457C-0C4C-08A6-99C0E3274B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0CB56A41-016F-C196-590B-5792CC414931}"/>
              </a:ext>
            </a:extLst>
          </p:cNvPr>
          <p:cNvSpPr/>
          <p:nvPr/>
        </p:nvSpPr>
        <p:spPr bwMode="auto">
          <a:xfrm>
            <a:off x="4441694" y="2736564"/>
            <a:ext cx="3410712" cy="138191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46800" tIns="46800" rIns="46800" bIns="46800" rtlCol="0" anchor="ctr">
            <a:spAutoFit/>
          </a:bodyPr>
          <a:lstStyle/>
          <a:p>
            <a:pPr algn="l">
              <a:spcBef>
                <a:spcPts val="300"/>
              </a:spcBef>
            </a:pPr>
            <a:endParaRPr lang="en-US" sz="1600" dirty="0">
              <a:ea typeface="MS PGothic" panose="020B0600070205080204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8B8111-E2C7-79EC-BCD8-66FDC57461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723" y="454014"/>
            <a:ext cx="11640685" cy="332399"/>
          </a:xfrm>
        </p:spPr>
        <p:txBody>
          <a:bodyPr vert="horz">
            <a:noAutofit/>
          </a:bodyPr>
          <a:lstStyle/>
          <a:p>
            <a:r>
              <a:rPr lang="en-US" dirty="0">
                <a:solidFill>
                  <a:srgbClr val="1E2867"/>
                </a:solidFill>
                <a:latin typeface="Arial" panose="020B0604020202020204" pitchFamily="34" charset="0"/>
                <a:cs typeface="Arial"/>
              </a:rPr>
              <a:t>Recent integration projects reflect our flexible staffing model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7F5B6A4-454E-D524-57B5-BBD5D0D25EBE}"/>
              </a:ext>
            </a:extLst>
          </p:cNvPr>
          <p:cNvSpPr>
            <a:spLocks/>
          </p:cNvSpPr>
          <p:nvPr/>
        </p:nvSpPr>
        <p:spPr bwMode="auto">
          <a:xfrm>
            <a:off x="541508" y="4258853"/>
            <a:ext cx="11155117" cy="1874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endParaRPr lang="en-US" sz="1600" dirty="0">
              <a:solidFill>
                <a:schemeClr val="tx2">
                  <a:lumMod val="20000"/>
                  <a:lumOff val="80000"/>
                </a:schemeClr>
              </a:solidFill>
              <a:ea typeface="MS PGothic" panose="020B0600070205080204" pitchFamily="34" charset="-128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5CAEAA8-C51B-7F1B-84BD-75B20A5F11D2}"/>
              </a:ext>
            </a:extLst>
          </p:cNvPr>
          <p:cNvSpPr txBox="1">
            <a:spLocks/>
          </p:cNvSpPr>
          <p:nvPr/>
        </p:nvSpPr>
        <p:spPr>
          <a:xfrm>
            <a:off x="8070106" y="2055793"/>
            <a:ext cx="3586644" cy="5539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Leading industrial equipment manufacturer sought support to </a:t>
            </a:r>
            <a:r>
              <a:rPr lang="en-US" sz="1200" b="1" dirty="0">
                <a:solidFill>
                  <a:schemeClr val="tx2"/>
                </a:solidFill>
              </a:rPr>
              <a:t>lead integration planning </a:t>
            </a:r>
            <a:r>
              <a:rPr lang="en-US" sz="1200" dirty="0"/>
              <a:t>and </a:t>
            </a:r>
            <a:r>
              <a:rPr lang="en-US" sz="1200" b="1" dirty="0">
                <a:solidFill>
                  <a:schemeClr val="tx2"/>
                </a:solidFill>
              </a:rPr>
              <a:t>execution</a:t>
            </a:r>
            <a:r>
              <a:rPr lang="en-US" sz="1200" dirty="0"/>
              <a:t> for a complex international acquisition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7CAF189-1E59-F1C9-038C-0BDE4AE7CF7D}"/>
              </a:ext>
            </a:extLst>
          </p:cNvPr>
          <p:cNvSpPr txBox="1">
            <a:spLocks/>
          </p:cNvSpPr>
          <p:nvPr/>
        </p:nvSpPr>
        <p:spPr>
          <a:xfrm>
            <a:off x="8063848" y="4281811"/>
            <a:ext cx="3586644" cy="18158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0" indent="-17145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Integration Planning:</a:t>
            </a:r>
            <a:r>
              <a:rPr lang="en-US" altLang="en-US" sz="1200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en-US" altLang="en-US" sz="1200" dirty="0">
                <a:latin typeface="Arial" panose="020B0604020202020204" pitchFamily="34" charset="0"/>
              </a:rPr>
              <a:t>Developed a comprehensive playbook and roadmap detailing timing, savings, and ownership to guide execution</a:t>
            </a:r>
          </a:p>
          <a:p>
            <a:pPr marL="171450" lvl="0" indent="-17145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Execution Leadership:</a:t>
            </a:r>
            <a:r>
              <a:rPr lang="en-US" altLang="en-US" sz="1200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en-US" altLang="en-US" sz="1200" dirty="0">
                <a:latin typeface="Arial" panose="020B0604020202020204" pitchFamily="34" charset="0"/>
              </a:rPr>
              <a:t>Led initial implementation, established tracking mechanisms, and drove early progress across workstreams</a:t>
            </a:r>
          </a:p>
          <a:p>
            <a:pPr marL="171450" lvl="0" indent="-17145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Capability Transfer:</a:t>
            </a:r>
            <a:r>
              <a:rPr lang="en-US" altLang="en-US" sz="1200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en-US" altLang="en-US" sz="1200" dirty="0">
                <a:latin typeface="Arial" panose="020B0604020202020204" pitchFamily="34" charset="0"/>
              </a:rPr>
              <a:t>Identified and trained internal leaders, enabling full client ownership and seamless handoff within four months</a:t>
            </a:r>
            <a:endParaRPr lang="en-US" sz="1200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7F39C117-44C4-E9C0-C502-F03DFDE8E666}"/>
              </a:ext>
            </a:extLst>
          </p:cNvPr>
          <p:cNvSpPr/>
          <p:nvPr/>
        </p:nvSpPr>
        <p:spPr>
          <a:xfrm>
            <a:off x="8197706" y="1139606"/>
            <a:ext cx="333184" cy="333162"/>
          </a:xfrm>
          <a:custGeom>
            <a:avLst/>
            <a:gdLst>
              <a:gd name="connsiteX0" fmla="*/ 667015 w 847328"/>
              <a:gd name="connsiteY0" fmla="*/ 504904 h 847271"/>
              <a:gd name="connsiteX1" fmla="*/ 681414 w 847328"/>
              <a:gd name="connsiteY1" fmla="*/ 493593 h 847271"/>
              <a:gd name="connsiteX2" fmla="*/ 702623 w 847328"/>
              <a:gd name="connsiteY2" fmla="*/ 491807 h 847271"/>
              <a:gd name="connsiteX3" fmla="*/ 733690 w 847328"/>
              <a:gd name="connsiteY3" fmla="*/ 457985 h 847271"/>
              <a:gd name="connsiteX4" fmla="*/ 733690 w 847328"/>
              <a:gd name="connsiteY4" fmla="*/ 389376 h 847271"/>
              <a:gd name="connsiteX5" fmla="*/ 702623 w 847328"/>
              <a:gd name="connsiteY5" fmla="*/ 355555 h 847271"/>
              <a:gd name="connsiteX6" fmla="*/ 681414 w 847328"/>
              <a:gd name="connsiteY6" fmla="*/ 353769 h 847271"/>
              <a:gd name="connsiteX7" fmla="*/ 667015 w 847328"/>
              <a:gd name="connsiteY7" fmla="*/ 342458 h 847271"/>
              <a:gd name="connsiteX8" fmla="*/ 653212 w 847328"/>
              <a:gd name="connsiteY8" fmla="*/ 309120 h 847271"/>
              <a:gd name="connsiteX9" fmla="*/ 655370 w 847328"/>
              <a:gd name="connsiteY9" fmla="*/ 290926 h 847271"/>
              <a:gd name="connsiteX10" fmla="*/ 669099 w 847328"/>
              <a:gd name="connsiteY10" fmla="*/ 274666 h 847271"/>
              <a:gd name="connsiteX11" fmla="*/ 667164 w 847328"/>
              <a:gd name="connsiteY11" fmla="*/ 228753 h 847271"/>
              <a:gd name="connsiteX12" fmla="*/ 618646 w 847328"/>
              <a:gd name="connsiteY12" fmla="*/ 180235 h 847271"/>
              <a:gd name="connsiteX13" fmla="*/ 572733 w 847328"/>
              <a:gd name="connsiteY13" fmla="*/ 178300 h 847271"/>
              <a:gd name="connsiteX14" fmla="*/ 556473 w 847328"/>
              <a:gd name="connsiteY14" fmla="*/ 191955 h 847271"/>
              <a:gd name="connsiteX15" fmla="*/ 538279 w 847328"/>
              <a:gd name="connsiteY15" fmla="*/ 194113 h 847271"/>
              <a:gd name="connsiteX16" fmla="*/ 504978 w 847328"/>
              <a:gd name="connsiteY16" fmla="*/ 180309 h 847271"/>
              <a:gd name="connsiteX17" fmla="*/ 493667 w 847328"/>
              <a:gd name="connsiteY17" fmla="*/ 165910 h 847271"/>
              <a:gd name="connsiteX18" fmla="*/ 491881 w 847328"/>
              <a:gd name="connsiteY18" fmla="*/ 144702 h 847271"/>
              <a:gd name="connsiteX19" fmla="*/ 458060 w 847328"/>
              <a:gd name="connsiteY19" fmla="*/ 113634 h 847271"/>
              <a:gd name="connsiteX20" fmla="*/ 389451 w 847328"/>
              <a:gd name="connsiteY20" fmla="*/ 113634 h 847271"/>
              <a:gd name="connsiteX21" fmla="*/ 355629 w 847328"/>
              <a:gd name="connsiteY21" fmla="*/ 144702 h 847271"/>
              <a:gd name="connsiteX22" fmla="*/ 353843 w 847328"/>
              <a:gd name="connsiteY22" fmla="*/ 165910 h 847271"/>
              <a:gd name="connsiteX23" fmla="*/ 342532 w 847328"/>
              <a:gd name="connsiteY23" fmla="*/ 180309 h 847271"/>
              <a:gd name="connsiteX24" fmla="*/ 309232 w 847328"/>
              <a:gd name="connsiteY24" fmla="*/ 194113 h 847271"/>
              <a:gd name="connsiteX25" fmla="*/ 291037 w 847328"/>
              <a:gd name="connsiteY25" fmla="*/ 191955 h 847271"/>
              <a:gd name="connsiteX26" fmla="*/ 274741 w 847328"/>
              <a:gd name="connsiteY26" fmla="*/ 178226 h 847271"/>
              <a:gd name="connsiteX27" fmla="*/ 228828 w 847328"/>
              <a:gd name="connsiteY27" fmla="*/ 180160 h 847271"/>
              <a:gd name="connsiteX28" fmla="*/ 180309 w 847328"/>
              <a:gd name="connsiteY28" fmla="*/ 228679 h 847271"/>
              <a:gd name="connsiteX29" fmla="*/ 178374 w 847328"/>
              <a:gd name="connsiteY29" fmla="*/ 274592 h 847271"/>
              <a:gd name="connsiteX30" fmla="*/ 192104 w 847328"/>
              <a:gd name="connsiteY30" fmla="*/ 290851 h 847271"/>
              <a:gd name="connsiteX31" fmla="*/ 194262 w 847328"/>
              <a:gd name="connsiteY31" fmla="*/ 309046 h 847271"/>
              <a:gd name="connsiteX32" fmla="*/ 180458 w 847328"/>
              <a:gd name="connsiteY32" fmla="*/ 342383 h 847271"/>
              <a:gd name="connsiteX33" fmla="*/ 166059 w 847328"/>
              <a:gd name="connsiteY33" fmla="*/ 353694 h 847271"/>
              <a:gd name="connsiteX34" fmla="*/ 144851 w 847328"/>
              <a:gd name="connsiteY34" fmla="*/ 355480 h 847271"/>
              <a:gd name="connsiteX35" fmla="*/ 113783 w 847328"/>
              <a:gd name="connsiteY35" fmla="*/ 389302 h 847271"/>
              <a:gd name="connsiteX36" fmla="*/ 113783 w 847328"/>
              <a:gd name="connsiteY36" fmla="*/ 457911 h 847271"/>
              <a:gd name="connsiteX37" fmla="*/ 144851 w 847328"/>
              <a:gd name="connsiteY37" fmla="*/ 491733 h 847271"/>
              <a:gd name="connsiteX38" fmla="*/ 166059 w 847328"/>
              <a:gd name="connsiteY38" fmla="*/ 493518 h 847271"/>
              <a:gd name="connsiteX39" fmla="*/ 180458 w 847328"/>
              <a:gd name="connsiteY39" fmla="*/ 504829 h 847271"/>
              <a:gd name="connsiteX40" fmla="*/ 194262 w 847328"/>
              <a:gd name="connsiteY40" fmla="*/ 538130 h 847271"/>
              <a:gd name="connsiteX41" fmla="*/ 192104 w 847328"/>
              <a:gd name="connsiteY41" fmla="*/ 556324 h 847271"/>
              <a:gd name="connsiteX42" fmla="*/ 178374 w 847328"/>
              <a:gd name="connsiteY42" fmla="*/ 572621 h 847271"/>
              <a:gd name="connsiteX43" fmla="*/ 180309 w 847328"/>
              <a:gd name="connsiteY43" fmla="*/ 618534 h 847271"/>
              <a:gd name="connsiteX44" fmla="*/ 228828 w 847328"/>
              <a:gd name="connsiteY44" fmla="*/ 667053 h 847271"/>
              <a:gd name="connsiteX45" fmla="*/ 274741 w 847328"/>
              <a:gd name="connsiteY45" fmla="*/ 668987 h 847271"/>
              <a:gd name="connsiteX46" fmla="*/ 291000 w 847328"/>
              <a:gd name="connsiteY46" fmla="*/ 655258 h 847271"/>
              <a:gd name="connsiteX47" fmla="*/ 309195 w 847328"/>
              <a:gd name="connsiteY47" fmla="*/ 653100 h 847271"/>
              <a:gd name="connsiteX48" fmla="*/ 342532 w 847328"/>
              <a:gd name="connsiteY48" fmla="*/ 666904 h 847271"/>
              <a:gd name="connsiteX49" fmla="*/ 353843 w 847328"/>
              <a:gd name="connsiteY49" fmla="*/ 681303 h 847271"/>
              <a:gd name="connsiteX50" fmla="*/ 355629 w 847328"/>
              <a:gd name="connsiteY50" fmla="*/ 702511 h 847271"/>
              <a:gd name="connsiteX51" fmla="*/ 389451 w 847328"/>
              <a:gd name="connsiteY51" fmla="*/ 733579 h 847271"/>
              <a:gd name="connsiteX52" fmla="*/ 458060 w 847328"/>
              <a:gd name="connsiteY52" fmla="*/ 733579 h 847271"/>
              <a:gd name="connsiteX53" fmla="*/ 491881 w 847328"/>
              <a:gd name="connsiteY53" fmla="*/ 702511 h 847271"/>
              <a:gd name="connsiteX54" fmla="*/ 493667 w 847328"/>
              <a:gd name="connsiteY54" fmla="*/ 681303 h 847271"/>
              <a:gd name="connsiteX55" fmla="*/ 504978 w 847328"/>
              <a:gd name="connsiteY55" fmla="*/ 666904 h 847271"/>
              <a:gd name="connsiteX56" fmla="*/ 538279 w 847328"/>
              <a:gd name="connsiteY56" fmla="*/ 653100 h 847271"/>
              <a:gd name="connsiteX57" fmla="*/ 556473 w 847328"/>
              <a:gd name="connsiteY57" fmla="*/ 655258 h 847271"/>
              <a:gd name="connsiteX58" fmla="*/ 572770 w 847328"/>
              <a:gd name="connsiteY58" fmla="*/ 668987 h 847271"/>
              <a:gd name="connsiteX59" fmla="*/ 618683 w 847328"/>
              <a:gd name="connsiteY59" fmla="*/ 667053 h 847271"/>
              <a:gd name="connsiteX60" fmla="*/ 667202 w 847328"/>
              <a:gd name="connsiteY60" fmla="*/ 618534 h 847271"/>
              <a:gd name="connsiteX61" fmla="*/ 669136 w 847328"/>
              <a:gd name="connsiteY61" fmla="*/ 572621 h 847271"/>
              <a:gd name="connsiteX62" fmla="*/ 655407 w 847328"/>
              <a:gd name="connsiteY62" fmla="*/ 556324 h 847271"/>
              <a:gd name="connsiteX63" fmla="*/ 653249 w 847328"/>
              <a:gd name="connsiteY63" fmla="*/ 538130 h 847271"/>
              <a:gd name="connsiteX64" fmla="*/ 667015 w 847328"/>
              <a:gd name="connsiteY64" fmla="*/ 504904 h 847271"/>
              <a:gd name="connsiteX65" fmla="*/ 642161 w 847328"/>
              <a:gd name="connsiteY65" fmla="*/ 567560 h 847271"/>
              <a:gd name="connsiteX66" fmla="*/ 655890 w 847328"/>
              <a:gd name="connsiteY66" fmla="*/ 583856 h 847271"/>
              <a:gd name="connsiteX67" fmla="*/ 654923 w 847328"/>
              <a:gd name="connsiteY67" fmla="*/ 606367 h 847271"/>
              <a:gd name="connsiteX68" fmla="*/ 606404 w 847328"/>
              <a:gd name="connsiteY68" fmla="*/ 654885 h 847271"/>
              <a:gd name="connsiteX69" fmla="*/ 583894 w 847328"/>
              <a:gd name="connsiteY69" fmla="*/ 655853 h 847271"/>
              <a:gd name="connsiteX70" fmla="*/ 567598 w 847328"/>
              <a:gd name="connsiteY70" fmla="*/ 642123 h 847271"/>
              <a:gd name="connsiteX71" fmla="*/ 530503 w 847328"/>
              <a:gd name="connsiteY71" fmla="*/ 637733 h 847271"/>
              <a:gd name="connsiteX72" fmla="*/ 499435 w 847328"/>
              <a:gd name="connsiteY72" fmla="*/ 650607 h 847271"/>
              <a:gd name="connsiteX73" fmla="*/ 476366 w 847328"/>
              <a:gd name="connsiteY73" fmla="*/ 679926 h 847271"/>
              <a:gd name="connsiteX74" fmla="*/ 474580 w 847328"/>
              <a:gd name="connsiteY74" fmla="*/ 701134 h 847271"/>
              <a:gd name="connsiteX75" fmla="*/ 457986 w 847328"/>
              <a:gd name="connsiteY75" fmla="*/ 716389 h 847271"/>
              <a:gd name="connsiteX76" fmla="*/ 389376 w 847328"/>
              <a:gd name="connsiteY76" fmla="*/ 716389 h 847271"/>
              <a:gd name="connsiteX77" fmla="*/ 372782 w 847328"/>
              <a:gd name="connsiteY77" fmla="*/ 701134 h 847271"/>
              <a:gd name="connsiteX78" fmla="*/ 370996 w 847328"/>
              <a:gd name="connsiteY78" fmla="*/ 679926 h 847271"/>
              <a:gd name="connsiteX79" fmla="*/ 347927 w 847328"/>
              <a:gd name="connsiteY79" fmla="*/ 650607 h 847271"/>
              <a:gd name="connsiteX80" fmla="*/ 316860 w 847328"/>
              <a:gd name="connsiteY80" fmla="*/ 637733 h 847271"/>
              <a:gd name="connsiteX81" fmla="*/ 301567 w 847328"/>
              <a:gd name="connsiteY81" fmla="*/ 634049 h 847271"/>
              <a:gd name="connsiteX82" fmla="*/ 279801 w 847328"/>
              <a:gd name="connsiteY82" fmla="*/ 642123 h 847271"/>
              <a:gd name="connsiteX83" fmla="*/ 263542 w 847328"/>
              <a:gd name="connsiteY83" fmla="*/ 655853 h 847271"/>
              <a:gd name="connsiteX84" fmla="*/ 241031 w 847328"/>
              <a:gd name="connsiteY84" fmla="*/ 654885 h 847271"/>
              <a:gd name="connsiteX85" fmla="*/ 192513 w 847328"/>
              <a:gd name="connsiteY85" fmla="*/ 606367 h 847271"/>
              <a:gd name="connsiteX86" fmla="*/ 191545 w 847328"/>
              <a:gd name="connsiteY86" fmla="*/ 583856 h 847271"/>
              <a:gd name="connsiteX87" fmla="*/ 205275 w 847328"/>
              <a:gd name="connsiteY87" fmla="*/ 567560 h 847271"/>
              <a:gd name="connsiteX88" fmla="*/ 209702 w 847328"/>
              <a:gd name="connsiteY88" fmla="*/ 530465 h 847271"/>
              <a:gd name="connsiteX89" fmla="*/ 196828 w 847328"/>
              <a:gd name="connsiteY89" fmla="*/ 499397 h 847271"/>
              <a:gd name="connsiteX90" fmla="*/ 167509 w 847328"/>
              <a:gd name="connsiteY90" fmla="*/ 476329 h 847271"/>
              <a:gd name="connsiteX91" fmla="*/ 146301 w 847328"/>
              <a:gd name="connsiteY91" fmla="*/ 474543 h 847271"/>
              <a:gd name="connsiteX92" fmla="*/ 131046 w 847328"/>
              <a:gd name="connsiteY92" fmla="*/ 457948 h 847271"/>
              <a:gd name="connsiteX93" fmla="*/ 131046 w 847328"/>
              <a:gd name="connsiteY93" fmla="*/ 389339 h 847271"/>
              <a:gd name="connsiteX94" fmla="*/ 146301 w 847328"/>
              <a:gd name="connsiteY94" fmla="*/ 372744 h 847271"/>
              <a:gd name="connsiteX95" fmla="*/ 167509 w 847328"/>
              <a:gd name="connsiteY95" fmla="*/ 370958 h 847271"/>
              <a:gd name="connsiteX96" fmla="*/ 196828 w 847328"/>
              <a:gd name="connsiteY96" fmla="*/ 347890 h 847271"/>
              <a:gd name="connsiteX97" fmla="*/ 209702 w 847328"/>
              <a:gd name="connsiteY97" fmla="*/ 316822 h 847271"/>
              <a:gd name="connsiteX98" fmla="*/ 205312 w 847328"/>
              <a:gd name="connsiteY98" fmla="*/ 279727 h 847271"/>
              <a:gd name="connsiteX99" fmla="*/ 191582 w 847328"/>
              <a:gd name="connsiteY99" fmla="*/ 263431 h 847271"/>
              <a:gd name="connsiteX100" fmla="*/ 192550 w 847328"/>
              <a:gd name="connsiteY100" fmla="*/ 240920 h 847271"/>
              <a:gd name="connsiteX101" fmla="*/ 241068 w 847328"/>
              <a:gd name="connsiteY101" fmla="*/ 192402 h 847271"/>
              <a:gd name="connsiteX102" fmla="*/ 263579 w 847328"/>
              <a:gd name="connsiteY102" fmla="*/ 191434 h 847271"/>
              <a:gd name="connsiteX103" fmla="*/ 279875 w 847328"/>
              <a:gd name="connsiteY103" fmla="*/ 205164 h 847271"/>
              <a:gd name="connsiteX104" fmla="*/ 316970 w 847328"/>
              <a:gd name="connsiteY104" fmla="*/ 209591 h 847271"/>
              <a:gd name="connsiteX105" fmla="*/ 348038 w 847328"/>
              <a:gd name="connsiteY105" fmla="*/ 196717 h 847271"/>
              <a:gd name="connsiteX106" fmla="*/ 371106 w 847328"/>
              <a:gd name="connsiteY106" fmla="*/ 167398 h 847271"/>
              <a:gd name="connsiteX107" fmla="*/ 372892 w 847328"/>
              <a:gd name="connsiteY107" fmla="*/ 146190 h 847271"/>
              <a:gd name="connsiteX108" fmla="*/ 389487 w 847328"/>
              <a:gd name="connsiteY108" fmla="*/ 130935 h 847271"/>
              <a:gd name="connsiteX109" fmla="*/ 458096 w 847328"/>
              <a:gd name="connsiteY109" fmla="*/ 130935 h 847271"/>
              <a:gd name="connsiteX110" fmla="*/ 474691 w 847328"/>
              <a:gd name="connsiteY110" fmla="*/ 146190 h 847271"/>
              <a:gd name="connsiteX111" fmla="*/ 476477 w 847328"/>
              <a:gd name="connsiteY111" fmla="*/ 167398 h 847271"/>
              <a:gd name="connsiteX112" fmla="*/ 499545 w 847328"/>
              <a:gd name="connsiteY112" fmla="*/ 196717 h 847271"/>
              <a:gd name="connsiteX113" fmla="*/ 530613 w 847328"/>
              <a:gd name="connsiteY113" fmla="*/ 209591 h 847271"/>
              <a:gd name="connsiteX114" fmla="*/ 567708 w 847328"/>
              <a:gd name="connsiteY114" fmla="*/ 205164 h 847271"/>
              <a:gd name="connsiteX115" fmla="*/ 584004 w 847328"/>
              <a:gd name="connsiteY115" fmla="*/ 191434 h 847271"/>
              <a:gd name="connsiteX116" fmla="*/ 606552 w 847328"/>
              <a:gd name="connsiteY116" fmla="*/ 192402 h 847271"/>
              <a:gd name="connsiteX117" fmla="*/ 655070 w 847328"/>
              <a:gd name="connsiteY117" fmla="*/ 240920 h 847271"/>
              <a:gd name="connsiteX118" fmla="*/ 656038 w 847328"/>
              <a:gd name="connsiteY118" fmla="*/ 263431 h 847271"/>
              <a:gd name="connsiteX119" fmla="*/ 642309 w 847328"/>
              <a:gd name="connsiteY119" fmla="*/ 279690 h 847271"/>
              <a:gd name="connsiteX120" fmla="*/ 637918 w 847328"/>
              <a:gd name="connsiteY120" fmla="*/ 316785 h 847271"/>
              <a:gd name="connsiteX121" fmla="*/ 650792 w 847328"/>
              <a:gd name="connsiteY121" fmla="*/ 347853 h 847271"/>
              <a:gd name="connsiteX122" fmla="*/ 680111 w 847328"/>
              <a:gd name="connsiteY122" fmla="*/ 370921 h 847271"/>
              <a:gd name="connsiteX123" fmla="*/ 701319 w 847328"/>
              <a:gd name="connsiteY123" fmla="*/ 372707 h 847271"/>
              <a:gd name="connsiteX124" fmla="*/ 716575 w 847328"/>
              <a:gd name="connsiteY124" fmla="*/ 389302 h 847271"/>
              <a:gd name="connsiteX125" fmla="*/ 716575 w 847328"/>
              <a:gd name="connsiteY125" fmla="*/ 457911 h 847271"/>
              <a:gd name="connsiteX126" fmla="*/ 701319 w 847328"/>
              <a:gd name="connsiteY126" fmla="*/ 474506 h 847271"/>
              <a:gd name="connsiteX127" fmla="*/ 680111 w 847328"/>
              <a:gd name="connsiteY127" fmla="*/ 476292 h 847271"/>
              <a:gd name="connsiteX128" fmla="*/ 650792 w 847328"/>
              <a:gd name="connsiteY128" fmla="*/ 499360 h 847271"/>
              <a:gd name="connsiteX129" fmla="*/ 637918 w 847328"/>
              <a:gd name="connsiteY129" fmla="*/ 530428 h 847271"/>
              <a:gd name="connsiteX130" fmla="*/ 642160 w 847328"/>
              <a:gd name="connsiteY130" fmla="*/ 567560 h 847271"/>
              <a:gd name="connsiteX131" fmla="*/ 423676 w 847328"/>
              <a:gd name="connsiteY131" fmla="*/ 249511 h 847271"/>
              <a:gd name="connsiteX132" fmla="*/ 249550 w 847328"/>
              <a:gd name="connsiteY132" fmla="*/ 423637 h 847271"/>
              <a:gd name="connsiteX133" fmla="*/ 423676 w 847328"/>
              <a:gd name="connsiteY133" fmla="*/ 597764 h 847271"/>
              <a:gd name="connsiteX134" fmla="*/ 597803 w 847328"/>
              <a:gd name="connsiteY134" fmla="*/ 423637 h 847271"/>
              <a:gd name="connsiteX135" fmla="*/ 423676 w 847328"/>
              <a:gd name="connsiteY135" fmla="*/ 249511 h 847271"/>
              <a:gd name="connsiteX136" fmla="*/ 423676 w 847328"/>
              <a:gd name="connsiteY136" fmla="*/ 580467 h 847271"/>
              <a:gd name="connsiteX137" fmla="*/ 266847 w 847328"/>
              <a:gd name="connsiteY137" fmla="*/ 423637 h 847271"/>
              <a:gd name="connsiteX138" fmla="*/ 423676 w 847328"/>
              <a:gd name="connsiteY138" fmla="*/ 266808 h 847271"/>
              <a:gd name="connsiteX139" fmla="*/ 580506 w 847328"/>
              <a:gd name="connsiteY139" fmla="*/ 423637 h 847271"/>
              <a:gd name="connsiteX140" fmla="*/ 423676 w 847328"/>
              <a:gd name="connsiteY140" fmla="*/ 580467 h 847271"/>
              <a:gd name="connsiteX141" fmla="*/ 504006 w 847328"/>
              <a:gd name="connsiteY141" fmla="*/ 360201 h 847271"/>
              <a:gd name="connsiteX142" fmla="*/ 504006 w 847328"/>
              <a:gd name="connsiteY142" fmla="*/ 372442 h 847271"/>
              <a:gd name="connsiteX143" fmla="*/ 389335 w 847328"/>
              <a:gd name="connsiteY143" fmla="*/ 487114 h 847271"/>
              <a:gd name="connsiteX144" fmla="*/ 383233 w 847328"/>
              <a:gd name="connsiteY144" fmla="*/ 489644 h 847271"/>
              <a:gd name="connsiteX145" fmla="*/ 383047 w 847328"/>
              <a:gd name="connsiteY145" fmla="*/ 489644 h 847271"/>
              <a:gd name="connsiteX146" fmla="*/ 376871 w 847328"/>
              <a:gd name="connsiteY146" fmla="*/ 486816 h 847271"/>
              <a:gd name="connsiteX147" fmla="*/ 321767 w 847328"/>
              <a:gd name="connsiteY147" fmla="*/ 426280 h 847271"/>
              <a:gd name="connsiteX148" fmla="*/ 322362 w 847328"/>
              <a:gd name="connsiteY148" fmla="*/ 414077 h 847271"/>
              <a:gd name="connsiteX149" fmla="*/ 334565 w 847328"/>
              <a:gd name="connsiteY149" fmla="*/ 414672 h 847271"/>
              <a:gd name="connsiteX150" fmla="*/ 383492 w 847328"/>
              <a:gd name="connsiteY150" fmla="*/ 468510 h 847271"/>
              <a:gd name="connsiteX151" fmla="*/ 491763 w 847328"/>
              <a:gd name="connsiteY151" fmla="*/ 360239 h 847271"/>
              <a:gd name="connsiteX152" fmla="*/ 504005 w 847328"/>
              <a:gd name="connsiteY152" fmla="*/ 360202 h 847271"/>
              <a:gd name="connsiteX153" fmla="*/ 80144 w 847328"/>
              <a:gd name="connsiteY153" fmla="*/ 640779 h 847271"/>
              <a:gd name="connsiteX154" fmla="*/ 77465 w 847328"/>
              <a:gd name="connsiteY154" fmla="*/ 652722 h 847271"/>
              <a:gd name="connsiteX155" fmla="*/ 72851 w 847328"/>
              <a:gd name="connsiteY155" fmla="*/ 654062 h 847271"/>
              <a:gd name="connsiteX156" fmla="*/ 65522 w 847328"/>
              <a:gd name="connsiteY156" fmla="*/ 650043 h 847271"/>
              <a:gd name="connsiteX157" fmla="*/ 0 w 847328"/>
              <a:gd name="connsiteY157" fmla="*/ 423634 h 847271"/>
              <a:gd name="connsiteX158" fmla="*/ 124082 w 847328"/>
              <a:gd name="connsiteY158" fmla="*/ 124082 h 847271"/>
              <a:gd name="connsiteX159" fmla="*/ 423672 w 847328"/>
              <a:gd name="connsiteY159" fmla="*/ 0 h 847271"/>
              <a:gd name="connsiteX160" fmla="*/ 728282 w 847328"/>
              <a:gd name="connsiteY160" fmla="*/ 129216 h 847271"/>
              <a:gd name="connsiteX161" fmla="*/ 728282 w 847328"/>
              <a:gd name="connsiteY161" fmla="*/ 70801 h 847271"/>
              <a:gd name="connsiteX162" fmla="*/ 736914 w 847328"/>
              <a:gd name="connsiteY162" fmla="*/ 62169 h 847271"/>
              <a:gd name="connsiteX163" fmla="*/ 745546 w 847328"/>
              <a:gd name="connsiteY163" fmla="*/ 70801 h 847271"/>
              <a:gd name="connsiteX164" fmla="*/ 745546 w 847328"/>
              <a:gd name="connsiteY164" fmla="*/ 150015 h 847271"/>
              <a:gd name="connsiteX165" fmla="*/ 736914 w 847328"/>
              <a:gd name="connsiteY165" fmla="*/ 158647 h 847271"/>
              <a:gd name="connsiteX166" fmla="*/ 657700 w 847328"/>
              <a:gd name="connsiteY166" fmla="*/ 158647 h 847271"/>
              <a:gd name="connsiteX167" fmla="*/ 649068 w 847328"/>
              <a:gd name="connsiteY167" fmla="*/ 150015 h 847271"/>
              <a:gd name="connsiteX168" fmla="*/ 657700 w 847328"/>
              <a:gd name="connsiteY168" fmla="*/ 141383 h 847271"/>
              <a:gd name="connsiteX169" fmla="*/ 715966 w 847328"/>
              <a:gd name="connsiteY169" fmla="*/ 141383 h 847271"/>
              <a:gd name="connsiteX170" fmla="*/ 423663 w 847328"/>
              <a:gd name="connsiteY170" fmla="*/ 17301 h 847271"/>
              <a:gd name="connsiteX171" fmla="*/ 17326 w 847328"/>
              <a:gd name="connsiteY171" fmla="*/ 423637 h 847271"/>
              <a:gd name="connsiteX172" fmla="*/ 80132 w 847328"/>
              <a:gd name="connsiteY172" fmla="*/ 640779 h 847271"/>
              <a:gd name="connsiteX173" fmla="*/ 847316 w 847328"/>
              <a:gd name="connsiteY173" fmla="*/ 423637 h 847271"/>
              <a:gd name="connsiteX174" fmla="*/ 723234 w 847328"/>
              <a:gd name="connsiteY174" fmla="*/ 723189 h 847271"/>
              <a:gd name="connsiteX175" fmla="*/ 423682 w 847328"/>
              <a:gd name="connsiteY175" fmla="*/ 847271 h 847271"/>
              <a:gd name="connsiteX176" fmla="*/ 119073 w 847328"/>
              <a:gd name="connsiteY176" fmla="*/ 718055 h 847271"/>
              <a:gd name="connsiteX177" fmla="*/ 119073 w 847328"/>
              <a:gd name="connsiteY177" fmla="*/ 776470 h 847271"/>
              <a:gd name="connsiteX178" fmla="*/ 110441 w 847328"/>
              <a:gd name="connsiteY178" fmla="*/ 785102 h 847271"/>
              <a:gd name="connsiteX179" fmla="*/ 101809 w 847328"/>
              <a:gd name="connsiteY179" fmla="*/ 776470 h 847271"/>
              <a:gd name="connsiteX180" fmla="*/ 101809 w 847328"/>
              <a:gd name="connsiteY180" fmla="*/ 697256 h 847271"/>
              <a:gd name="connsiteX181" fmla="*/ 110441 w 847328"/>
              <a:gd name="connsiteY181" fmla="*/ 688624 h 847271"/>
              <a:gd name="connsiteX182" fmla="*/ 189654 w 847328"/>
              <a:gd name="connsiteY182" fmla="*/ 688624 h 847271"/>
              <a:gd name="connsiteX183" fmla="*/ 198286 w 847328"/>
              <a:gd name="connsiteY183" fmla="*/ 697256 h 847271"/>
              <a:gd name="connsiteX184" fmla="*/ 189654 w 847328"/>
              <a:gd name="connsiteY184" fmla="*/ 705888 h 847271"/>
              <a:gd name="connsiteX185" fmla="*/ 131388 w 847328"/>
              <a:gd name="connsiteY185" fmla="*/ 705888 h 847271"/>
              <a:gd name="connsiteX186" fmla="*/ 423691 w 847328"/>
              <a:gd name="connsiteY186" fmla="*/ 829971 h 847271"/>
              <a:gd name="connsiteX187" fmla="*/ 830028 w 847328"/>
              <a:gd name="connsiteY187" fmla="*/ 423634 h 847271"/>
              <a:gd name="connsiteX188" fmla="*/ 767222 w 847328"/>
              <a:gd name="connsiteY188" fmla="*/ 206493 h 847271"/>
              <a:gd name="connsiteX189" fmla="*/ 769901 w 847328"/>
              <a:gd name="connsiteY189" fmla="*/ 194549 h 847271"/>
              <a:gd name="connsiteX190" fmla="*/ 781844 w 847328"/>
              <a:gd name="connsiteY190" fmla="*/ 197228 h 847271"/>
              <a:gd name="connsiteX191" fmla="*/ 847328 w 847328"/>
              <a:gd name="connsiteY191" fmla="*/ 423637 h 847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</a:cxnLst>
            <a:rect l="l" t="t" r="r" b="b"/>
            <a:pathLst>
              <a:path w="847328" h="847271">
                <a:moveTo>
                  <a:pt x="667015" y="504904"/>
                </a:moveTo>
                <a:cubicBezTo>
                  <a:pt x="669173" y="498392"/>
                  <a:pt x="674568" y="494151"/>
                  <a:pt x="681414" y="493593"/>
                </a:cubicBezTo>
                <a:lnTo>
                  <a:pt x="702623" y="491807"/>
                </a:lnTo>
                <a:cubicBezTo>
                  <a:pt x="720333" y="490281"/>
                  <a:pt x="733690" y="475771"/>
                  <a:pt x="733690" y="457985"/>
                </a:cubicBezTo>
                <a:lnTo>
                  <a:pt x="733690" y="389376"/>
                </a:lnTo>
                <a:cubicBezTo>
                  <a:pt x="733690" y="371591"/>
                  <a:pt x="720333" y="357043"/>
                  <a:pt x="702623" y="355555"/>
                </a:cubicBezTo>
                <a:lnTo>
                  <a:pt x="681414" y="353769"/>
                </a:lnTo>
                <a:cubicBezTo>
                  <a:pt x="674568" y="353173"/>
                  <a:pt x="669211" y="348969"/>
                  <a:pt x="667015" y="342458"/>
                </a:cubicBezTo>
                <a:cubicBezTo>
                  <a:pt x="663220" y="331072"/>
                  <a:pt x="658569" y="319873"/>
                  <a:pt x="653212" y="309120"/>
                </a:cubicBezTo>
                <a:cubicBezTo>
                  <a:pt x="650124" y="302981"/>
                  <a:pt x="650942" y="296172"/>
                  <a:pt x="655370" y="290926"/>
                </a:cubicBezTo>
                <a:lnTo>
                  <a:pt x="669099" y="274666"/>
                </a:lnTo>
                <a:cubicBezTo>
                  <a:pt x="680559" y="261086"/>
                  <a:pt x="679740" y="241329"/>
                  <a:pt x="667164" y="228753"/>
                </a:cubicBezTo>
                <a:lnTo>
                  <a:pt x="618646" y="180235"/>
                </a:lnTo>
                <a:cubicBezTo>
                  <a:pt x="606070" y="167659"/>
                  <a:pt x="586350" y="166840"/>
                  <a:pt x="572733" y="178300"/>
                </a:cubicBezTo>
                <a:lnTo>
                  <a:pt x="556473" y="191955"/>
                </a:lnTo>
                <a:cubicBezTo>
                  <a:pt x="551227" y="196382"/>
                  <a:pt x="544419" y="197201"/>
                  <a:pt x="538279" y="194113"/>
                </a:cubicBezTo>
                <a:cubicBezTo>
                  <a:pt x="527526" y="188718"/>
                  <a:pt x="516326" y="184067"/>
                  <a:pt x="504978" y="180309"/>
                </a:cubicBezTo>
                <a:cubicBezTo>
                  <a:pt x="498467" y="178151"/>
                  <a:pt x="494226" y="172756"/>
                  <a:pt x="493667" y="165910"/>
                </a:cubicBezTo>
                <a:lnTo>
                  <a:pt x="491881" y="144702"/>
                </a:lnTo>
                <a:cubicBezTo>
                  <a:pt x="490356" y="126991"/>
                  <a:pt x="475845" y="113634"/>
                  <a:pt x="458060" y="113634"/>
                </a:cubicBezTo>
                <a:lnTo>
                  <a:pt x="389451" y="113634"/>
                </a:lnTo>
                <a:cubicBezTo>
                  <a:pt x="371666" y="113634"/>
                  <a:pt x="357118" y="126991"/>
                  <a:pt x="355629" y="144702"/>
                </a:cubicBezTo>
                <a:lnTo>
                  <a:pt x="353843" y="165910"/>
                </a:lnTo>
                <a:cubicBezTo>
                  <a:pt x="353248" y="172756"/>
                  <a:pt x="349044" y="178114"/>
                  <a:pt x="342532" y="180309"/>
                </a:cubicBezTo>
                <a:cubicBezTo>
                  <a:pt x="331184" y="184104"/>
                  <a:pt x="319948" y="188755"/>
                  <a:pt x="309232" y="194113"/>
                </a:cubicBezTo>
                <a:cubicBezTo>
                  <a:pt x="303093" y="197201"/>
                  <a:pt x="296284" y="196382"/>
                  <a:pt x="291037" y="191955"/>
                </a:cubicBezTo>
                <a:lnTo>
                  <a:pt x="274741" y="178226"/>
                </a:lnTo>
                <a:cubicBezTo>
                  <a:pt x="261160" y="166766"/>
                  <a:pt x="241404" y="167584"/>
                  <a:pt x="228828" y="180160"/>
                </a:cubicBezTo>
                <a:lnTo>
                  <a:pt x="180309" y="228679"/>
                </a:lnTo>
                <a:cubicBezTo>
                  <a:pt x="167733" y="241255"/>
                  <a:pt x="166877" y="260974"/>
                  <a:pt x="178374" y="274592"/>
                </a:cubicBezTo>
                <a:lnTo>
                  <a:pt x="192104" y="290851"/>
                </a:lnTo>
                <a:cubicBezTo>
                  <a:pt x="196531" y="296097"/>
                  <a:pt x="197350" y="302906"/>
                  <a:pt x="194262" y="309046"/>
                </a:cubicBezTo>
                <a:cubicBezTo>
                  <a:pt x="188904" y="319799"/>
                  <a:pt x="184253" y="330998"/>
                  <a:pt x="180458" y="342383"/>
                </a:cubicBezTo>
                <a:cubicBezTo>
                  <a:pt x="178300" y="348895"/>
                  <a:pt x="172905" y="353136"/>
                  <a:pt x="166059" y="353694"/>
                </a:cubicBezTo>
                <a:lnTo>
                  <a:pt x="144851" y="355480"/>
                </a:lnTo>
                <a:cubicBezTo>
                  <a:pt x="127140" y="356969"/>
                  <a:pt x="113783" y="371517"/>
                  <a:pt x="113783" y="389302"/>
                </a:cubicBezTo>
                <a:lnTo>
                  <a:pt x="113783" y="457911"/>
                </a:lnTo>
                <a:cubicBezTo>
                  <a:pt x="113783" y="475696"/>
                  <a:pt x="127140" y="490244"/>
                  <a:pt x="144851" y="491733"/>
                </a:cubicBezTo>
                <a:lnTo>
                  <a:pt x="166059" y="493518"/>
                </a:lnTo>
                <a:cubicBezTo>
                  <a:pt x="172905" y="494114"/>
                  <a:pt x="178263" y="498318"/>
                  <a:pt x="180458" y="504829"/>
                </a:cubicBezTo>
                <a:cubicBezTo>
                  <a:pt x="184253" y="516215"/>
                  <a:pt x="188904" y="527414"/>
                  <a:pt x="194262" y="538130"/>
                </a:cubicBezTo>
                <a:cubicBezTo>
                  <a:pt x="197350" y="544269"/>
                  <a:pt x="196531" y="551078"/>
                  <a:pt x="192104" y="556324"/>
                </a:cubicBezTo>
                <a:lnTo>
                  <a:pt x="178374" y="572621"/>
                </a:lnTo>
                <a:cubicBezTo>
                  <a:pt x="166915" y="586201"/>
                  <a:pt x="167733" y="605958"/>
                  <a:pt x="180309" y="618534"/>
                </a:cubicBezTo>
                <a:lnTo>
                  <a:pt x="228828" y="667053"/>
                </a:lnTo>
                <a:cubicBezTo>
                  <a:pt x="241404" y="679628"/>
                  <a:pt x="261123" y="680447"/>
                  <a:pt x="274741" y="668987"/>
                </a:cubicBezTo>
                <a:lnTo>
                  <a:pt x="291000" y="655258"/>
                </a:lnTo>
                <a:cubicBezTo>
                  <a:pt x="296246" y="650830"/>
                  <a:pt x="303055" y="650012"/>
                  <a:pt x="309195" y="653100"/>
                </a:cubicBezTo>
                <a:cubicBezTo>
                  <a:pt x="319910" y="658458"/>
                  <a:pt x="331147" y="663109"/>
                  <a:pt x="342532" y="666904"/>
                </a:cubicBezTo>
                <a:cubicBezTo>
                  <a:pt x="349044" y="669062"/>
                  <a:pt x="353285" y="674457"/>
                  <a:pt x="353843" y="681303"/>
                </a:cubicBezTo>
                <a:lnTo>
                  <a:pt x="355629" y="702511"/>
                </a:lnTo>
                <a:cubicBezTo>
                  <a:pt x="357155" y="720222"/>
                  <a:pt x="371666" y="733579"/>
                  <a:pt x="389451" y="733579"/>
                </a:cubicBezTo>
                <a:lnTo>
                  <a:pt x="458060" y="733579"/>
                </a:lnTo>
                <a:cubicBezTo>
                  <a:pt x="475845" y="733579"/>
                  <a:pt x="490393" y="720222"/>
                  <a:pt x="491881" y="702511"/>
                </a:cubicBezTo>
                <a:lnTo>
                  <a:pt x="493667" y="681303"/>
                </a:lnTo>
                <a:cubicBezTo>
                  <a:pt x="494263" y="674456"/>
                  <a:pt x="498467" y="669099"/>
                  <a:pt x="504978" y="666904"/>
                </a:cubicBezTo>
                <a:cubicBezTo>
                  <a:pt x="516326" y="663108"/>
                  <a:pt x="527563" y="658458"/>
                  <a:pt x="538279" y="653100"/>
                </a:cubicBezTo>
                <a:cubicBezTo>
                  <a:pt x="544418" y="650012"/>
                  <a:pt x="551227" y="650830"/>
                  <a:pt x="556473" y="655258"/>
                </a:cubicBezTo>
                <a:lnTo>
                  <a:pt x="572770" y="668987"/>
                </a:lnTo>
                <a:cubicBezTo>
                  <a:pt x="586350" y="680447"/>
                  <a:pt x="606107" y="679629"/>
                  <a:pt x="618683" y="667053"/>
                </a:cubicBezTo>
                <a:lnTo>
                  <a:pt x="667202" y="618534"/>
                </a:lnTo>
                <a:cubicBezTo>
                  <a:pt x="679777" y="605958"/>
                  <a:pt x="680596" y="586239"/>
                  <a:pt x="669136" y="572621"/>
                </a:cubicBezTo>
                <a:lnTo>
                  <a:pt x="655407" y="556324"/>
                </a:lnTo>
                <a:cubicBezTo>
                  <a:pt x="650979" y="551078"/>
                  <a:pt x="650161" y="544270"/>
                  <a:pt x="653249" y="538130"/>
                </a:cubicBezTo>
                <a:cubicBezTo>
                  <a:pt x="658570" y="527488"/>
                  <a:pt x="663221" y="516289"/>
                  <a:pt x="667015" y="504904"/>
                </a:cubicBezTo>
                <a:close/>
                <a:moveTo>
                  <a:pt x="642161" y="567560"/>
                </a:moveTo>
                <a:lnTo>
                  <a:pt x="655890" y="583856"/>
                </a:lnTo>
                <a:cubicBezTo>
                  <a:pt x="661508" y="590516"/>
                  <a:pt x="661099" y="600228"/>
                  <a:pt x="654923" y="606367"/>
                </a:cubicBezTo>
                <a:lnTo>
                  <a:pt x="606404" y="654885"/>
                </a:lnTo>
                <a:cubicBezTo>
                  <a:pt x="600228" y="661062"/>
                  <a:pt x="590554" y="661471"/>
                  <a:pt x="583894" y="655853"/>
                </a:cubicBezTo>
                <a:lnTo>
                  <a:pt x="567598" y="642123"/>
                </a:lnTo>
                <a:cubicBezTo>
                  <a:pt x="557068" y="633231"/>
                  <a:pt x="542855" y="631556"/>
                  <a:pt x="530503" y="637733"/>
                </a:cubicBezTo>
                <a:cubicBezTo>
                  <a:pt x="520494" y="642756"/>
                  <a:pt x="510039" y="647072"/>
                  <a:pt x="499435" y="650607"/>
                </a:cubicBezTo>
                <a:cubicBezTo>
                  <a:pt x="486375" y="654960"/>
                  <a:pt x="477520" y="666196"/>
                  <a:pt x="476366" y="679926"/>
                </a:cubicBezTo>
                <a:lnTo>
                  <a:pt x="474580" y="701134"/>
                </a:lnTo>
                <a:cubicBezTo>
                  <a:pt x="473836" y="709841"/>
                  <a:pt x="466692" y="716389"/>
                  <a:pt x="457986" y="716389"/>
                </a:cubicBezTo>
                <a:lnTo>
                  <a:pt x="389376" y="716389"/>
                </a:lnTo>
                <a:cubicBezTo>
                  <a:pt x="380633" y="716389"/>
                  <a:pt x="373526" y="709841"/>
                  <a:pt x="372782" y="701134"/>
                </a:cubicBezTo>
                <a:lnTo>
                  <a:pt x="370996" y="679926"/>
                </a:lnTo>
                <a:cubicBezTo>
                  <a:pt x="369843" y="666196"/>
                  <a:pt x="360987" y="654960"/>
                  <a:pt x="347927" y="650607"/>
                </a:cubicBezTo>
                <a:cubicBezTo>
                  <a:pt x="337323" y="647072"/>
                  <a:pt x="326868" y="642719"/>
                  <a:pt x="316860" y="637733"/>
                </a:cubicBezTo>
                <a:cubicBezTo>
                  <a:pt x="311948" y="635277"/>
                  <a:pt x="306702" y="634049"/>
                  <a:pt x="301567" y="634049"/>
                </a:cubicBezTo>
                <a:cubicBezTo>
                  <a:pt x="293791" y="634049"/>
                  <a:pt x="286126" y="636803"/>
                  <a:pt x="279801" y="642123"/>
                </a:cubicBezTo>
                <a:lnTo>
                  <a:pt x="263542" y="655853"/>
                </a:lnTo>
                <a:cubicBezTo>
                  <a:pt x="256881" y="661471"/>
                  <a:pt x="247208" y="661062"/>
                  <a:pt x="241031" y="654885"/>
                </a:cubicBezTo>
                <a:lnTo>
                  <a:pt x="192513" y="606367"/>
                </a:lnTo>
                <a:cubicBezTo>
                  <a:pt x="186336" y="600190"/>
                  <a:pt x="185927" y="590516"/>
                  <a:pt x="191545" y="583856"/>
                </a:cubicBezTo>
                <a:lnTo>
                  <a:pt x="205275" y="567560"/>
                </a:lnTo>
                <a:cubicBezTo>
                  <a:pt x="214167" y="557030"/>
                  <a:pt x="215842" y="542817"/>
                  <a:pt x="209702" y="530465"/>
                </a:cubicBezTo>
                <a:cubicBezTo>
                  <a:pt x="204679" y="520456"/>
                  <a:pt x="200363" y="510001"/>
                  <a:pt x="196828" y="499397"/>
                </a:cubicBezTo>
                <a:cubicBezTo>
                  <a:pt x="192475" y="486338"/>
                  <a:pt x="181239" y="477482"/>
                  <a:pt x="167509" y="476329"/>
                </a:cubicBezTo>
                <a:lnTo>
                  <a:pt x="146301" y="474543"/>
                </a:lnTo>
                <a:cubicBezTo>
                  <a:pt x="137595" y="473799"/>
                  <a:pt x="131046" y="466655"/>
                  <a:pt x="131046" y="457948"/>
                </a:cubicBezTo>
                <a:lnTo>
                  <a:pt x="131046" y="389339"/>
                </a:lnTo>
                <a:cubicBezTo>
                  <a:pt x="131046" y="380595"/>
                  <a:pt x="137594" y="373488"/>
                  <a:pt x="146301" y="372744"/>
                </a:cubicBezTo>
                <a:lnTo>
                  <a:pt x="167509" y="370958"/>
                </a:lnTo>
                <a:cubicBezTo>
                  <a:pt x="181239" y="369805"/>
                  <a:pt x="192475" y="360950"/>
                  <a:pt x="196828" y="347890"/>
                </a:cubicBezTo>
                <a:cubicBezTo>
                  <a:pt x="200363" y="337286"/>
                  <a:pt x="204716" y="326831"/>
                  <a:pt x="209702" y="316822"/>
                </a:cubicBezTo>
                <a:cubicBezTo>
                  <a:pt x="215879" y="304506"/>
                  <a:pt x="214167" y="290293"/>
                  <a:pt x="205312" y="279727"/>
                </a:cubicBezTo>
                <a:lnTo>
                  <a:pt x="191582" y="263431"/>
                </a:lnTo>
                <a:cubicBezTo>
                  <a:pt x="185964" y="256771"/>
                  <a:pt x="186374" y="247059"/>
                  <a:pt x="192550" y="240920"/>
                </a:cubicBezTo>
                <a:lnTo>
                  <a:pt x="241068" y="192402"/>
                </a:lnTo>
                <a:cubicBezTo>
                  <a:pt x="247245" y="186225"/>
                  <a:pt x="256919" y="185816"/>
                  <a:pt x="263579" y="191434"/>
                </a:cubicBezTo>
                <a:lnTo>
                  <a:pt x="279875" y="205164"/>
                </a:lnTo>
                <a:cubicBezTo>
                  <a:pt x="290405" y="214056"/>
                  <a:pt x="304618" y="215731"/>
                  <a:pt x="316970" y="209591"/>
                </a:cubicBezTo>
                <a:cubicBezTo>
                  <a:pt x="326979" y="204568"/>
                  <a:pt x="337434" y="200252"/>
                  <a:pt x="348038" y="196717"/>
                </a:cubicBezTo>
                <a:cubicBezTo>
                  <a:pt x="361098" y="192364"/>
                  <a:pt x="369953" y="181128"/>
                  <a:pt x="371106" y="167398"/>
                </a:cubicBezTo>
                <a:lnTo>
                  <a:pt x="372892" y="146190"/>
                </a:lnTo>
                <a:cubicBezTo>
                  <a:pt x="373636" y="137484"/>
                  <a:pt x="380780" y="130935"/>
                  <a:pt x="389487" y="130935"/>
                </a:cubicBezTo>
                <a:lnTo>
                  <a:pt x="458096" y="130935"/>
                </a:lnTo>
                <a:cubicBezTo>
                  <a:pt x="466840" y="130935"/>
                  <a:pt x="473947" y="137483"/>
                  <a:pt x="474691" y="146190"/>
                </a:cubicBezTo>
                <a:lnTo>
                  <a:pt x="476477" y="167398"/>
                </a:lnTo>
                <a:cubicBezTo>
                  <a:pt x="477630" y="181128"/>
                  <a:pt x="486486" y="192364"/>
                  <a:pt x="499545" y="196717"/>
                </a:cubicBezTo>
                <a:cubicBezTo>
                  <a:pt x="510112" y="200252"/>
                  <a:pt x="520567" y="204568"/>
                  <a:pt x="530613" y="209591"/>
                </a:cubicBezTo>
                <a:cubicBezTo>
                  <a:pt x="542929" y="215768"/>
                  <a:pt x="557142" y="214056"/>
                  <a:pt x="567708" y="205164"/>
                </a:cubicBezTo>
                <a:lnTo>
                  <a:pt x="584004" y="191434"/>
                </a:lnTo>
                <a:cubicBezTo>
                  <a:pt x="590665" y="185816"/>
                  <a:pt x="600376" y="186225"/>
                  <a:pt x="606552" y="192402"/>
                </a:cubicBezTo>
                <a:lnTo>
                  <a:pt x="655070" y="240920"/>
                </a:lnTo>
                <a:cubicBezTo>
                  <a:pt x="661247" y="247097"/>
                  <a:pt x="661656" y="256771"/>
                  <a:pt x="656038" y="263431"/>
                </a:cubicBezTo>
                <a:lnTo>
                  <a:pt x="642309" y="279690"/>
                </a:lnTo>
                <a:cubicBezTo>
                  <a:pt x="633416" y="290220"/>
                  <a:pt x="631741" y="304433"/>
                  <a:pt x="637918" y="316785"/>
                </a:cubicBezTo>
                <a:cubicBezTo>
                  <a:pt x="642941" y="326794"/>
                  <a:pt x="647257" y="337248"/>
                  <a:pt x="650792" y="347853"/>
                </a:cubicBezTo>
                <a:cubicBezTo>
                  <a:pt x="655145" y="360912"/>
                  <a:pt x="666382" y="369768"/>
                  <a:pt x="680111" y="370921"/>
                </a:cubicBezTo>
                <a:lnTo>
                  <a:pt x="701319" y="372707"/>
                </a:lnTo>
                <a:cubicBezTo>
                  <a:pt x="710026" y="373451"/>
                  <a:pt x="716575" y="380595"/>
                  <a:pt x="716575" y="389302"/>
                </a:cubicBezTo>
                <a:lnTo>
                  <a:pt x="716575" y="457911"/>
                </a:lnTo>
                <a:cubicBezTo>
                  <a:pt x="716575" y="466655"/>
                  <a:pt x="710026" y="473762"/>
                  <a:pt x="701319" y="474506"/>
                </a:cubicBezTo>
                <a:lnTo>
                  <a:pt x="680111" y="476292"/>
                </a:lnTo>
                <a:cubicBezTo>
                  <a:pt x="666382" y="477445"/>
                  <a:pt x="655145" y="486300"/>
                  <a:pt x="650792" y="499360"/>
                </a:cubicBezTo>
                <a:cubicBezTo>
                  <a:pt x="647257" y="509964"/>
                  <a:pt x="642904" y="520419"/>
                  <a:pt x="637918" y="530428"/>
                </a:cubicBezTo>
                <a:cubicBezTo>
                  <a:pt x="631556" y="542818"/>
                  <a:pt x="633267" y="557031"/>
                  <a:pt x="642160" y="567560"/>
                </a:cubicBezTo>
                <a:close/>
                <a:moveTo>
                  <a:pt x="423676" y="249511"/>
                </a:moveTo>
                <a:cubicBezTo>
                  <a:pt x="327683" y="249511"/>
                  <a:pt x="249550" y="327608"/>
                  <a:pt x="249550" y="423637"/>
                </a:cubicBezTo>
                <a:cubicBezTo>
                  <a:pt x="249550" y="519630"/>
                  <a:pt x="327684" y="597764"/>
                  <a:pt x="423676" y="597764"/>
                </a:cubicBezTo>
                <a:cubicBezTo>
                  <a:pt x="519668" y="597764"/>
                  <a:pt x="597803" y="519666"/>
                  <a:pt x="597803" y="423637"/>
                </a:cubicBezTo>
                <a:cubicBezTo>
                  <a:pt x="597803" y="327644"/>
                  <a:pt x="519668" y="249511"/>
                  <a:pt x="423676" y="249511"/>
                </a:cubicBezTo>
                <a:close/>
                <a:moveTo>
                  <a:pt x="423676" y="580467"/>
                </a:moveTo>
                <a:cubicBezTo>
                  <a:pt x="337208" y="580467"/>
                  <a:pt x="266847" y="510108"/>
                  <a:pt x="266847" y="423637"/>
                </a:cubicBezTo>
                <a:cubicBezTo>
                  <a:pt x="266847" y="337167"/>
                  <a:pt x="337206" y="266808"/>
                  <a:pt x="423676" y="266808"/>
                </a:cubicBezTo>
                <a:cubicBezTo>
                  <a:pt x="510147" y="266808"/>
                  <a:pt x="580506" y="337167"/>
                  <a:pt x="580506" y="423637"/>
                </a:cubicBezTo>
                <a:cubicBezTo>
                  <a:pt x="580506" y="510108"/>
                  <a:pt x="510147" y="580467"/>
                  <a:pt x="423676" y="580467"/>
                </a:cubicBezTo>
                <a:close/>
                <a:moveTo>
                  <a:pt x="504006" y="360201"/>
                </a:moveTo>
                <a:cubicBezTo>
                  <a:pt x="507392" y="363587"/>
                  <a:pt x="507392" y="369056"/>
                  <a:pt x="504006" y="372442"/>
                </a:cubicBezTo>
                <a:lnTo>
                  <a:pt x="389335" y="487114"/>
                </a:lnTo>
                <a:cubicBezTo>
                  <a:pt x="387698" y="488751"/>
                  <a:pt x="385503" y="489644"/>
                  <a:pt x="383233" y="489644"/>
                </a:cubicBezTo>
                <a:lnTo>
                  <a:pt x="383047" y="489644"/>
                </a:lnTo>
                <a:cubicBezTo>
                  <a:pt x="380666" y="489570"/>
                  <a:pt x="378433" y="488565"/>
                  <a:pt x="376871" y="486816"/>
                </a:cubicBezTo>
                <a:lnTo>
                  <a:pt x="321767" y="426280"/>
                </a:lnTo>
                <a:cubicBezTo>
                  <a:pt x="318567" y="422745"/>
                  <a:pt x="318827" y="417276"/>
                  <a:pt x="322362" y="414077"/>
                </a:cubicBezTo>
                <a:cubicBezTo>
                  <a:pt x="325897" y="410877"/>
                  <a:pt x="331366" y="411137"/>
                  <a:pt x="334565" y="414672"/>
                </a:cubicBezTo>
                <a:lnTo>
                  <a:pt x="383492" y="468510"/>
                </a:lnTo>
                <a:lnTo>
                  <a:pt x="491763" y="360239"/>
                </a:lnTo>
                <a:cubicBezTo>
                  <a:pt x="495149" y="356816"/>
                  <a:pt x="500618" y="356816"/>
                  <a:pt x="504005" y="360202"/>
                </a:cubicBezTo>
                <a:close/>
                <a:moveTo>
                  <a:pt x="80144" y="640779"/>
                </a:moveTo>
                <a:cubicBezTo>
                  <a:pt x="82711" y="644797"/>
                  <a:pt x="81483" y="650155"/>
                  <a:pt x="77465" y="652722"/>
                </a:cubicBezTo>
                <a:cubicBezTo>
                  <a:pt x="76014" y="653615"/>
                  <a:pt x="74414" y="654062"/>
                  <a:pt x="72851" y="654062"/>
                </a:cubicBezTo>
                <a:cubicBezTo>
                  <a:pt x="69986" y="654062"/>
                  <a:pt x="67196" y="652648"/>
                  <a:pt x="65522" y="650043"/>
                </a:cubicBezTo>
                <a:cubicBezTo>
                  <a:pt x="22659" y="582400"/>
                  <a:pt x="0" y="504120"/>
                  <a:pt x="0" y="423634"/>
                </a:cubicBezTo>
                <a:cubicBezTo>
                  <a:pt x="0" y="310486"/>
                  <a:pt x="44053" y="204111"/>
                  <a:pt x="124082" y="124082"/>
                </a:cubicBezTo>
                <a:cubicBezTo>
                  <a:pt x="204151" y="44087"/>
                  <a:pt x="310525" y="0"/>
                  <a:pt x="423672" y="0"/>
                </a:cubicBezTo>
                <a:cubicBezTo>
                  <a:pt x="538715" y="0"/>
                  <a:pt x="648624" y="46844"/>
                  <a:pt x="728282" y="129216"/>
                </a:cubicBezTo>
                <a:lnTo>
                  <a:pt x="728282" y="70801"/>
                </a:lnTo>
                <a:cubicBezTo>
                  <a:pt x="728282" y="66039"/>
                  <a:pt x="732151" y="62169"/>
                  <a:pt x="736914" y="62169"/>
                </a:cubicBezTo>
                <a:cubicBezTo>
                  <a:pt x="741676" y="62169"/>
                  <a:pt x="745546" y="66039"/>
                  <a:pt x="745546" y="70801"/>
                </a:cubicBezTo>
                <a:lnTo>
                  <a:pt x="745546" y="150015"/>
                </a:lnTo>
                <a:cubicBezTo>
                  <a:pt x="745546" y="154777"/>
                  <a:pt x="741676" y="158647"/>
                  <a:pt x="736914" y="158647"/>
                </a:cubicBezTo>
                <a:lnTo>
                  <a:pt x="657700" y="158647"/>
                </a:lnTo>
                <a:cubicBezTo>
                  <a:pt x="652937" y="158647"/>
                  <a:pt x="649068" y="154777"/>
                  <a:pt x="649068" y="150015"/>
                </a:cubicBezTo>
                <a:cubicBezTo>
                  <a:pt x="649068" y="145252"/>
                  <a:pt x="652937" y="141383"/>
                  <a:pt x="657700" y="141383"/>
                </a:cubicBezTo>
                <a:lnTo>
                  <a:pt x="715966" y="141383"/>
                </a:lnTo>
                <a:cubicBezTo>
                  <a:pt x="639543" y="62281"/>
                  <a:pt x="534058" y="17301"/>
                  <a:pt x="423663" y="17301"/>
                </a:cubicBezTo>
                <a:cubicBezTo>
                  <a:pt x="199606" y="17301"/>
                  <a:pt x="17326" y="199581"/>
                  <a:pt x="17326" y="423637"/>
                </a:cubicBezTo>
                <a:cubicBezTo>
                  <a:pt x="17326" y="500805"/>
                  <a:pt x="39055" y="575885"/>
                  <a:pt x="80132" y="640779"/>
                </a:cubicBezTo>
                <a:close/>
                <a:moveTo>
                  <a:pt x="847316" y="423637"/>
                </a:moveTo>
                <a:cubicBezTo>
                  <a:pt x="847316" y="536785"/>
                  <a:pt x="803263" y="643160"/>
                  <a:pt x="723234" y="723189"/>
                </a:cubicBezTo>
                <a:cubicBezTo>
                  <a:pt x="643202" y="803184"/>
                  <a:pt x="536830" y="847271"/>
                  <a:pt x="423682" y="847271"/>
                </a:cubicBezTo>
                <a:cubicBezTo>
                  <a:pt x="308677" y="847271"/>
                  <a:pt x="198730" y="800390"/>
                  <a:pt x="119073" y="718055"/>
                </a:cubicBezTo>
                <a:lnTo>
                  <a:pt x="119073" y="776470"/>
                </a:lnTo>
                <a:cubicBezTo>
                  <a:pt x="119073" y="781233"/>
                  <a:pt x="115203" y="785102"/>
                  <a:pt x="110441" y="785102"/>
                </a:cubicBezTo>
                <a:cubicBezTo>
                  <a:pt x="105678" y="785102"/>
                  <a:pt x="101809" y="781233"/>
                  <a:pt x="101809" y="776470"/>
                </a:cubicBezTo>
                <a:lnTo>
                  <a:pt x="101809" y="697256"/>
                </a:lnTo>
                <a:cubicBezTo>
                  <a:pt x="101809" y="692494"/>
                  <a:pt x="105678" y="688624"/>
                  <a:pt x="110441" y="688624"/>
                </a:cubicBezTo>
                <a:lnTo>
                  <a:pt x="189654" y="688624"/>
                </a:lnTo>
                <a:cubicBezTo>
                  <a:pt x="194417" y="688624"/>
                  <a:pt x="198286" y="692494"/>
                  <a:pt x="198286" y="697256"/>
                </a:cubicBezTo>
                <a:cubicBezTo>
                  <a:pt x="198286" y="702019"/>
                  <a:pt x="194417" y="705888"/>
                  <a:pt x="189654" y="705888"/>
                </a:cubicBezTo>
                <a:lnTo>
                  <a:pt x="131388" y="705888"/>
                </a:lnTo>
                <a:cubicBezTo>
                  <a:pt x="207811" y="784991"/>
                  <a:pt x="313335" y="829971"/>
                  <a:pt x="423691" y="829971"/>
                </a:cubicBezTo>
                <a:cubicBezTo>
                  <a:pt x="647748" y="829971"/>
                  <a:pt x="830028" y="647691"/>
                  <a:pt x="830028" y="423634"/>
                </a:cubicBezTo>
                <a:cubicBezTo>
                  <a:pt x="830028" y="346466"/>
                  <a:pt x="808299" y="271386"/>
                  <a:pt x="767222" y="206493"/>
                </a:cubicBezTo>
                <a:cubicBezTo>
                  <a:pt x="764654" y="202474"/>
                  <a:pt x="765882" y="197116"/>
                  <a:pt x="769901" y="194549"/>
                </a:cubicBezTo>
                <a:cubicBezTo>
                  <a:pt x="773919" y="191982"/>
                  <a:pt x="779277" y="193210"/>
                  <a:pt x="781844" y="197228"/>
                </a:cubicBezTo>
                <a:cubicBezTo>
                  <a:pt x="824669" y="264908"/>
                  <a:pt x="847328" y="343189"/>
                  <a:pt x="847328" y="423637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103" name="Picture 12">
            <a:extLst>
              <a:ext uri="{FF2B5EF4-FFF2-40B4-BE49-F238E27FC236}">
                <a16:creationId xmlns:a16="http://schemas.microsoft.com/office/drawing/2014/main" id="{52A761FC-AD44-BEB2-6D4C-95634F1B1A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/>
          <a:srcRect l="777" t="37783" r="-777" b="14351"/>
          <a:stretch>
            <a:fillRect/>
          </a:stretch>
        </p:blipFill>
        <p:spPr bwMode="auto">
          <a:xfrm>
            <a:off x="8160958" y="1383109"/>
            <a:ext cx="3392424" cy="59436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58A72E5-6EC4-460E-7E56-81C7D9FECC03}"/>
              </a:ext>
            </a:extLst>
          </p:cNvPr>
          <p:cNvSpPr txBox="1">
            <a:spLocks/>
          </p:cNvSpPr>
          <p:nvPr/>
        </p:nvSpPr>
        <p:spPr>
          <a:xfrm>
            <a:off x="245766" y="2749816"/>
            <a:ext cx="184666" cy="1335344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162061"/>
                </a:solidFill>
              </a:rPr>
              <a:t>Team Experien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40E0767-C28B-D082-0010-21AA5976017B}"/>
              </a:ext>
            </a:extLst>
          </p:cNvPr>
          <p:cNvSpPr txBox="1">
            <a:spLocks/>
          </p:cNvSpPr>
          <p:nvPr/>
        </p:nvSpPr>
        <p:spPr>
          <a:xfrm>
            <a:off x="244718" y="4275372"/>
            <a:ext cx="184666" cy="1754326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162061"/>
                </a:solidFill>
              </a:rPr>
              <a:t>Project Overview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C0D6336-5B33-BDD6-29E0-EC0B847D05C9}"/>
              </a:ext>
            </a:extLst>
          </p:cNvPr>
          <p:cNvCxnSpPr>
            <a:cxnSpLocks/>
          </p:cNvCxnSpPr>
          <p:nvPr/>
        </p:nvCxnSpPr>
        <p:spPr>
          <a:xfrm>
            <a:off x="472665" y="2786386"/>
            <a:ext cx="0" cy="1188720"/>
          </a:xfrm>
          <a:prstGeom prst="line">
            <a:avLst/>
          </a:prstGeom>
          <a:ln w="3175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73ACF00-5E7E-9726-56E4-A60520EA7644}"/>
              </a:ext>
            </a:extLst>
          </p:cNvPr>
          <p:cNvCxnSpPr>
            <a:cxnSpLocks/>
          </p:cNvCxnSpPr>
          <p:nvPr/>
        </p:nvCxnSpPr>
        <p:spPr>
          <a:xfrm>
            <a:off x="471617" y="4334641"/>
            <a:ext cx="0" cy="1645920"/>
          </a:xfrm>
          <a:prstGeom prst="line">
            <a:avLst/>
          </a:prstGeom>
          <a:ln w="3175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BBA792C8-16CE-4134-9456-587703732346}"/>
              </a:ext>
            </a:extLst>
          </p:cNvPr>
          <p:cNvSpPr>
            <a:spLocks/>
          </p:cNvSpPr>
          <p:nvPr/>
        </p:nvSpPr>
        <p:spPr>
          <a:xfrm>
            <a:off x="640787" y="996413"/>
            <a:ext cx="3392424" cy="27432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pPr defTabSz="914353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2D3345">
                  <a:lumMod val="75000"/>
                </a:srgbClr>
              </a:buClr>
              <a:buNone/>
              <a:defRPr/>
            </a:pPr>
            <a:r>
              <a:rPr lang="en-US" sz="1600" b="1" dirty="0">
                <a:solidFill>
                  <a:srgbClr val="1D2766"/>
                </a:solidFill>
                <a:latin typeface="Arial"/>
                <a:sym typeface="Helvetica Neue Medium"/>
              </a:rPr>
              <a:t>            Full Team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DC09D4F-1D3C-939D-07E4-B3C405673179}"/>
              </a:ext>
            </a:extLst>
          </p:cNvPr>
          <p:cNvSpPr txBox="1">
            <a:spLocks/>
          </p:cNvSpPr>
          <p:nvPr/>
        </p:nvSpPr>
        <p:spPr>
          <a:xfrm>
            <a:off x="263291" y="1262938"/>
            <a:ext cx="184666" cy="1335344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Client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856526DA-E00A-6037-6AE7-C01732388DD2}"/>
              </a:ext>
            </a:extLst>
          </p:cNvPr>
          <p:cNvCxnSpPr>
            <a:cxnSpLocks/>
          </p:cNvCxnSpPr>
          <p:nvPr/>
        </p:nvCxnSpPr>
        <p:spPr>
          <a:xfrm>
            <a:off x="471617" y="1411692"/>
            <a:ext cx="0" cy="1005840"/>
          </a:xfrm>
          <a:prstGeom prst="line">
            <a:avLst/>
          </a:prstGeom>
          <a:ln w="3175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tangle: Rounded Corners 137">
            <a:extLst>
              <a:ext uri="{FF2B5EF4-FFF2-40B4-BE49-F238E27FC236}">
                <a16:creationId xmlns:a16="http://schemas.microsoft.com/office/drawing/2014/main" id="{F969BD25-0510-A04A-A36F-5A2E9B5D4234}"/>
              </a:ext>
            </a:extLst>
          </p:cNvPr>
          <p:cNvSpPr/>
          <p:nvPr/>
        </p:nvSpPr>
        <p:spPr bwMode="auto">
          <a:xfrm>
            <a:off x="9129521" y="2874153"/>
            <a:ext cx="2044714" cy="39801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l">
              <a:spcBef>
                <a:spcPts val="300"/>
              </a:spcBef>
            </a:pPr>
            <a:endParaRPr lang="en-US" sz="1600" dirty="0">
              <a:ea typeface="MS PGothic" panose="020B0600070205080204" pitchFamily="34" charset="-128"/>
            </a:endParaRPr>
          </a:p>
        </p:txBody>
      </p:sp>
      <p:sp>
        <p:nvSpPr>
          <p:cNvPr id="147" name="Rectangle: Rounded Corners 146">
            <a:extLst>
              <a:ext uri="{FF2B5EF4-FFF2-40B4-BE49-F238E27FC236}">
                <a16:creationId xmlns:a16="http://schemas.microsoft.com/office/drawing/2014/main" id="{A850EDC6-111A-B05D-2D21-12447C62B566}"/>
              </a:ext>
            </a:extLst>
          </p:cNvPr>
          <p:cNvSpPr/>
          <p:nvPr/>
        </p:nvSpPr>
        <p:spPr bwMode="auto">
          <a:xfrm>
            <a:off x="8117637" y="2689854"/>
            <a:ext cx="3410712" cy="138191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46800" tIns="46800" rIns="46800" bIns="46800" rtlCol="0" anchor="ctr">
            <a:spAutoFit/>
          </a:bodyPr>
          <a:lstStyle/>
          <a:p>
            <a:pPr algn="l">
              <a:spcBef>
                <a:spcPts val="300"/>
              </a:spcBef>
            </a:pPr>
            <a:endParaRPr lang="en-US" sz="1600" dirty="0">
              <a:ea typeface="MS PGothic" panose="020B0600070205080204" pitchFamily="34" charset="-128"/>
            </a:endParaRPr>
          </a:p>
        </p:txBody>
      </p:sp>
      <p:sp>
        <p:nvSpPr>
          <p:cNvPr id="219" name="Rectangle: Rounded Corners 218">
            <a:extLst>
              <a:ext uri="{FF2B5EF4-FFF2-40B4-BE49-F238E27FC236}">
                <a16:creationId xmlns:a16="http://schemas.microsoft.com/office/drawing/2014/main" id="{D8240EE2-153B-112A-2DE3-F3DDBC82CDE2}"/>
              </a:ext>
            </a:extLst>
          </p:cNvPr>
          <p:cNvSpPr/>
          <p:nvPr/>
        </p:nvSpPr>
        <p:spPr bwMode="auto">
          <a:xfrm>
            <a:off x="8349761" y="3648514"/>
            <a:ext cx="1427244" cy="27482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/>
            <a:r>
              <a:rPr lang="en-US" sz="1000" b="1" dirty="0">
                <a:solidFill>
                  <a:schemeClr val="tx2"/>
                </a:solidFill>
              </a:rPr>
              <a:t>Change Management</a:t>
            </a:r>
          </a:p>
        </p:txBody>
      </p:sp>
      <p:sp>
        <p:nvSpPr>
          <p:cNvPr id="135" name="Rectangle: Rounded Corners 134">
            <a:extLst>
              <a:ext uri="{FF2B5EF4-FFF2-40B4-BE49-F238E27FC236}">
                <a16:creationId xmlns:a16="http://schemas.microsoft.com/office/drawing/2014/main" id="{FE095897-EB6C-045C-881E-173434199ECD}"/>
              </a:ext>
            </a:extLst>
          </p:cNvPr>
          <p:cNvSpPr/>
          <p:nvPr/>
        </p:nvSpPr>
        <p:spPr bwMode="auto">
          <a:xfrm>
            <a:off x="8351477" y="3322003"/>
            <a:ext cx="1711902" cy="27482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000" b="1" dirty="0">
                <a:solidFill>
                  <a:schemeClr val="tx2"/>
                </a:solidFill>
              </a:rPr>
              <a:t>Former McKinsey &amp; CFO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EFF4B715-7983-FE35-59E9-111E534802FC}"/>
              </a:ext>
            </a:extLst>
          </p:cNvPr>
          <p:cNvSpPr txBox="1"/>
          <p:nvPr/>
        </p:nvSpPr>
        <p:spPr>
          <a:xfrm>
            <a:off x="8395739" y="3346275"/>
            <a:ext cx="811689" cy="81268"/>
          </a:xfrm>
          <a:prstGeom prst="rect">
            <a:avLst/>
          </a:prstGeom>
        </p:spPr>
        <p:txBody>
          <a:bodyPr wrap="square" lIns="0" rIns="0" rtlCol="0">
            <a:noAutofit/>
          </a:bodyPr>
          <a:lstStyle/>
          <a:p>
            <a:pPr algn="l"/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BC77DCBD-7AF2-B114-0229-9BAB9DC0FBD2}"/>
              </a:ext>
            </a:extLst>
          </p:cNvPr>
          <p:cNvSpPr txBox="1"/>
          <p:nvPr/>
        </p:nvSpPr>
        <p:spPr>
          <a:xfrm>
            <a:off x="9050963" y="2830146"/>
            <a:ext cx="2409517" cy="357714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l"/>
            <a:r>
              <a:rPr lang="en-US" sz="1100" b="1" dirty="0">
                <a:solidFill>
                  <a:schemeClr val="tx2"/>
                </a:solidFill>
              </a:rPr>
              <a:t>Integration Lead</a:t>
            </a:r>
          </a:p>
          <a:p>
            <a:pPr algn="l"/>
            <a:r>
              <a:rPr lang="en-US" sz="1000" b="1" dirty="0">
                <a:solidFill>
                  <a:schemeClr val="tx2"/>
                </a:solidFill>
              </a:rPr>
              <a:t>1 consultant</a:t>
            </a:r>
            <a:endParaRPr lang="en-US" sz="1100" b="1" dirty="0">
              <a:solidFill>
                <a:schemeClr val="tx2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8DE099F-392D-B376-9AEE-BB4DC5526A55}"/>
              </a:ext>
            </a:extLst>
          </p:cNvPr>
          <p:cNvSpPr txBox="1">
            <a:spLocks/>
          </p:cNvSpPr>
          <p:nvPr/>
        </p:nvSpPr>
        <p:spPr>
          <a:xfrm>
            <a:off x="543677" y="2048200"/>
            <a:ext cx="3586644" cy="5539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fontAlgn="t"/>
            <a:r>
              <a:rPr lang="en-US" sz="1200" dirty="0"/>
              <a:t>PE firm with upper mid-market focus required a plan to evaluate </a:t>
            </a:r>
            <a:r>
              <a:rPr lang="en-US" sz="1200" b="1" dirty="0">
                <a:solidFill>
                  <a:schemeClr val="tx2"/>
                </a:solidFill>
              </a:rPr>
              <a:t>two simultaneous acquisitions </a:t>
            </a:r>
            <a:r>
              <a:rPr lang="en-US" sz="1200" dirty="0"/>
              <a:t>and </a:t>
            </a:r>
            <a:r>
              <a:rPr lang="en-US" sz="1200" b="1" dirty="0">
                <a:solidFill>
                  <a:schemeClr val="tx2"/>
                </a:solidFill>
              </a:rPr>
              <a:t>identify growth opportunities</a:t>
            </a:r>
            <a:endParaRPr lang="en-US" sz="12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B3EED24-B53B-B562-D7B9-CB7956257ABF}"/>
              </a:ext>
            </a:extLst>
          </p:cNvPr>
          <p:cNvSpPr txBox="1">
            <a:spLocks/>
          </p:cNvSpPr>
          <p:nvPr/>
        </p:nvSpPr>
        <p:spPr>
          <a:xfrm>
            <a:off x="677011" y="4293824"/>
            <a:ext cx="3440315" cy="18158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2"/>
                </a:solidFill>
              </a:rPr>
              <a:t>Market Analysis: </a:t>
            </a:r>
            <a:r>
              <a:rPr lang="en-US" sz="1200" dirty="0"/>
              <a:t>Assessed total addressable market size, competitive landscape, and growth trajectory across priority geographie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2"/>
                </a:solidFill>
              </a:rPr>
              <a:t>Integration Hypotheses: </a:t>
            </a:r>
            <a:r>
              <a:rPr lang="en-US" sz="1200" dirty="0"/>
              <a:t>Assessed feasibility of merging the two companies’ platforms and operating model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2"/>
                </a:solidFill>
              </a:rPr>
              <a:t>Execution Framework: </a:t>
            </a:r>
            <a:r>
              <a:rPr lang="en-US" sz="1200" dirty="0"/>
              <a:t>Defined the high-level organizational design and requirements to realize targeted synergies</a:t>
            </a:r>
          </a:p>
        </p:txBody>
      </p:sp>
      <p:pic>
        <p:nvPicPr>
          <p:cNvPr id="102" name="Picture 6">
            <a:extLst>
              <a:ext uri="{FF2B5EF4-FFF2-40B4-BE49-F238E27FC236}">
                <a16:creationId xmlns:a16="http://schemas.microsoft.com/office/drawing/2014/main" id="{1B581EBE-B729-170F-57BB-99E8E342C9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/>
          <a:srcRect l="31" t="44031" r="-31" b="19967"/>
          <a:stretch>
            <a:fillRect/>
          </a:stretch>
        </p:blipFill>
        <p:spPr bwMode="auto">
          <a:xfrm>
            <a:off x="648227" y="1383373"/>
            <a:ext cx="3392424" cy="59735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0" name="Rectangle: Rounded Corners 149">
            <a:extLst>
              <a:ext uri="{FF2B5EF4-FFF2-40B4-BE49-F238E27FC236}">
                <a16:creationId xmlns:a16="http://schemas.microsoft.com/office/drawing/2014/main" id="{B5274FA9-A67F-E17F-4B5A-E2EE70484042}"/>
              </a:ext>
            </a:extLst>
          </p:cNvPr>
          <p:cNvSpPr/>
          <p:nvPr/>
        </p:nvSpPr>
        <p:spPr bwMode="auto">
          <a:xfrm>
            <a:off x="678887" y="2689854"/>
            <a:ext cx="3410657" cy="138191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46800" tIns="46800" rIns="46800" bIns="46800" rtlCol="0" anchor="ctr">
            <a:spAutoFit/>
          </a:bodyPr>
          <a:lstStyle/>
          <a:p>
            <a:pPr algn="l">
              <a:spcBef>
                <a:spcPts val="300"/>
              </a:spcBef>
            </a:pPr>
            <a:endParaRPr lang="en-US" sz="1600" dirty="0">
              <a:ea typeface="MS PGothic" panose="020B0600070205080204" pitchFamily="34" charset="-128"/>
            </a:endParaRPr>
          </a:p>
        </p:txBody>
      </p:sp>
      <p:sp>
        <p:nvSpPr>
          <p:cNvPr id="158" name="Rectangle: Rounded Corners 157">
            <a:extLst>
              <a:ext uri="{FF2B5EF4-FFF2-40B4-BE49-F238E27FC236}">
                <a16:creationId xmlns:a16="http://schemas.microsoft.com/office/drawing/2014/main" id="{3047B262-2900-216E-F57D-79336110E037}"/>
              </a:ext>
            </a:extLst>
          </p:cNvPr>
          <p:cNvSpPr/>
          <p:nvPr/>
        </p:nvSpPr>
        <p:spPr bwMode="auto">
          <a:xfrm>
            <a:off x="2803936" y="3308764"/>
            <a:ext cx="829877" cy="2743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000" b="1" dirty="0">
                <a:solidFill>
                  <a:schemeClr val="tx2"/>
                </a:solidFill>
                <a:ea typeface="MS PGothic" panose="020B0600070205080204" pitchFamily="34" charset="-128"/>
              </a:rPr>
              <a:t>PMI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F49789A2-3EB4-357D-B5D8-B4B988514612}"/>
              </a:ext>
            </a:extLst>
          </p:cNvPr>
          <p:cNvSpPr txBox="1"/>
          <p:nvPr/>
        </p:nvSpPr>
        <p:spPr>
          <a:xfrm>
            <a:off x="1555493" y="2789134"/>
            <a:ext cx="2477718" cy="371203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l"/>
            <a:r>
              <a:rPr lang="en-US" sz="1100" b="1" dirty="0">
                <a:solidFill>
                  <a:schemeClr val="tx2"/>
                </a:solidFill>
              </a:rPr>
              <a:t>Pre-Merger Planning Team</a:t>
            </a:r>
          </a:p>
          <a:p>
            <a:pPr algn="l"/>
            <a:r>
              <a:rPr lang="en-US" sz="1000" b="1" dirty="0">
                <a:solidFill>
                  <a:schemeClr val="tx2"/>
                </a:solidFill>
              </a:rPr>
              <a:t>8 consultants</a:t>
            </a: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458A35C8-CA6C-9BE3-7071-740003C61C93}"/>
              </a:ext>
            </a:extLst>
          </p:cNvPr>
          <p:cNvGrpSpPr/>
          <p:nvPr/>
        </p:nvGrpSpPr>
        <p:grpSpPr>
          <a:xfrm>
            <a:off x="801121" y="2731474"/>
            <a:ext cx="552428" cy="548640"/>
            <a:chOff x="835121" y="2722252"/>
            <a:chExt cx="552428" cy="557627"/>
          </a:xfrm>
        </p:grpSpPr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34D9111D-E57B-748E-95A8-271354FEBF24}"/>
                </a:ext>
              </a:extLst>
            </p:cNvPr>
            <p:cNvGrpSpPr/>
            <p:nvPr/>
          </p:nvGrpSpPr>
          <p:grpSpPr>
            <a:xfrm>
              <a:off x="835121" y="2746075"/>
              <a:ext cx="548640" cy="533804"/>
              <a:chOff x="248524" y="786887"/>
              <a:chExt cx="729732" cy="692859"/>
            </a:xfrm>
          </p:grpSpPr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0254686D-F145-D827-B592-D4FD747F3470}"/>
                  </a:ext>
                </a:extLst>
              </p:cNvPr>
              <p:cNvSpPr/>
              <p:nvPr/>
            </p:nvSpPr>
            <p:spPr>
              <a:xfrm rot="10800000">
                <a:off x="277079" y="786887"/>
                <a:ext cx="701177" cy="368477"/>
              </a:xfrm>
              <a:custGeom>
                <a:avLst/>
                <a:gdLst>
                  <a:gd name="connsiteX0" fmla="*/ 1761142 w 1773228"/>
                  <a:gd name="connsiteY0" fmla="*/ 244684 h 931853"/>
                  <a:gd name="connsiteX1" fmla="*/ 1741977 w 1773228"/>
                  <a:gd name="connsiteY1" fmla="*/ 256319 h 931853"/>
                  <a:gd name="connsiteX2" fmla="*/ 721490 w 1773228"/>
                  <a:gd name="connsiteY2" fmla="*/ 875388 h 931853"/>
                  <a:gd name="connsiteX3" fmla="*/ 80521 w 1773228"/>
                  <a:gd name="connsiteY3" fmla="*/ 119775 h 931853"/>
                  <a:gd name="connsiteX4" fmla="*/ 121245 w 1773228"/>
                  <a:gd name="connsiteY4" fmla="*/ 75972 h 931853"/>
                  <a:gd name="connsiteX5" fmla="*/ 76072 w 1773228"/>
                  <a:gd name="connsiteY5" fmla="*/ 1711 h 931853"/>
                  <a:gd name="connsiteX6" fmla="*/ 61357 w 1773228"/>
                  <a:gd name="connsiteY6" fmla="*/ 0 h 931853"/>
                  <a:gd name="connsiteX7" fmla="*/ 1811 w 1773228"/>
                  <a:gd name="connsiteY7" fmla="*/ 46884 h 931853"/>
                  <a:gd name="connsiteX8" fmla="*/ 46984 w 1773228"/>
                  <a:gd name="connsiteY8" fmla="*/ 121144 h 931853"/>
                  <a:gd name="connsiteX9" fmla="*/ 48695 w 1773228"/>
                  <a:gd name="connsiteY9" fmla="*/ 121487 h 931853"/>
                  <a:gd name="connsiteX10" fmla="*/ 108925 w 1773228"/>
                  <a:gd name="connsiteY10" fmla="*/ 380886 h 931853"/>
                  <a:gd name="connsiteX11" fmla="*/ 247522 w 1773228"/>
                  <a:gd name="connsiteY11" fmla="*/ 614277 h 931853"/>
                  <a:gd name="connsiteX12" fmla="*/ 713962 w 1773228"/>
                  <a:gd name="connsiteY12" fmla="*/ 906529 h 931853"/>
                  <a:gd name="connsiteX13" fmla="*/ 922713 w 1773228"/>
                  <a:gd name="connsiteY13" fmla="*/ 931853 h 931853"/>
                  <a:gd name="connsiteX14" fmla="*/ 1061311 w 1773228"/>
                  <a:gd name="connsiteY14" fmla="*/ 920560 h 931853"/>
                  <a:gd name="connsiteX15" fmla="*/ 1376492 w 1773228"/>
                  <a:gd name="connsiteY15" fmla="*/ 804549 h 931853"/>
                  <a:gd name="connsiteX16" fmla="*/ 1624940 w 1773228"/>
                  <a:gd name="connsiteY16" fmla="*/ 578687 h 931853"/>
                  <a:gd name="connsiteX17" fmla="*/ 1772777 w 1773228"/>
                  <a:gd name="connsiteY17" fmla="*/ 263848 h 931853"/>
                  <a:gd name="connsiteX18" fmla="*/ 1761142 w 1773228"/>
                  <a:gd name="connsiteY18" fmla="*/ 244684 h 931853"/>
                  <a:gd name="connsiteX19" fmla="*/ 32610 w 1773228"/>
                  <a:gd name="connsiteY19" fmla="*/ 54412 h 931853"/>
                  <a:gd name="connsiteX20" fmla="*/ 61357 w 1773228"/>
                  <a:gd name="connsiteY20" fmla="*/ 31826 h 931853"/>
                  <a:gd name="connsiteX21" fmla="*/ 68543 w 1773228"/>
                  <a:gd name="connsiteY21" fmla="*/ 32853 h 931853"/>
                  <a:gd name="connsiteX22" fmla="*/ 90103 w 1773228"/>
                  <a:gd name="connsiteY22" fmla="*/ 68443 h 931853"/>
                  <a:gd name="connsiteX23" fmla="*/ 61357 w 1773228"/>
                  <a:gd name="connsiteY23" fmla="*/ 91029 h 931853"/>
                  <a:gd name="connsiteX24" fmla="*/ 54170 w 1773228"/>
                  <a:gd name="connsiteY24" fmla="*/ 90003 h 931853"/>
                  <a:gd name="connsiteX25" fmla="*/ 32610 w 1773228"/>
                  <a:gd name="connsiteY25" fmla="*/ 54412 h 931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773228" h="931853">
                    <a:moveTo>
                      <a:pt x="1761142" y="244684"/>
                    </a:moveTo>
                    <a:cubicBezTo>
                      <a:pt x="1752586" y="242631"/>
                      <a:pt x="1744031" y="247764"/>
                      <a:pt x="1741977" y="256319"/>
                    </a:cubicBezTo>
                    <a:cubicBezTo>
                      <a:pt x="1631442" y="708386"/>
                      <a:pt x="1173558" y="986265"/>
                      <a:pt x="721490" y="875388"/>
                    </a:cubicBezTo>
                    <a:cubicBezTo>
                      <a:pt x="364559" y="788123"/>
                      <a:pt x="108240" y="484920"/>
                      <a:pt x="80521" y="119775"/>
                    </a:cubicBezTo>
                    <a:cubicBezTo>
                      <a:pt x="100369" y="113273"/>
                      <a:pt x="116111" y="97189"/>
                      <a:pt x="121245" y="75972"/>
                    </a:cubicBezTo>
                    <a:cubicBezTo>
                      <a:pt x="129458" y="43119"/>
                      <a:pt x="108925" y="9924"/>
                      <a:pt x="76072" y="1711"/>
                    </a:cubicBezTo>
                    <a:cubicBezTo>
                      <a:pt x="71281" y="684"/>
                      <a:pt x="66490" y="0"/>
                      <a:pt x="61357" y="0"/>
                    </a:cubicBezTo>
                    <a:cubicBezTo>
                      <a:pt x="32953" y="0"/>
                      <a:pt x="8314" y="19164"/>
                      <a:pt x="1811" y="46884"/>
                    </a:cubicBezTo>
                    <a:cubicBezTo>
                      <a:pt x="-6402" y="79736"/>
                      <a:pt x="14131" y="112931"/>
                      <a:pt x="46984" y="121144"/>
                    </a:cubicBezTo>
                    <a:cubicBezTo>
                      <a:pt x="47668" y="121144"/>
                      <a:pt x="48010" y="121487"/>
                      <a:pt x="48695" y="121487"/>
                    </a:cubicBezTo>
                    <a:cubicBezTo>
                      <a:pt x="55539" y="210463"/>
                      <a:pt x="75730" y="297728"/>
                      <a:pt x="108925" y="380886"/>
                    </a:cubicBezTo>
                    <a:cubicBezTo>
                      <a:pt x="142804" y="465413"/>
                      <a:pt x="189345" y="544123"/>
                      <a:pt x="247522" y="614277"/>
                    </a:cubicBezTo>
                    <a:cubicBezTo>
                      <a:pt x="368324" y="760403"/>
                      <a:pt x="529508" y="861357"/>
                      <a:pt x="713962" y="906529"/>
                    </a:cubicBezTo>
                    <a:cubicBezTo>
                      <a:pt x="783089" y="923298"/>
                      <a:pt x="852902" y="931853"/>
                      <a:pt x="922713" y="931853"/>
                    </a:cubicBezTo>
                    <a:cubicBezTo>
                      <a:pt x="968912" y="931853"/>
                      <a:pt x="1015454" y="928089"/>
                      <a:pt x="1061311" y="920560"/>
                    </a:cubicBezTo>
                    <a:cubicBezTo>
                      <a:pt x="1173215" y="902422"/>
                      <a:pt x="1278960" y="863410"/>
                      <a:pt x="1376492" y="804549"/>
                    </a:cubicBezTo>
                    <a:cubicBezTo>
                      <a:pt x="1473680" y="745688"/>
                      <a:pt x="1557523" y="669716"/>
                      <a:pt x="1624940" y="578687"/>
                    </a:cubicBezTo>
                    <a:cubicBezTo>
                      <a:pt x="1695094" y="484577"/>
                      <a:pt x="1744715" y="378833"/>
                      <a:pt x="1772777" y="263848"/>
                    </a:cubicBezTo>
                    <a:cubicBezTo>
                      <a:pt x="1774830" y="255293"/>
                      <a:pt x="1769697" y="246737"/>
                      <a:pt x="1761142" y="244684"/>
                    </a:cubicBezTo>
                    <a:close/>
                    <a:moveTo>
                      <a:pt x="32610" y="54412"/>
                    </a:moveTo>
                    <a:cubicBezTo>
                      <a:pt x="36032" y="41066"/>
                      <a:pt x="47668" y="31826"/>
                      <a:pt x="61357" y="31826"/>
                    </a:cubicBezTo>
                    <a:cubicBezTo>
                      <a:pt x="63752" y="31826"/>
                      <a:pt x="66148" y="32168"/>
                      <a:pt x="68543" y="32853"/>
                    </a:cubicBezTo>
                    <a:cubicBezTo>
                      <a:pt x="84285" y="36617"/>
                      <a:pt x="94209" y="52701"/>
                      <a:pt x="90103" y="68443"/>
                    </a:cubicBezTo>
                    <a:cubicBezTo>
                      <a:pt x="86681" y="81790"/>
                      <a:pt x="75046" y="91029"/>
                      <a:pt x="61357" y="91029"/>
                    </a:cubicBezTo>
                    <a:cubicBezTo>
                      <a:pt x="58962" y="91029"/>
                      <a:pt x="56565" y="90687"/>
                      <a:pt x="54170" y="90003"/>
                    </a:cubicBezTo>
                    <a:cubicBezTo>
                      <a:pt x="38429" y="86238"/>
                      <a:pt x="28846" y="70154"/>
                      <a:pt x="32610" y="54412"/>
                    </a:cubicBezTo>
                    <a:close/>
                  </a:path>
                </a:pathLst>
              </a:custGeom>
              <a:solidFill>
                <a:schemeClr val="tx2"/>
              </a:solidFill>
              <a:ln w="34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y-AM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86FF68C6-F781-356D-CD51-7D6A16C2AD6D}"/>
                  </a:ext>
                </a:extLst>
              </p:cNvPr>
              <p:cNvSpPr/>
              <p:nvPr/>
            </p:nvSpPr>
            <p:spPr>
              <a:xfrm rot="10800000">
                <a:off x="248524" y="1105699"/>
                <a:ext cx="701861" cy="374047"/>
              </a:xfrm>
              <a:custGeom>
                <a:avLst/>
                <a:gdLst>
                  <a:gd name="connsiteX0" fmla="*/ 1727955 w 1774958"/>
                  <a:gd name="connsiteY0" fmla="*/ 825137 h 945939"/>
                  <a:gd name="connsiteX1" fmla="*/ 1725903 w 1774958"/>
                  <a:gd name="connsiteY1" fmla="*/ 824795 h 945939"/>
                  <a:gd name="connsiteX2" fmla="*/ 1669437 w 1774958"/>
                  <a:gd name="connsiteY2" fmla="*/ 563000 h 945939"/>
                  <a:gd name="connsiteX3" fmla="*/ 1531524 w 1774958"/>
                  <a:gd name="connsiteY3" fmla="*/ 324134 h 945939"/>
                  <a:gd name="connsiteX4" fmla="*/ 1324484 w 1774958"/>
                  <a:gd name="connsiteY4" fmla="*/ 138653 h 945939"/>
                  <a:gd name="connsiteX5" fmla="*/ 1059609 w 1774958"/>
                  <a:gd name="connsiteY5" fmla="*/ 25379 h 945939"/>
                  <a:gd name="connsiteX6" fmla="*/ 711918 w 1774958"/>
                  <a:gd name="connsiteY6" fmla="*/ 11006 h 945939"/>
                  <a:gd name="connsiteX7" fmla="*/ 396737 w 1774958"/>
                  <a:gd name="connsiteY7" fmla="*/ 127017 h 945939"/>
                  <a:gd name="connsiteX8" fmla="*/ 148289 w 1774958"/>
                  <a:gd name="connsiteY8" fmla="*/ 352880 h 945939"/>
                  <a:gd name="connsiteX9" fmla="*/ 452 w 1774958"/>
                  <a:gd name="connsiteY9" fmla="*/ 667718 h 945939"/>
                  <a:gd name="connsiteX10" fmla="*/ 12087 w 1774958"/>
                  <a:gd name="connsiteY10" fmla="*/ 686882 h 945939"/>
                  <a:gd name="connsiteX11" fmla="*/ 15851 w 1774958"/>
                  <a:gd name="connsiteY11" fmla="*/ 687224 h 945939"/>
                  <a:gd name="connsiteX12" fmla="*/ 31251 w 1774958"/>
                  <a:gd name="connsiteY12" fmla="*/ 675247 h 945939"/>
                  <a:gd name="connsiteX13" fmla="*/ 1052080 w 1774958"/>
                  <a:gd name="connsiteY13" fmla="*/ 55837 h 945939"/>
                  <a:gd name="connsiteX14" fmla="*/ 1694076 w 1774958"/>
                  <a:gd name="connsiteY14" fmla="*/ 826164 h 945939"/>
                  <a:gd name="connsiteX15" fmla="*/ 1653695 w 1774958"/>
                  <a:gd name="connsiteY15" fmla="*/ 869967 h 945939"/>
                  <a:gd name="connsiteX16" fmla="*/ 1698867 w 1774958"/>
                  <a:gd name="connsiteY16" fmla="*/ 944228 h 945939"/>
                  <a:gd name="connsiteX17" fmla="*/ 1713582 w 1774958"/>
                  <a:gd name="connsiteY17" fmla="*/ 945939 h 945939"/>
                  <a:gd name="connsiteX18" fmla="*/ 1773128 w 1774958"/>
                  <a:gd name="connsiteY18" fmla="*/ 899056 h 945939"/>
                  <a:gd name="connsiteX19" fmla="*/ 1727955 w 1774958"/>
                  <a:gd name="connsiteY19" fmla="*/ 825137 h 945939"/>
                  <a:gd name="connsiteX20" fmla="*/ 1742329 w 1774958"/>
                  <a:gd name="connsiteY20" fmla="*/ 891869 h 945939"/>
                  <a:gd name="connsiteX21" fmla="*/ 1713582 w 1774958"/>
                  <a:gd name="connsiteY21" fmla="*/ 914455 h 945939"/>
                  <a:gd name="connsiteX22" fmla="*/ 1706396 w 1774958"/>
                  <a:gd name="connsiteY22" fmla="*/ 913429 h 945939"/>
                  <a:gd name="connsiteX23" fmla="*/ 1684837 w 1774958"/>
                  <a:gd name="connsiteY23" fmla="*/ 877838 h 945939"/>
                  <a:gd name="connsiteX24" fmla="*/ 1713582 w 1774958"/>
                  <a:gd name="connsiteY24" fmla="*/ 855252 h 945939"/>
                  <a:gd name="connsiteX25" fmla="*/ 1720769 w 1774958"/>
                  <a:gd name="connsiteY25" fmla="*/ 856279 h 945939"/>
                  <a:gd name="connsiteX26" fmla="*/ 1742329 w 1774958"/>
                  <a:gd name="connsiteY26" fmla="*/ 891869 h 945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774958" h="945939">
                    <a:moveTo>
                      <a:pt x="1727955" y="825137"/>
                    </a:moveTo>
                    <a:cubicBezTo>
                      <a:pt x="1727271" y="825137"/>
                      <a:pt x="1726587" y="824795"/>
                      <a:pt x="1725903" y="824795"/>
                    </a:cubicBezTo>
                    <a:cubicBezTo>
                      <a:pt x="1720769" y="735134"/>
                      <a:pt x="1701605" y="647185"/>
                      <a:pt x="1669437" y="563000"/>
                    </a:cubicBezTo>
                    <a:cubicBezTo>
                      <a:pt x="1636242" y="476419"/>
                      <a:pt x="1590043" y="396341"/>
                      <a:pt x="1531524" y="324134"/>
                    </a:cubicBezTo>
                    <a:cubicBezTo>
                      <a:pt x="1472663" y="251242"/>
                      <a:pt x="1402851" y="188958"/>
                      <a:pt x="1324484" y="138653"/>
                    </a:cubicBezTo>
                    <a:cubicBezTo>
                      <a:pt x="1243379" y="86636"/>
                      <a:pt x="1154060" y="48308"/>
                      <a:pt x="1059609" y="25379"/>
                    </a:cubicBezTo>
                    <a:cubicBezTo>
                      <a:pt x="944624" y="-2682"/>
                      <a:pt x="827928" y="-7473"/>
                      <a:pt x="711918" y="11006"/>
                    </a:cubicBezTo>
                    <a:cubicBezTo>
                      <a:pt x="600013" y="29144"/>
                      <a:pt x="494268" y="68156"/>
                      <a:pt x="396737" y="127017"/>
                    </a:cubicBezTo>
                    <a:cubicBezTo>
                      <a:pt x="299205" y="185878"/>
                      <a:pt x="215705" y="261850"/>
                      <a:pt x="148289" y="352880"/>
                    </a:cubicBezTo>
                    <a:cubicBezTo>
                      <a:pt x="78135" y="446989"/>
                      <a:pt x="28513" y="552734"/>
                      <a:pt x="452" y="667718"/>
                    </a:cubicBezTo>
                    <a:cubicBezTo>
                      <a:pt x="-1602" y="676273"/>
                      <a:pt x="3531" y="684829"/>
                      <a:pt x="12087" y="686882"/>
                    </a:cubicBezTo>
                    <a:cubicBezTo>
                      <a:pt x="13455" y="687224"/>
                      <a:pt x="14482" y="687224"/>
                      <a:pt x="15851" y="687224"/>
                    </a:cubicBezTo>
                    <a:cubicBezTo>
                      <a:pt x="23037" y="687224"/>
                      <a:pt x="29540" y="682433"/>
                      <a:pt x="31251" y="675247"/>
                    </a:cubicBezTo>
                    <a:cubicBezTo>
                      <a:pt x="142471" y="223180"/>
                      <a:pt x="600013" y="-54699"/>
                      <a:pt x="1052080" y="55837"/>
                    </a:cubicBezTo>
                    <a:cubicBezTo>
                      <a:pt x="1410037" y="143444"/>
                      <a:pt x="1672859" y="459309"/>
                      <a:pt x="1694076" y="826164"/>
                    </a:cubicBezTo>
                    <a:cubicBezTo>
                      <a:pt x="1674228" y="832666"/>
                      <a:pt x="1658828" y="848750"/>
                      <a:pt x="1653695" y="869967"/>
                    </a:cubicBezTo>
                    <a:cubicBezTo>
                      <a:pt x="1645482" y="902820"/>
                      <a:pt x="1666015" y="936015"/>
                      <a:pt x="1698867" y="944228"/>
                    </a:cubicBezTo>
                    <a:cubicBezTo>
                      <a:pt x="1703659" y="945255"/>
                      <a:pt x="1708449" y="945939"/>
                      <a:pt x="1713582" y="945939"/>
                    </a:cubicBezTo>
                    <a:cubicBezTo>
                      <a:pt x="1741987" y="945939"/>
                      <a:pt x="1766626" y="926775"/>
                      <a:pt x="1773128" y="899056"/>
                    </a:cubicBezTo>
                    <a:cubicBezTo>
                      <a:pt x="1781341" y="866545"/>
                      <a:pt x="1761151" y="833008"/>
                      <a:pt x="1727955" y="825137"/>
                    </a:cubicBezTo>
                    <a:close/>
                    <a:moveTo>
                      <a:pt x="1742329" y="891869"/>
                    </a:moveTo>
                    <a:cubicBezTo>
                      <a:pt x="1738907" y="905216"/>
                      <a:pt x="1727271" y="914455"/>
                      <a:pt x="1713582" y="914455"/>
                    </a:cubicBezTo>
                    <a:cubicBezTo>
                      <a:pt x="1711187" y="914455"/>
                      <a:pt x="1708792" y="914113"/>
                      <a:pt x="1706396" y="913429"/>
                    </a:cubicBezTo>
                    <a:cubicBezTo>
                      <a:pt x="1690654" y="909664"/>
                      <a:pt x="1680730" y="893580"/>
                      <a:pt x="1684837" y="877838"/>
                    </a:cubicBezTo>
                    <a:cubicBezTo>
                      <a:pt x="1688259" y="864492"/>
                      <a:pt x="1699894" y="855252"/>
                      <a:pt x="1713582" y="855252"/>
                    </a:cubicBezTo>
                    <a:cubicBezTo>
                      <a:pt x="1715978" y="855252"/>
                      <a:pt x="1718374" y="855594"/>
                      <a:pt x="1720769" y="856279"/>
                    </a:cubicBezTo>
                    <a:cubicBezTo>
                      <a:pt x="1736511" y="860043"/>
                      <a:pt x="1746093" y="875785"/>
                      <a:pt x="1742329" y="891869"/>
                    </a:cubicBezTo>
                    <a:close/>
                  </a:path>
                </a:pathLst>
              </a:custGeom>
              <a:solidFill>
                <a:schemeClr val="tx2"/>
              </a:solidFill>
              <a:ln w="34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y-AM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pic>
          <p:nvPicPr>
            <p:cNvPr id="208" name="Picture 2">
              <a:extLst>
                <a:ext uri="{FF2B5EF4-FFF2-40B4-BE49-F238E27FC236}">
                  <a16:creationId xmlns:a16="http://schemas.microsoft.com/office/drawing/2014/main" id="{34398644-064A-DBEA-7E15-A44E7AD7F6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909" y="2722252"/>
              <a:ext cx="548640" cy="5311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864FE70-DA90-FF86-765A-774904E9C7E5}"/>
              </a:ext>
            </a:extLst>
          </p:cNvPr>
          <p:cNvCxnSpPr/>
          <p:nvPr/>
        </p:nvCxnSpPr>
        <p:spPr>
          <a:xfrm>
            <a:off x="671906" y="2634195"/>
            <a:ext cx="10955709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EDDA491-44D0-8E93-22DC-3D7F78FE10C0}"/>
              </a:ext>
            </a:extLst>
          </p:cNvPr>
          <p:cNvCxnSpPr/>
          <p:nvPr/>
        </p:nvCxnSpPr>
        <p:spPr>
          <a:xfrm>
            <a:off x="676500" y="4180511"/>
            <a:ext cx="10955709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B22FC561-F3F3-8123-4A0D-5197A6BE3938}"/>
              </a:ext>
            </a:extLst>
          </p:cNvPr>
          <p:cNvSpPr txBox="1">
            <a:spLocks/>
          </p:cNvSpPr>
          <p:nvPr/>
        </p:nvSpPr>
        <p:spPr>
          <a:xfrm>
            <a:off x="4297630" y="2051395"/>
            <a:ext cx="3586644" cy="5539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Healthcare services leader preparing a major acquisition needed support to </a:t>
            </a:r>
            <a:r>
              <a:rPr lang="en-US" sz="1200" b="1" dirty="0">
                <a:solidFill>
                  <a:schemeClr val="tx2"/>
                </a:solidFill>
              </a:rPr>
              <a:t>establish an IMO</a:t>
            </a:r>
            <a:r>
              <a:rPr lang="en-US" sz="1200" dirty="0"/>
              <a:t> for </a:t>
            </a:r>
            <a:r>
              <a:rPr lang="en-US" sz="1200" b="1" dirty="0">
                <a:solidFill>
                  <a:schemeClr val="tx2"/>
                </a:solidFill>
              </a:rPr>
              <a:t>pre-merger planning </a:t>
            </a:r>
            <a:r>
              <a:rPr lang="en-US" sz="1200" dirty="0"/>
              <a:t>and </a:t>
            </a:r>
            <a:r>
              <a:rPr lang="en-US" sz="1200" b="1" dirty="0">
                <a:solidFill>
                  <a:schemeClr val="tx2"/>
                </a:solidFill>
              </a:rPr>
              <a:t>PMI execution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E2DAF6D-AF9E-C11C-5BFF-643EEA9FA341}"/>
              </a:ext>
            </a:extLst>
          </p:cNvPr>
          <p:cNvSpPr txBox="1">
            <a:spLocks/>
          </p:cNvSpPr>
          <p:nvPr/>
        </p:nvSpPr>
        <p:spPr>
          <a:xfrm>
            <a:off x="4351930" y="4284484"/>
            <a:ext cx="3586644" cy="18158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0" indent="-17145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IMO Setup:</a:t>
            </a:r>
            <a:r>
              <a:rPr lang="en-US" altLang="en-US" sz="1200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en-US" altLang="en-US" sz="1200" dirty="0">
                <a:latin typeface="Arial" panose="020B0604020202020204" pitchFamily="34" charset="0"/>
              </a:rPr>
              <a:t>Partnered with ELT to stand up the IMO and roll out standardized planning / reporting across 5 areas and 8+ functions</a:t>
            </a:r>
          </a:p>
          <a:p>
            <a:pPr marL="171450" lvl="0" indent="-17145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PMO Leadership:</a:t>
            </a:r>
            <a:r>
              <a:rPr lang="en-US" altLang="en-US" sz="1200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en-US" altLang="en-US" sz="1200" dirty="0">
                <a:latin typeface="Arial" panose="020B0604020202020204" pitchFamily="34" charset="0"/>
              </a:rPr>
              <a:t>Led pre-merger and early PMI cadence, addressing resourcing gaps and resolving key functional issues</a:t>
            </a:r>
          </a:p>
          <a:p>
            <a:pPr marL="171450" lvl="0" indent="-17145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Execution Outcomes:</a:t>
            </a:r>
            <a:r>
              <a:rPr lang="en-US" altLang="en-US" sz="1200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en-US" altLang="en-US" sz="1200" dirty="0">
                <a:latin typeface="Arial" panose="020B0604020202020204" pitchFamily="34" charset="0"/>
              </a:rPr>
              <a:t>Merger completed ahead of schedule with a fully trained IMO in place to manage remaining integration</a:t>
            </a:r>
          </a:p>
        </p:txBody>
      </p:sp>
      <p:pic>
        <p:nvPicPr>
          <p:cNvPr id="47" name="Picture 4">
            <a:extLst>
              <a:ext uri="{FF2B5EF4-FFF2-40B4-BE49-F238E27FC236}">
                <a16:creationId xmlns:a16="http://schemas.microsoft.com/office/drawing/2014/main" id="{F89617FA-6177-366E-60D0-DDC004CEF3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/>
          <a:srcRect l="231" t="35962" r="-231" b="18456"/>
          <a:stretch>
            <a:fillRect/>
          </a:stretch>
        </p:blipFill>
        <p:spPr bwMode="auto">
          <a:xfrm>
            <a:off x="4417881" y="1383373"/>
            <a:ext cx="3395836" cy="59436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DACF2D16-AAB2-4B04-F792-F9A10C11CE90}"/>
              </a:ext>
            </a:extLst>
          </p:cNvPr>
          <p:cNvSpPr/>
          <p:nvPr/>
        </p:nvSpPr>
        <p:spPr bwMode="auto">
          <a:xfrm>
            <a:off x="6039620" y="3318028"/>
            <a:ext cx="841008" cy="27482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000" b="1" dirty="0">
                <a:solidFill>
                  <a:schemeClr val="tx2"/>
                </a:solidFill>
              </a:rPr>
              <a:t>IMO</a:t>
            </a: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D3EF8C28-5A70-F4E6-464A-C9713C2FFCF5}"/>
              </a:ext>
            </a:extLst>
          </p:cNvPr>
          <p:cNvSpPr/>
          <p:nvPr/>
        </p:nvSpPr>
        <p:spPr bwMode="auto">
          <a:xfrm>
            <a:off x="4659302" y="3325748"/>
            <a:ext cx="1264873" cy="27482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000" b="1" dirty="0">
                <a:solidFill>
                  <a:schemeClr val="tx2"/>
                </a:solidFill>
              </a:rPr>
              <a:t>Former McKinsey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9A83CB3-E239-75D1-9DE4-4DACBF87007E}"/>
              </a:ext>
            </a:extLst>
          </p:cNvPr>
          <p:cNvSpPr txBox="1"/>
          <p:nvPr/>
        </p:nvSpPr>
        <p:spPr>
          <a:xfrm>
            <a:off x="4803578" y="3482022"/>
            <a:ext cx="1561636" cy="85376"/>
          </a:xfrm>
          <a:prstGeom prst="rect">
            <a:avLst/>
          </a:prstGeom>
        </p:spPr>
        <p:txBody>
          <a:bodyPr wrap="square" lIns="0" rIns="0" rtlCol="0">
            <a:noAutofit/>
          </a:bodyPr>
          <a:lstStyle/>
          <a:p>
            <a:pPr algn="l"/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32E2302-8392-101C-2439-FC57BB549A35}"/>
              </a:ext>
            </a:extLst>
          </p:cNvPr>
          <p:cNvSpPr txBox="1"/>
          <p:nvPr/>
        </p:nvSpPr>
        <p:spPr>
          <a:xfrm>
            <a:off x="5322472" y="2806069"/>
            <a:ext cx="2441051" cy="380788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l"/>
            <a:r>
              <a:rPr lang="en-US" sz="1100" b="1" dirty="0">
                <a:solidFill>
                  <a:schemeClr val="tx2"/>
                </a:solidFill>
              </a:rPr>
              <a:t>PMI Support &amp; Execution Team</a:t>
            </a:r>
          </a:p>
          <a:p>
            <a:pPr algn="l"/>
            <a:r>
              <a:rPr lang="en-US" sz="1000" b="1" dirty="0">
                <a:solidFill>
                  <a:schemeClr val="tx2"/>
                </a:solidFill>
              </a:rPr>
              <a:t>2 consultants</a:t>
            </a:r>
            <a:endParaRPr lang="en-US" sz="1100" b="1" dirty="0">
              <a:solidFill>
                <a:schemeClr val="tx2"/>
              </a:solidFill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613A46CF-17B2-C5BA-9ABB-48AE3DA3ED2A}"/>
              </a:ext>
            </a:extLst>
          </p:cNvPr>
          <p:cNvSpPr/>
          <p:nvPr/>
        </p:nvSpPr>
        <p:spPr bwMode="auto">
          <a:xfrm>
            <a:off x="6243981" y="3648514"/>
            <a:ext cx="1440735" cy="27482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000" b="1" dirty="0">
                <a:solidFill>
                  <a:schemeClr val="tx2"/>
                </a:solidFill>
              </a:rPr>
              <a:t>Post-Close Executio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EAE716D-599C-8AF9-77CE-693F08C573EB}"/>
              </a:ext>
            </a:extLst>
          </p:cNvPr>
          <p:cNvSpPr txBox="1"/>
          <p:nvPr/>
        </p:nvSpPr>
        <p:spPr>
          <a:xfrm>
            <a:off x="5780360" y="3671386"/>
            <a:ext cx="1788204" cy="74180"/>
          </a:xfrm>
          <a:prstGeom prst="rect">
            <a:avLst/>
          </a:prstGeom>
        </p:spPr>
        <p:txBody>
          <a:bodyPr wrap="square" lIns="0" rIns="0" rtlCol="0">
            <a:noAutofit/>
          </a:bodyPr>
          <a:lstStyle/>
          <a:p>
            <a:pPr algn="l"/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53D57D6-AC80-62B7-9CC2-FC95BCA5C61C}"/>
              </a:ext>
            </a:extLst>
          </p:cNvPr>
          <p:cNvSpPr txBox="1"/>
          <p:nvPr/>
        </p:nvSpPr>
        <p:spPr>
          <a:xfrm>
            <a:off x="4772619" y="3671386"/>
            <a:ext cx="1788202" cy="74180"/>
          </a:xfrm>
          <a:prstGeom prst="rect">
            <a:avLst/>
          </a:prstGeom>
        </p:spPr>
        <p:txBody>
          <a:bodyPr wrap="square" lIns="0" rIns="0" rtlCol="0">
            <a:noAutofit/>
          </a:bodyPr>
          <a:lstStyle/>
          <a:p>
            <a:pPr algn="l"/>
            <a:endParaRPr lang="en-US" sz="1000" b="1" dirty="0">
              <a:solidFill>
                <a:schemeClr val="tx2"/>
              </a:solidFill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C13B51C3-2BC0-7D34-A4B6-6CBC29746E99}"/>
              </a:ext>
            </a:extLst>
          </p:cNvPr>
          <p:cNvGrpSpPr/>
          <p:nvPr/>
        </p:nvGrpSpPr>
        <p:grpSpPr>
          <a:xfrm>
            <a:off x="4516067" y="2731474"/>
            <a:ext cx="4317579" cy="548640"/>
            <a:chOff x="4632793" y="2739000"/>
            <a:chExt cx="4317579" cy="548640"/>
          </a:xfrm>
        </p:grpSpPr>
        <p:pic>
          <p:nvPicPr>
            <p:cNvPr id="52" name="Picture 4">
              <a:extLst>
                <a:ext uri="{FF2B5EF4-FFF2-40B4-BE49-F238E27FC236}">
                  <a16:creationId xmlns:a16="http://schemas.microsoft.com/office/drawing/2014/main" id="{1BD7F97D-B40E-B1B4-230C-AEB5FC54D1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2793" y="2739000"/>
              <a:ext cx="548640" cy="548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EBB5FF64-55F7-8883-2E30-61A805B0B7B7}"/>
                </a:ext>
              </a:extLst>
            </p:cNvPr>
            <p:cNvGrpSpPr/>
            <p:nvPr/>
          </p:nvGrpSpPr>
          <p:grpSpPr>
            <a:xfrm>
              <a:off x="4634579" y="2753670"/>
              <a:ext cx="4315793" cy="513641"/>
              <a:chOff x="248524" y="780398"/>
              <a:chExt cx="5740338" cy="699348"/>
            </a:xfrm>
          </p:grpSpPr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55C05813-039D-F8B7-1C65-74F02885100B}"/>
                  </a:ext>
                </a:extLst>
              </p:cNvPr>
              <p:cNvSpPr/>
              <p:nvPr/>
            </p:nvSpPr>
            <p:spPr>
              <a:xfrm rot="10800000">
                <a:off x="277079" y="786886"/>
                <a:ext cx="701178" cy="368477"/>
              </a:xfrm>
              <a:custGeom>
                <a:avLst/>
                <a:gdLst>
                  <a:gd name="connsiteX0" fmla="*/ 1761142 w 1773228"/>
                  <a:gd name="connsiteY0" fmla="*/ 244684 h 931853"/>
                  <a:gd name="connsiteX1" fmla="*/ 1741977 w 1773228"/>
                  <a:gd name="connsiteY1" fmla="*/ 256319 h 931853"/>
                  <a:gd name="connsiteX2" fmla="*/ 721490 w 1773228"/>
                  <a:gd name="connsiteY2" fmla="*/ 875388 h 931853"/>
                  <a:gd name="connsiteX3" fmla="*/ 80521 w 1773228"/>
                  <a:gd name="connsiteY3" fmla="*/ 119775 h 931853"/>
                  <a:gd name="connsiteX4" fmla="*/ 121245 w 1773228"/>
                  <a:gd name="connsiteY4" fmla="*/ 75972 h 931853"/>
                  <a:gd name="connsiteX5" fmla="*/ 76072 w 1773228"/>
                  <a:gd name="connsiteY5" fmla="*/ 1711 h 931853"/>
                  <a:gd name="connsiteX6" fmla="*/ 61357 w 1773228"/>
                  <a:gd name="connsiteY6" fmla="*/ 0 h 931853"/>
                  <a:gd name="connsiteX7" fmla="*/ 1811 w 1773228"/>
                  <a:gd name="connsiteY7" fmla="*/ 46884 h 931853"/>
                  <a:gd name="connsiteX8" fmla="*/ 46984 w 1773228"/>
                  <a:gd name="connsiteY8" fmla="*/ 121144 h 931853"/>
                  <a:gd name="connsiteX9" fmla="*/ 48695 w 1773228"/>
                  <a:gd name="connsiteY9" fmla="*/ 121487 h 931853"/>
                  <a:gd name="connsiteX10" fmla="*/ 108925 w 1773228"/>
                  <a:gd name="connsiteY10" fmla="*/ 380886 h 931853"/>
                  <a:gd name="connsiteX11" fmla="*/ 247522 w 1773228"/>
                  <a:gd name="connsiteY11" fmla="*/ 614277 h 931853"/>
                  <a:gd name="connsiteX12" fmla="*/ 713962 w 1773228"/>
                  <a:gd name="connsiteY12" fmla="*/ 906529 h 931853"/>
                  <a:gd name="connsiteX13" fmla="*/ 922713 w 1773228"/>
                  <a:gd name="connsiteY13" fmla="*/ 931853 h 931853"/>
                  <a:gd name="connsiteX14" fmla="*/ 1061311 w 1773228"/>
                  <a:gd name="connsiteY14" fmla="*/ 920560 h 931853"/>
                  <a:gd name="connsiteX15" fmla="*/ 1376492 w 1773228"/>
                  <a:gd name="connsiteY15" fmla="*/ 804549 h 931853"/>
                  <a:gd name="connsiteX16" fmla="*/ 1624940 w 1773228"/>
                  <a:gd name="connsiteY16" fmla="*/ 578687 h 931853"/>
                  <a:gd name="connsiteX17" fmla="*/ 1772777 w 1773228"/>
                  <a:gd name="connsiteY17" fmla="*/ 263848 h 931853"/>
                  <a:gd name="connsiteX18" fmla="*/ 1761142 w 1773228"/>
                  <a:gd name="connsiteY18" fmla="*/ 244684 h 931853"/>
                  <a:gd name="connsiteX19" fmla="*/ 32610 w 1773228"/>
                  <a:gd name="connsiteY19" fmla="*/ 54412 h 931853"/>
                  <a:gd name="connsiteX20" fmla="*/ 61357 w 1773228"/>
                  <a:gd name="connsiteY20" fmla="*/ 31826 h 931853"/>
                  <a:gd name="connsiteX21" fmla="*/ 68543 w 1773228"/>
                  <a:gd name="connsiteY21" fmla="*/ 32853 h 931853"/>
                  <a:gd name="connsiteX22" fmla="*/ 90103 w 1773228"/>
                  <a:gd name="connsiteY22" fmla="*/ 68443 h 931853"/>
                  <a:gd name="connsiteX23" fmla="*/ 61357 w 1773228"/>
                  <a:gd name="connsiteY23" fmla="*/ 91029 h 931853"/>
                  <a:gd name="connsiteX24" fmla="*/ 54170 w 1773228"/>
                  <a:gd name="connsiteY24" fmla="*/ 90003 h 931853"/>
                  <a:gd name="connsiteX25" fmla="*/ 32610 w 1773228"/>
                  <a:gd name="connsiteY25" fmla="*/ 54412 h 931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773228" h="931853">
                    <a:moveTo>
                      <a:pt x="1761142" y="244684"/>
                    </a:moveTo>
                    <a:cubicBezTo>
                      <a:pt x="1752586" y="242631"/>
                      <a:pt x="1744031" y="247764"/>
                      <a:pt x="1741977" y="256319"/>
                    </a:cubicBezTo>
                    <a:cubicBezTo>
                      <a:pt x="1631442" y="708386"/>
                      <a:pt x="1173558" y="986265"/>
                      <a:pt x="721490" y="875388"/>
                    </a:cubicBezTo>
                    <a:cubicBezTo>
                      <a:pt x="364559" y="788123"/>
                      <a:pt x="108240" y="484920"/>
                      <a:pt x="80521" y="119775"/>
                    </a:cubicBezTo>
                    <a:cubicBezTo>
                      <a:pt x="100369" y="113273"/>
                      <a:pt x="116111" y="97189"/>
                      <a:pt x="121245" y="75972"/>
                    </a:cubicBezTo>
                    <a:cubicBezTo>
                      <a:pt x="129458" y="43119"/>
                      <a:pt x="108925" y="9924"/>
                      <a:pt x="76072" y="1711"/>
                    </a:cubicBezTo>
                    <a:cubicBezTo>
                      <a:pt x="71281" y="684"/>
                      <a:pt x="66490" y="0"/>
                      <a:pt x="61357" y="0"/>
                    </a:cubicBezTo>
                    <a:cubicBezTo>
                      <a:pt x="32953" y="0"/>
                      <a:pt x="8314" y="19164"/>
                      <a:pt x="1811" y="46884"/>
                    </a:cubicBezTo>
                    <a:cubicBezTo>
                      <a:pt x="-6402" y="79736"/>
                      <a:pt x="14131" y="112931"/>
                      <a:pt x="46984" y="121144"/>
                    </a:cubicBezTo>
                    <a:cubicBezTo>
                      <a:pt x="47668" y="121144"/>
                      <a:pt x="48010" y="121487"/>
                      <a:pt x="48695" y="121487"/>
                    </a:cubicBezTo>
                    <a:cubicBezTo>
                      <a:pt x="55539" y="210463"/>
                      <a:pt x="75730" y="297728"/>
                      <a:pt x="108925" y="380886"/>
                    </a:cubicBezTo>
                    <a:cubicBezTo>
                      <a:pt x="142804" y="465413"/>
                      <a:pt x="189345" y="544123"/>
                      <a:pt x="247522" y="614277"/>
                    </a:cubicBezTo>
                    <a:cubicBezTo>
                      <a:pt x="368324" y="760403"/>
                      <a:pt x="529508" y="861357"/>
                      <a:pt x="713962" y="906529"/>
                    </a:cubicBezTo>
                    <a:cubicBezTo>
                      <a:pt x="783089" y="923298"/>
                      <a:pt x="852902" y="931853"/>
                      <a:pt x="922713" y="931853"/>
                    </a:cubicBezTo>
                    <a:cubicBezTo>
                      <a:pt x="968912" y="931853"/>
                      <a:pt x="1015454" y="928089"/>
                      <a:pt x="1061311" y="920560"/>
                    </a:cubicBezTo>
                    <a:cubicBezTo>
                      <a:pt x="1173215" y="902422"/>
                      <a:pt x="1278960" y="863410"/>
                      <a:pt x="1376492" y="804549"/>
                    </a:cubicBezTo>
                    <a:cubicBezTo>
                      <a:pt x="1473680" y="745688"/>
                      <a:pt x="1557523" y="669716"/>
                      <a:pt x="1624940" y="578687"/>
                    </a:cubicBezTo>
                    <a:cubicBezTo>
                      <a:pt x="1695094" y="484577"/>
                      <a:pt x="1744715" y="378833"/>
                      <a:pt x="1772777" y="263848"/>
                    </a:cubicBezTo>
                    <a:cubicBezTo>
                      <a:pt x="1774830" y="255293"/>
                      <a:pt x="1769697" y="246737"/>
                      <a:pt x="1761142" y="244684"/>
                    </a:cubicBezTo>
                    <a:close/>
                    <a:moveTo>
                      <a:pt x="32610" y="54412"/>
                    </a:moveTo>
                    <a:cubicBezTo>
                      <a:pt x="36032" y="41066"/>
                      <a:pt x="47668" y="31826"/>
                      <a:pt x="61357" y="31826"/>
                    </a:cubicBezTo>
                    <a:cubicBezTo>
                      <a:pt x="63752" y="31826"/>
                      <a:pt x="66148" y="32168"/>
                      <a:pt x="68543" y="32853"/>
                    </a:cubicBezTo>
                    <a:cubicBezTo>
                      <a:pt x="84285" y="36617"/>
                      <a:pt x="94209" y="52701"/>
                      <a:pt x="90103" y="68443"/>
                    </a:cubicBezTo>
                    <a:cubicBezTo>
                      <a:pt x="86681" y="81790"/>
                      <a:pt x="75046" y="91029"/>
                      <a:pt x="61357" y="91029"/>
                    </a:cubicBezTo>
                    <a:cubicBezTo>
                      <a:pt x="58962" y="91029"/>
                      <a:pt x="56565" y="90687"/>
                      <a:pt x="54170" y="90003"/>
                    </a:cubicBezTo>
                    <a:cubicBezTo>
                      <a:pt x="38429" y="86238"/>
                      <a:pt x="28846" y="70154"/>
                      <a:pt x="32610" y="54412"/>
                    </a:cubicBezTo>
                    <a:close/>
                  </a:path>
                </a:pathLst>
              </a:custGeom>
              <a:solidFill>
                <a:schemeClr val="tx2"/>
              </a:solidFill>
              <a:ln w="34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y-AM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DD0267ED-478D-0003-2678-FADD1470D038}"/>
                  </a:ext>
                </a:extLst>
              </p:cNvPr>
              <p:cNvSpPr/>
              <p:nvPr/>
            </p:nvSpPr>
            <p:spPr>
              <a:xfrm rot="10800000">
                <a:off x="248524" y="1105699"/>
                <a:ext cx="701861" cy="374047"/>
              </a:xfrm>
              <a:custGeom>
                <a:avLst/>
                <a:gdLst>
                  <a:gd name="connsiteX0" fmla="*/ 1727955 w 1774958"/>
                  <a:gd name="connsiteY0" fmla="*/ 825137 h 945939"/>
                  <a:gd name="connsiteX1" fmla="*/ 1725903 w 1774958"/>
                  <a:gd name="connsiteY1" fmla="*/ 824795 h 945939"/>
                  <a:gd name="connsiteX2" fmla="*/ 1669437 w 1774958"/>
                  <a:gd name="connsiteY2" fmla="*/ 563000 h 945939"/>
                  <a:gd name="connsiteX3" fmla="*/ 1531524 w 1774958"/>
                  <a:gd name="connsiteY3" fmla="*/ 324134 h 945939"/>
                  <a:gd name="connsiteX4" fmla="*/ 1324484 w 1774958"/>
                  <a:gd name="connsiteY4" fmla="*/ 138653 h 945939"/>
                  <a:gd name="connsiteX5" fmla="*/ 1059609 w 1774958"/>
                  <a:gd name="connsiteY5" fmla="*/ 25379 h 945939"/>
                  <a:gd name="connsiteX6" fmla="*/ 711918 w 1774958"/>
                  <a:gd name="connsiteY6" fmla="*/ 11006 h 945939"/>
                  <a:gd name="connsiteX7" fmla="*/ 396737 w 1774958"/>
                  <a:gd name="connsiteY7" fmla="*/ 127017 h 945939"/>
                  <a:gd name="connsiteX8" fmla="*/ 148289 w 1774958"/>
                  <a:gd name="connsiteY8" fmla="*/ 352880 h 945939"/>
                  <a:gd name="connsiteX9" fmla="*/ 452 w 1774958"/>
                  <a:gd name="connsiteY9" fmla="*/ 667718 h 945939"/>
                  <a:gd name="connsiteX10" fmla="*/ 12087 w 1774958"/>
                  <a:gd name="connsiteY10" fmla="*/ 686882 h 945939"/>
                  <a:gd name="connsiteX11" fmla="*/ 15851 w 1774958"/>
                  <a:gd name="connsiteY11" fmla="*/ 687224 h 945939"/>
                  <a:gd name="connsiteX12" fmla="*/ 31251 w 1774958"/>
                  <a:gd name="connsiteY12" fmla="*/ 675247 h 945939"/>
                  <a:gd name="connsiteX13" fmla="*/ 1052080 w 1774958"/>
                  <a:gd name="connsiteY13" fmla="*/ 55837 h 945939"/>
                  <a:gd name="connsiteX14" fmla="*/ 1694076 w 1774958"/>
                  <a:gd name="connsiteY14" fmla="*/ 826164 h 945939"/>
                  <a:gd name="connsiteX15" fmla="*/ 1653695 w 1774958"/>
                  <a:gd name="connsiteY15" fmla="*/ 869967 h 945939"/>
                  <a:gd name="connsiteX16" fmla="*/ 1698867 w 1774958"/>
                  <a:gd name="connsiteY16" fmla="*/ 944228 h 945939"/>
                  <a:gd name="connsiteX17" fmla="*/ 1713582 w 1774958"/>
                  <a:gd name="connsiteY17" fmla="*/ 945939 h 945939"/>
                  <a:gd name="connsiteX18" fmla="*/ 1773128 w 1774958"/>
                  <a:gd name="connsiteY18" fmla="*/ 899056 h 945939"/>
                  <a:gd name="connsiteX19" fmla="*/ 1727955 w 1774958"/>
                  <a:gd name="connsiteY19" fmla="*/ 825137 h 945939"/>
                  <a:gd name="connsiteX20" fmla="*/ 1742329 w 1774958"/>
                  <a:gd name="connsiteY20" fmla="*/ 891869 h 945939"/>
                  <a:gd name="connsiteX21" fmla="*/ 1713582 w 1774958"/>
                  <a:gd name="connsiteY21" fmla="*/ 914455 h 945939"/>
                  <a:gd name="connsiteX22" fmla="*/ 1706396 w 1774958"/>
                  <a:gd name="connsiteY22" fmla="*/ 913429 h 945939"/>
                  <a:gd name="connsiteX23" fmla="*/ 1684837 w 1774958"/>
                  <a:gd name="connsiteY23" fmla="*/ 877838 h 945939"/>
                  <a:gd name="connsiteX24" fmla="*/ 1713582 w 1774958"/>
                  <a:gd name="connsiteY24" fmla="*/ 855252 h 945939"/>
                  <a:gd name="connsiteX25" fmla="*/ 1720769 w 1774958"/>
                  <a:gd name="connsiteY25" fmla="*/ 856279 h 945939"/>
                  <a:gd name="connsiteX26" fmla="*/ 1742329 w 1774958"/>
                  <a:gd name="connsiteY26" fmla="*/ 891869 h 945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774958" h="945939">
                    <a:moveTo>
                      <a:pt x="1727955" y="825137"/>
                    </a:moveTo>
                    <a:cubicBezTo>
                      <a:pt x="1727271" y="825137"/>
                      <a:pt x="1726587" y="824795"/>
                      <a:pt x="1725903" y="824795"/>
                    </a:cubicBezTo>
                    <a:cubicBezTo>
                      <a:pt x="1720769" y="735134"/>
                      <a:pt x="1701605" y="647185"/>
                      <a:pt x="1669437" y="563000"/>
                    </a:cubicBezTo>
                    <a:cubicBezTo>
                      <a:pt x="1636242" y="476419"/>
                      <a:pt x="1590043" y="396341"/>
                      <a:pt x="1531524" y="324134"/>
                    </a:cubicBezTo>
                    <a:cubicBezTo>
                      <a:pt x="1472663" y="251242"/>
                      <a:pt x="1402851" y="188958"/>
                      <a:pt x="1324484" y="138653"/>
                    </a:cubicBezTo>
                    <a:cubicBezTo>
                      <a:pt x="1243379" y="86636"/>
                      <a:pt x="1154060" y="48308"/>
                      <a:pt x="1059609" y="25379"/>
                    </a:cubicBezTo>
                    <a:cubicBezTo>
                      <a:pt x="944624" y="-2682"/>
                      <a:pt x="827928" y="-7473"/>
                      <a:pt x="711918" y="11006"/>
                    </a:cubicBezTo>
                    <a:cubicBezTo>
                      <a:pt x="600013" y="29144"/>
                      <a:pt x="494268" y="68156"/>
                      <a:pt x="396737" y="127017"/>
                    </a:cubicBezTo>
                    <a:cubicBezTo>
                      <a:pt x="299205" y="185878"/>
                      <a:pt x="215705" y="261850"/>
                      <a:pt x="148289" y="352880"/>
                    </a:cubicBezTo>
                    <a:cubicBezTo>
                      <a:pt x="78135" y="446989"/>
                      <a:pt x="28513" y="552734"/>
                      <a:pt x="452" y="667718"/>
                    </a:cubicBezTo>
                    <a:cubicBezTo>
                      <a:pt x="-1602" y="676273"/>
                      <a:pt x="3531" y="684829"/>
                      <a:pt x="12087" y="686882"/>
                    </a:cubicBezTo>
                    <a:cubicBezTo>
                      <a:pt x="13455" y="687224"/>
                      <a:pt x="14482" y="687224"/>
                      <a:pt x="15851" y="687224"/>
                    </a:cubicBezTo>
                    <a:cubicBezTo>
                      <a:pt x="23037" y="687224"/>
                      <a:pt x="29540" y="682433"/>
                      <a:pt x="31251" y="675247"/>
                    </a:cubicBezTo>
                    <a:cubicBezTo>
                      <a:pt x="142471" y="223180"/>
                      <a:pt x="600013" y="-54699"/>
                      <a:pt x="1052080" y="55837"/>
                    </a:cubicBezTo>
                    <a:cubicBezTo>
                      <a:pt x="1410037" y="143444"/>
                      <a:pt x="1672859" y="459309"/>
                      <a:pt x="1694076" y="826164"/>
                    </a:cubicBezTo>
                    <a:cubicBezTo>
                      <a:pt x="1674228" y="832666"/>
                      <a:pt x="1658828" y="848750"/>
                      <a:pt x="1653695" y="869967"/>
                    </a:cubicBezTo>
                    <a:cubicBezTo>
                      <a:pt x="1645482" y="902820"/>
                      <a:pt x="1666015" y="936015"/>
                      <a:pt x="1698867" y="944228"/>
                    </a:cubicBezTo>
                    <a:cubicBezTo>
                      <a:pt x="1703659" y="945255"/>
                      <a:pt x="1708449" y="945939"/>
                      <a:pt x="1713582" y="945939"/>
                    </a:cubicBezTo>
                    <a:cubicBezTo>
                      <a:pt x="1741987" y="945939"/>
                      <a:pt x="1766626" y="926775"/>
                      <a:pt x="1773128" y="899056"/>
                    </a:cubicBezTo>
                    <a:cubicBezTo>
                      <a:pt x="1781341" y="866545"/>
                      <a:pt x="1761151" y="833008"/>
                      <a:pt x="1727955" y="825137"/>
                    </a:cubicBezTo>
                    <a:close/>
                    <a:moveTo>
                      <a:pt x="1742329" y="891869"/>
                    </a:moveTo>
                    <a:cubicBezTo>
                      <a:pt x="1738907" y="905216"/>
                      <a:pt x="1727271" y="914455"/>
                      <a:pt x="1713582" y="914455"/>
                    </a:cubicBezTo>
                    <a:cubicBezTo>
                      <a:pt x="1711187" y="914455"/>
                      <a:pt x="1708792" y="914113"/>
                      <a:pt x="1706396" y="913429"/>
                    </a:cubicBezTo>
                    <a:cubicBezTo>
                      <a:pt x="1690654" y="909664"/>
                      <a:pt x="1680730" y="893580"/>
                      <a:pt x="1684837" y="877838"/>
                    </a:cubicBezTo>
                    <a:cubicBezTo>
                      <a:pt x="1688259" y="864492"/>
                      <a:pt x="1699894" y="855252"/>
                      <a:pt x="1713582" y="855252"/>
                    </a:cubicBezTo>
                    <a:cubicBezTo>
                      <a:pt x="1715978" y="855252"/>
                      <a:pt x="1718374" y="855594"/>
                      <a:pt x="1720769" y="856279"/>
                    </a:cubicBezTo>
                    <a:cubicBezTo>
                      <a:pt x="1736511" y="860043"/>
                      <a:pt x="1746093" y="875785"/>
                      <a:pt x="1742329" y="891869"/>
                    </a:cubicBezTo>
                    <a:close/>
                  </a:path>
                </a:pathLst>
              </a:custGeom>
              <a:solidFill>
                <a:schemeClr val="tx2"/>
              </a:solidFill>
              <a:ln w="34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y-AM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B53FEDCE-1605-1D53-DDA4-E831DF726608}"/>
                  </a:ext>
                </a:extLst>
              </p:cNvPr>
              <p:cNvSpPr/>
              <p:nvPr/>
            </p:nvSpPr>
            <p:spPr>
              <a:xfrm rot="10800000">
                <a:off x="5287680" y="780398"/>
                <a:ext cx="701182" cy="368479"/>
              </a:xfrm>
              <a:custGeom>
                <a:avLst/>
                <a:gdLst>
                  <a:gd name="connsiteX0" fmla="*/ 1761142 w 1773228"/>
                  <a:gd name="connsiteY0" fmla="*/ 244684 h 931853"/>
                  <a:gd name="connsiteX1" fmla="*/ 1741977 w 1773228"/>
                  <a:gd name="connsiteY1" fmla="*/ 256319 h 931853"/>
                  <a:gd name="connsiteX2" fmla="*/ 721490 w 1773228"/>
                  <a:gd name="connsiteY2" fmla="*/ 875388 h 931853"/>
                  <a:gd name="connsiteX3" fmla="*/ 80521 w 1773228"/>
                  <a:gd name="connsiteY3" fmla="*/ 119775 h 931853"/>
                  <a:gd name="connsiteX4" fmla="*/ 121245 w 1773228"/>
                  <a:gd name="connsiteY4" fmla="*/ 75972 h 931853"/>
                  <a:gd name="connsiteX5" fmla="*/ 76072 w 1773228"/>
                  <a:gd name="connsiteY5" fmla="*/ 1711 h 931853"/>
                  <a:gd name="connsiteX6" fmla="*/ 61357 w 1773228"/>
                  <a:gd name="connsiteY6" fmla="*/ 0 h 931853"/>
                  <a:gd name="connsiteX7" fmla="*/ 1811 w 1773228"/>
                  <a:gd name="connsiteY7" fmla="*/ 46884 h 931853"/>
                  <a:gd name="connsiteX8" fmla="*/ 46984 w 1773228"/>
                  <a:gd name="connsiteY8" fmla="*/ 121144 h 931853"/>
                  <a:gd name="connsiteX9" fmla="*/ 48695 w 1773228"/>
                  <a:gd name="connsiteY9" fmla="*/ 121487 h 931853"/>
                  <a:gd name="connsiteX10" fmla="*/ 108925 w 1773228"/>
                  <a:gd name="connsiteY10" fmla="*/ 380886 h 931853"/>
                  <a:gd name="connsiteX11" fmla="*/ 247522 w 1773228"/>
                  <a:gd name="connsiteY11" fmla="*/ 614277 h 931853"/>
                  <a:gd name="connsiteX12" fmla="*/ 713962 w 1773228"/>
                  <a:gd name="connsiteY12" fmla="*/ 906529 h 931853"/>
                  <a:gd name="connsiteX13" fmla="*/ 922713 w 1773228"/>
                  <a:gd name="connsiteY13" fmla="*/ 931853 h 931853"/>
                  <a:gd name="connsiteX14" fmla="*/ 1061311 w 1773228"/>
                  <a:gd name="connsiteY14" fmla="*/ 920560 h 931853"/>
                  <a:gd name="connsiteX15" fmla="*/ 1376492 w 1773228"/>
                  <a:gd name="connsiteY15" fmla="*/ 804549 h 931853"/>
                  <a:gd name="connsiteX16" fmla="*/ 1624940 w 1773228"/>
                  <a:gd name="connsiteY16" fmla="*/ 578687 h 931853"/>
                  <a:gd name="connsiteX17" fmla="*/ 1772777 w 1773228"/>
                  <a:gd name="connsiteY17" fmla="*/ 263848 h 931853"/>
                  <a:gd name="connsiteX18" fmla="*/ 1761142 w 1773228"/>
                  <a:gd name="connsiteY18" fmla="*/ 244684 h 931853"/>
                  <a:gd name="connsiteX19" fmla="*/ 32610 w 1773228"/>
                  <a:gd name="connsiteY19" fmla="*/ 54412 h 931853"/>
                  <a:gd name="connsiteX20" fmla="*/ 61357 w 1773228"/>
                  <a:gd name="connsiteY20" fmla="*/ 31826 h 931853"/>
                  <a:gd name="connsiteX21" fmla="*/ 68543 w 1773228"/>
                  <a:gd name="connsiteY21" fmla="*/ 32853 h 931853"/>
                  <a:gd name="connsiteX22" fmla="*/ 90103 w 1773228"/>
                  <a:gd name="connsiteY22" fmla="*/ 68443 h 931853"/>
                  <a:gd name="connsiteX23" fmla="*/ 61357 w 1773228"/>
                  <a:gd name="connsiteY23" fmla="*/ 91029 h 931853"/>
                  <a:gd name="connsiteX24" fmla="*/ 54170 w 1773228"/>
                  <a:gd name="connsiteY24" fmla="*/ 90003 h 931853"/>
                  <a:gd name="connsiteX25" fmla="*/ 32610 w 1773228"/>
                  <a:gd name="connsiteY25" fmla="*/ 54412 h 931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773228" h="931853">
                    <a:moveTo>
                      <a:pt x="1761142" y="244684"/>
                    </a:moveTo>
                    <a:cubicBezTo>
                      <a:pt x="1752586" y="242631"/>
                      <a:pt x="1744031" y="247764"/>
                      <a:pt x="1741977" y="256319"/>
                    </a:cubicBezTo>
                    <a:cubicBezTo>
                      <a:pt x="1631442" y="708386"/>
                      <a:pt x="1173558" y="986265"/>
                      <a:pt x="721490" y="875388"/>
                    </a:cubicBezTo>
                    <a:cubicBezTo>
                      <a:pt x="364559" y="788123"/>
                      <a:pt x="108240" y="484920"/>
                      <a:pt x="80521" y="119775"/>
                    </a:cubicBezTo>
                    <a:cubicBezTo>
                      <a:pt x="100369" y="113273"/>
                      <a:pt x="116111" y="97189"/>
                      <a:pt x="121245" y="75972"/>
                    </a:cubicBezTo>
                    <a:cubicBezTo>
                      <a:pt x="129458" y="43119"/>
                      <a:pt x="108925" y="9924"/>
                      <a:pt x="76072" y="1711"/>
                    </a:cubicBezTo>
                    <a:cubicBezTo>
                      <a:pt x="71281" y="684"/>
                      <a:pt x="66490" y="0"/>
                      <a:pt x="61357" y="0"/>
                    </a:cubicBezTo>
                    <a:cubicBezTo>
                      <a:pt x="32953" y="0"/>
                      <a:pt x="8314" y="19164"/>
                      <a:pt x="1811" y="46884"/>
                    </a:cubicBezTo>
                    <a:cubicBezTo>
                      <a:pt x="-6402" y="79736"/>
                      <a:pt x="14131" y="112931"/>
                      <a:pt x="46984" y="121144"/>
                    </a:cubicBezTo>
                    <a:cubicBezTo>
                      <a:pt x="47668" y="121144"/>
                      <a:pt x="48010" y="121487"/>
                      <a:pt x="48695" y="121487"/>
                    </a:cubicBezTo>
                    <a:cubicBezTo>
                      <a:pt x="55539" y="210463"/>
                      <a:pt x="75730" y="297728"/>
                      <a:pt x="108925" y="380886"/>
                    </a:cubicBezTo>
                    <a:cubicBezTo>
                      <a:pt x="142804" y="465413"/>
                      <a:pt x="189345" y="544123"/>
                      <a:pt x="247522" y="614277"/>
                    </a:cubicBezTo>
                    <a:cubicBezTo>
                      <a:pt x="368324" y="760403"/>
                      <a:pt x="529508" y="861357"/>
                      <a:pt x="713962" y="906529"/>
                    </a:cubicBezTo>
                    <a:cubicBezTo>
                      <a:pt x="783089" y="923298"/>
                      <a:pt x="852902" y="931853"/>
                      <a:pt x="922713" y="931853"/>
                    </a:cubicBezTo>
                    <a:cubicBezTo>
                      <a:pt x="968912" y="931853"/>
                      <a:pt x="1015454" y="928089"/>
                      <a:pt x="1061311" y="920560"/>
                    </a:cubicBezTo>
                    <a:cubicBezTo>
                      <a:pt x="1173215" y="902422"/>
                      <a:pt x="1278960" y="863410"/>
                      <a:pt x="1376492" y="804549"/>
                    </a:cubicBezTo>
                    <a:cubicBezTo>
                      <a:pt x="1473680" y="745688"/>
                      <a:pt x="1557523" y="669716"/>
                      <a:pt x="1624940" y="578687"/>
                    </a:cubicBezTo>
                    <a:cubicBezTo>
                      <a:pt x="1695094" y="484577"/>
                      <a:pt x="1744715" y="378833"/>
                      <a:pt x="1772777" y="263848"/>
                    </a:cubicBezTo>
                    <a:cubicBezTo>
                      <a:pt x="1774830" y="255293"/>
                      <a:pt x="1769697" y="246737"/>
                      <a:pt x="1761142" y="244684"/>
                    </a:cubicBezTo>
                    <a:close/>
                    <a:moveTo>
                      <a:pt x="32610" y="54412"/>
                    </a:moveTo>
                    <a:cubicBezTo>
                      <a:pt x="36032" y="41066"/>
                      <a:pt x="47668" y="31826"/>
                      <a:pt x="61357" y="31826"/>
                    </a:cubicBezTo>
                    <a:cubicBezTo>
                      <a:pt x="63752" y="31826"/>
                      <a:pt x="66148" y="32168"/>
                      <a:pt x="68543" y="32853"/>
                    </a:cubicBezTo>
                    <a:cubicBezTo>
                      <a:pt x="84285" y="36617"/>
                      <a:pt x="94209" y="52701"/>
                      <a:pt x="90103" y="68443"/>
                    </a:cubicBezTo>
                    <a:cubicBezTo>
                      <a:pt x="86681" y="81790"/>
                      <a:pt x="75046" y="91029"/>
                      <a:pt x="61357" y="91029"/>
                    </a:cubicBezTo>
                    <a:cubicBezTo>
                      <a:pt x="58962" y="91029"/>
                      <a:pt x="56565" y="90687"/>
                      <a:pt x="54170" y="90003"/>
                    </a:cubicBezTo>
                    <a:cubicBezTo>
                      <a:pt x="38429" y="86238"/>
                      <a:pt x="28846" y="70154"/>
                      <a:pt x="32610" y="54412"/>
                    </a:cubicBezTo>
                    <a:close/>
                  </a:path>
                </a:pathLst>
              </a:custGeom>
              <a:solidFill>
                <a:schemeClr val="tx2"/>
              </a:solidFill>
              <a:ln w="34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y-AM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778768B3-D241-361B-B5DF-FF435BF5A930}"/>
                  </a:ext>
                </a:extLst>
              </p:cNvPr>
              <p:cNvSpPr/>
              <p:nvPr/>
            </p:nvSpPr>
            <p:spPr>
              <a:xfrm rot="10800000">
                <a:off x="5259126" y="1099210"/>
                <a:ext cx="701863" cy="374046"/>
              </a:xfrm>
              <a:custGeom>
                <a:avLst/>
                <a:gdLst>
                  <a:gd name="connsiteX0" fmla="*/ 1727955 w 1774958"/>
                  <a:gd name="connsiteY0" fmla="*/ 825137 h 945939"/>
                  <a:gd name="connsiteX1" fmla="*/ 1725903 w 1774958"/>
                  <a:gd name="connsiteY1" fmla="*/ 824795 h 945939"/>
                  <a:gd name="connsiteX2" fmla="*/ 1669437 w 1774958"/>
                  <a:gd name="connsiteY2" fmla="*/ 563000 h 945939"/>
                  <a:gd name="connsiteX3" fmla="*/ 1531524 w 1774958"/>
                  <a:gd name="connsiteY3" fmla="*/ 324134 h 945939"/>
                  <a:gd name="connsiteX4" fmla="*/ 1324484 w 1774958"/>
                  <a:gd name="connsiteY4" fmla="*/ 138653 h 945939"/>
                  <a:gd name="connsiteX5" fmla="*/ 1059609 w 1774958"/>
                  <a:gd name="connsiteY5" fmla="*/ 25379 h 945939"/>
                  <a:gd name="connsiteX6" fmla="*/ 711918 w 1774958"/>
                  <a:gd name="connsiteY6" fmla="*/ 11006 h 945939"/>
                  <a:gd name="connsiteX7" fmla="*/ 396737 w 1774958"/>
                  <a:gd name="connsiteY7" fmla="*/ 127017 h 945939"/>
                  <a:gd name="connsiteX8" fmla="*/ 148289 w 1774958"/>
                  <a:gd name="connsiteY8" fmla="*/ 352880 h 945939"/>
                  <a:gd name="connsiteX9" fmla="*/ 452 w 1774958"/>
                  <a:gd name="connsiteY9" fmla="*/ 667718 h 945939"/>
                  <a:gd name="connsiteX10" fmla="*/ 12087 w 1774958"/>
                  <a:gd name="connsiteY10" fmla="*/ 686882 h 945939"/>
                  <a:gd name="connsiteX11" fmla="*/ 15851 w 1774958"/>
                  <a:gd name="connsiteY11" fmla="*/ 687224 h 945939"/>
                  <a:gd name="connsiteX12" fmla="*/ 31251 w 1774958"/>
                  <a:gd name="connsiteY12" fmla="*/ 675247 h 945939"/>
                  <a:gd name="connsiteX13" fmla="*/ 1052080 w 1774958"/>
                  <a:gd name="connsiteY13" fmla="*/ 55837 h 945939"/>
                  <a:gd name="connsiteX14" fmla="*/ 1694076 w 1774958"/>
                  <a:gd name="connsiteY14" fmla="*/ 826164 h 945939"/>
                  <a:gd name="connsiteX15" fmla="*/ 1653695 w 1774958"/>
                  <a:gd name="connsiteY15" fmla="*/ 869967 h 945939"/>
                  <a:gd name="connsiteX16" fmla="*/ 1698867 w 1774958"/>
                  <a:gd name="connsiteY16" fmla="*/ 944228 h 945939"/>
                  <a:gd name="connsiteX17" fmla="*/ 1713582 w 1774958"/>
                  <a:gd name="connsiteY17" fmla="*/ 945939 h 945939"/>
                  <a:gd name="connsiteX18" fmla="*/ 1773128 w 1774958"/>
                  <a:gd name="connsiteY18" fmla="*/ 899056 h 945939"/>
                  <a:gd name="connsiteX19" fmla="*/ 1727955 w 1774958"/>
                  <a:gd name="connsiteY19" fmla="*/ 825137 h 945939"/>
                  <a:gd name="connsiteX20" fmla="*/ 1742329 w 1774958"/>
                  <a:gd name="connsiteY20" fmla="*/ 891869 h 945939"/>
                  <a:gd name="connsiteX21" fmla="*/ 1713582 w 1774958"/>
                  <a:gd name="connsiteY21" fmla="*/ 914455 h 945939"/>
                  <a:gd name="connsiteX22" fmla="*/ 1706396 w 1774958"/>
                  <a:gd name="connsiteY22" fmla="*/ 913429 h 945939"/>
                  <a:gd name="connsiteX23" fmla="*/ 1684837 w 1774958"/>
                  <a:gd name="connsiteY23" fmla="*/ 877838 h 945939"/>
                  <a:gd name="connsiteX24" fmla="*/ 1713582 w 1774958"/>
                  <a:gd name="connsiteY24" fmla="*/ 855252 h 945939"/>
                  <a:gd name="connsiteX25" fmla="*/ 1720769 w 1774958"/>
                  <a:gd name="connsiteY25" fmla="*/ 856279 h 945939"/>
                  <a:gd name="connsiteX26" fmla="*/ 1742329 w 1774958"/>
                  <a:gd name="connsiteY26" fmla="*/ 891869 h 945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774958" h="945939">
                    <a:moveTo>
                      <a:pt x="1727955" y="825137"/>
                    </a:moveTo>
                    <a:cubicBezTo>
                      <a:pt x="1727271" y="825137"/>
                      <a:pt x="1726587" y="824795"/>
                      <a:pt x="1725903" y="824795"/>
                    </a:cubicBezTo>
                    <a:cubicBezTo>
                      <a:pt x="1720769" y="735134"/>
                      <a:pt x="1701605" y="647185"/>
                      <a:pt x="1669437" y="563000"/>
                    </a:cubicBezTo>
                    <a:cubicBezTo>
                      <a:pt x="1636242" y="476419"/>
                      <a:pt x="1590043" y="396341"/>
                      <a:pt x="1531524" y="324134"/>
                    </a:cubicBezTo>
                    <a:cubicBezTo>
                      <a:pt x="1472663" y="251242"/>
                      <a:pt x="1402851" y="188958"/>
                      <a:pt x="1324484" y="138653"/>
                    </a:cubicBezTo>
                    <a:cubicBezTo>
                      <a:pt x="1243379" y="86636"/>
                      <a:pt x="1154060" y="48308"/>
                      <a:pt x="1059609" y="25379"/>
                    </a:cubicBezTo>
                    <a:cubicBezTo>
                      <a:pt x="944624" y="-2682"/>
                      <a:pt x="827928" y="-7473"/>
                      <a:pt x="711918" y="11006"/>
                    </a:cubicBezTo>
                    <a:cubicBezTo>
                      <a:pt x="600013" y="29144"/>
                      <a:pt x="494268" y="68156"/>
                      <a:pt x="396737" y="127017"/>
                    </a:cubicBezTo>
                    <a:cubicBezTo>
                      <a:pt x="299205" y="185878"/>
                      <a:pt x="215705" y="261850"/>
                      <a:pt x="148289" y="352880"/>
                    </a:cubicBezTo>
                    <a:cubicBezTo>
                      <a:pt x="78135" y="446989"/>
                      <a:pt x="28513" y="552734"/>
                      <a:pt x="452" y="667718"/>
                    </a:cubicBezTo>
                    <a:cubicBezTo>
                      <a:pt x="-1602" y="676273"/>
                      <a:pt x="3531" y="684829"/>
                      <a:pt x="12087" y="686882"/>
                    </a:cubicBezTo>
                    <a:cubicBezTo>
                      <a:pt x="13455" y="687224"/>
                      <a:pt x="14482" y="687224"/>
                      <a:pt x="15851" y="687224"/>
                    </a:cubicBezTo>
                    <a:cubicBezTo>
                      <a:pt x="23037" y="687224"/>
                      <a:pt x="29540" y="682433"/>
                      <a:pt x="31251" y="675247"/>
                    </a:cubicBezTo>
                    <a:cubicBezTo>
                      <a:pt x="142471" y="223180"/>
                      <a:pt x="600013" y="-54699"/>
                      <a:pt x="1052080" y="55837"/>
                    </a:cubicBezTo>
                    <a:cubicBezTo>
                      <a:pt x="1410037" y="143444"/>
                      <a:pt x="1672859" y="459309"/>
                      <a:pt x="1694076" y="826164"/>
                    </a:cubicBezTo>
                    <a:cubicBezTo>
                      <a:pt x="1674228" y="832666"/>
                      <a:pt x="1658828" y="848750"/>
                      <a:pt x="1653695" y="869967"/>
                    </a:cubicBezTo>
                    <a:cubicBezTo>
                      <a:pt x="1645482" y="902820"/>
                      <a:pt x="1666015" y="936015"/>
                      <a:pt x="1698867" y="944228"/>
                    </a:cubicBezTo>
                    <a:cubicBezTo>
                      <a:pt x="1703659" y="945255"/>
                      <a:pt x="1708449" y="945939"/>
                      <a:pt x="1713582" y="945939"/>
                    </a:cubicBezTo>
                    <a:cubicBezTo>
                      <a:pt x="1741987" y="945939"/>
                      <a:pt x="1766626" y="926775"/>
                      <a:pt x="1773128" y="899056"/>
                    </a:cubicBezTo>
                    <a:cubicBezTo>
                      <a:pt x="1781341" y="866545"/>
                      <a:pt x="1761151" y="833008"/>
                      <a:pt x="1727955" y="825137"/>
                    </a:cubicBezTo>
                    <a:close/>
                    <a:moveTo>
                      <a:pt x="1742329" y="891869"/>
                    </a:moveTo>
                    <a:cubicBezTo>
                      <a:pt x="1738907" y="905216"/>
                      <a:pt x="1727271" y="914455"/>
                      <a:pt x="1713582" y="914455"/>
                    </a:cubicBezTo>
                    <a:cubicBezTo>
                      <a:pt x="1711187" y="914455"/>
                      <a:pt x="1708792" y="914113"/>
                      <a:pt x="1706396" y="913429"/>
                    </a:cubicBezTo>
                    <a:cubicBezTo>
                      <a:pt x="1690654" y="909664"/>
                      <a:pt x="1680730" y="893580"/>
                      <a:pt x="1684837" y="877838"/>
                    </a:cubicBezTo>
                    <a:cubicBezTo>
                      <a:pt x="1688259" y="864492"/>
                      <a:pt x="1699894" y="855252"/>
                      <a:pt x="1713582" y="855252"/>
                    </a:cubicBezTo>
                    <a:cubicBezTo>
                      <a:pt x="1715978" y="855252"/>
                      <a:pt x="1718374" y="855594"/>
                      <a:pt x="1720769" y="856279"/>
                    </a:cubicBezTo>
                    <a:cubicBezTo>
                      <a:pt x="1736511" y="860043"/>
                      <a:pt x="1746093" y="875785"/>
                      <a:pt x="1742329" y="891869"/>
                    </a:cubicBezTo>
                    <a:close/>
                  </a:path>
                </a:pathLst>
              </a:custGeom>
              <a:solidFill>
                <a:schemeClr val="tx2"/>
              </a:solidFill>
              <a:ln w="34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y-AM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F0AA833A-B894-9876-625D-D5B1757D8576}"/>
              </a:ext>
            </a:extLst>
          </p:cNvPr>
          <p:cNvSpPr>
            <a:spLocks/>
          </p:cNvSpPr>
          <p:nvPr/>
        </p:nvSpPr>
        <p:spPr>
          <a:xfrm>
            <a:off x="4415868" y="996413"/>
            <a:ext cx="3392424" cy="274320"/>
          </a:xfrm>
          <a:prstGeom prst="roundRect">
            <a:avLst/>
          </a:prstGeom>
          <a:solidFill>
            <a:srgbClr val="EDF0F2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pPr defTabSz="914353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2D3345">
                  <a:lumMod val="75000"/>
                </a:srgbClr>
              </a:buClr>
              <a:buNone/>
              <a:defRPr/>
            </a:pPr>
            <a:r>
              <a:rPr lang="en-US" sz="1600" b="1" dirty="0">
                <a:solidFill>
                  <a:srgbClr val="1D2766"/>
                </a:solidFill>
                <a:latin typeface="Arial"/>
                <a:sym typeface="Helvetica Neue Medium"/>
              </a:rPr>
              <a:t>            Teamlet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4132C646-89EB-265B-776E-5F31D4AD7FBB}"/>
              </a:ext>
            </a:extLst>
          </p:cNvPr>
          <p:cNvSpPr>
            <a:spLocks/>
          </p:cNvSpPr>
          <p:nvPr/>
        </p:nvSpPr>
        <p:spPr>
          <a:xfrm>
            <a:off x="8133798" y="996413"/>
            <a:ext cx="3392424" cy="274320"/>
          </a:xfrm>
          <a:prstGeom prst="roundRect">
            <a:avLst/>
          </a:prstGeom>
          <a:solidFill>
            <a:srgbClr val="ED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pPr defTabSz="914353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2D3345">
                  <a:lumMod val="75000"/>
                </a:srgbClr>
              </a:buClr>
              <a:buNone/>
              <a:defRPr/>
            </a:pPr>
            <a:r>
              <a:rPr lang="en-US" sz="1600" b="1" dirty="0">
                <a:solidFill>
                  <a:srgbClr val="1D2766"/>
                </a:solidFill>
                <a:latin typeface="Arial"/>
                <a:sym typeface="Helvetica Neue Medium"/>
              </a:rPr>
              <a:t>             Individual</a:t>
            </a:r>
          </a:p>
        </p:txBody>
      </p:sp>
      <p:sp>
        <p:nvSpPr>
          <p:cNvPr id="212" name="Rectangle: Rounded Corners 211">
            <a:extLst>
              <a:ext uri="{FF2B5EF4-FFF2-40B4-BE49-F238E27FC236}">
                <a16:creationId xmlns:a16="http://schemas.microsoft.com/office/drawing/2014/main" id="{30D09D86-F46D-D018-CE6A-0C1EF0971A4C}"/>
              </a:ext>
            </a:extLst>
          </p:cNvPr>
          <p:cNvSpPr/>
          <p:nvPr/>
        </p:nvSpPr>
        <p:spPr bwMode="auto">
          <a:xfrm>
            <a:off x="870800" y="3648759"/>
            <a:ext cx="736211" cy="27482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000" b="1" dirty="0">
                <a:solidFill>
                  <a:schemeClr val="tx2"/>
                </a:solidFill>
                <a:ea typeface="MS PGothic" panose="020B0600070205080204" pitchFamily="34" charset="-128"/>
              </a:rPr>
              <a:t>M&amp;A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21167FE-1246-0BFE-83D3-C376C11C6B31}"/>
              </a:ext>
            </a:extLst>
          </p:cNvPr>
          <p:cNvSpPr txBox="1"/>
          <p:nvPr/>
        </p:nvSpPr>
        <p:spPr>
          <a:xfrm>
            <a:off x="6639535" y="3324646"/>
            <a:ext cx="2334348" cy="75106"/>
          </a:xfrm>
          <a:prstGeom prst="rect">
            <a:avLst/>
          </a:prstGeom>
        </p:spPr>
        <p:txBody>
          <a:bodyPr wrap="square" lIns="0" rIns="0" rtlCol="0">
            <a:noAutofit/>
          </a:bodyPr>
          <a:lstStyle/>
          <a:p>
            <a:pPr algn="l"/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8CA31DC6-0D49-588C-FD34-7D2D7E0FD5B9}"/>
              </a:ext>
            </a:extLst>
          </p:cNvPr>
          <p:cNvSpPr/>
          <p:nvPr/>
        </p:nvSpPr>
        <p:spPr bwMode="auto">
          <a:xfrm>
            <a:off x="4659302" y="3650425"/>
            <a:ext cx="1499391" cy="27482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000" b="1" dirty="0">
                <a:solidFill>
                  <a:schemeClr val="tx2"/>
                </a:solidFill>
              </a:rPr>
              <a:t>Pre-Merger Planning</a:t>
            </a: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A9EE9ED3-96BE-1013-8405-D2493DF8F9D9}"/>
              </a:ext>
            </a:extLst>
          </p:cNvPr>
          <p:cNvSpPr/>
          <p:nvPr/>
        </p:nvSpPr>
        <p:spPr bwMode="auto">
          <a:xfrm>
            <a:off x="10183378" y="3314970"/>
            <a:ext cx="793764" cy="27482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000" b="1" dirty="0">
                <a:solidFill>
                  <a:schemeClr val="tx2"/>
                </a:solidFill>
              </a:rPr>
              <a:t>PMI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0DFE36A-FB67-8B93-834D-B7C61B0B4BD2}"/>
              </a:ext>
            </a:extLst>
          </p:cNvPr>
          <p:cNvSpPr txBox="1"/>
          <p:nvPr/>
        </p:nvSpPr>
        <p:spPr>
          <a:xfrm>
            <a:off x="913739" y="3759319"/>
            <a:ext cx="827091" cy="106362"/>
          </a:xfrm>
          <a:prstGeom prst="rect">
            <a:avLst/>
          </a:prstGeom>
        </p:spPr>
        <p:txBody>
          <a:bodyPr wrap="square" lIns="0" rIns="0" rtlCol="0">
            <a:noAutofit/>
          </a:bodyPr>
          <a:lstStyle/>
          <a:p>
            <a:pPr algn="l"/>
            <a:endParaRPr lang="en-US" sz="1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C4C2DF7-58C5-5A64-E010-121C19568575}"/>
              </a:ext>
            </a:extLst>
          </p:cNvPr>
          <p:cNvSpPr txBox="1"/>
          <p:nvPr/>
        </p:nvSpPr>
        <p:spPr>
          <a:xfrm>
            <a:off x="892271" y="3759319"/>
            <a:ext cx="848559" cy="134539"/>
          </a:xfrm>
          <a:prstGeom prst="rect">
            <a:avLst/>
          </a:prstGeom>
        </p:spPr>
        <p:txBody>
          <a:bodyPr wrap="square" lIns="0" rIns="0" rtlCol="0">
            <a:noAutofit/>
          </a:bodyPr>
          <a:lstStyle/>
          <a:p>
            <a:pPr algn="l"/>
            <a:endParaRPr lang="en-US" sz="16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616CEEE-4F9B-C563-32AE-7375525BA494}"/>
              </a:ext>
            </a:extLst>
          </p:cNvPr>
          <p:cNvSpPr txBox="1"/>
          <p:nvPr/>
        </p:nvSpPr>
        <p:spPr>
          <a:xfrm>
            <a:off x="8430487" y="3693421"/>
            <a:ext cx="2138205" cy="65898"/>
          </a:xfrm>
          <a:prstGeom prst="rect">
            <a:avLst/>
          </a:prstGeom>
        </p:spPr>
        <p:txBody>
          <a:bodyPr wrap="square" lIns="0" rIns="0" rtlCol="0">
            <a:noAutofit/>
          </a:bodyPr>
          <a:lstStyle/>
          <a:p>
            <a:pPr algn="l"/>
            <a:endParaRPr lang="en-US" sz="1000" b="1" dirty="0">
              <a:solidFill>
                <a:schemeClr val="tx2"/>
              </a:solidFill>
            </a:endParaRPr>
          </a:p>
        </p:txBody>
      </p:sp>
      <p:pic>
        <p:nvPicPr>
          <p:cNvPr id="91" name="Picture 6">
            <a:extLst>
              <a:ext uri="{FF2B5EF4-FFF2-40B4-BE49-F238E27FC236}">
                <a16:creationId xmlns:a16="http://schemas.microsoft.com/office/drawing/2014/main" id="{EAAF0FE2-8CDE-706A-1FDC-720D43C042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2672" y="2709603"/>
            <a:ext cx="54864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9607D19-6B7F-738F-1982-982C58A76935}"/>
              </a:ext>
            </a:extLst>
          </p:cNvPr>
          <p:cNvSpPr/>
          <p:nvPr/>
        </p:nvSpPr>
        <p:spPr bwMode="auto">
          <a:xfrm>
            <a:off x="862748" y="3315478"/>
            <a:ext cx="1801545" cy="2743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000" b="1" dirty="0">
                <a:solidFill>
                  <a:schemeClr val="tx2"/>
                </a:solidFill>
              </a:rPr>
              <a:t>Former McKinsey &amp; Bain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08D1C41-182A-E0DA-AEDF-D34ADE0D93AF}"/>
              </a:ext>
            </a:extLst>
          </p:cNvPr>
          <p:cNvSpPr/>
          <p:nvPr/>
        </p:nvSpPr>
        <p:spPr bwMode="auto">
          <a:xfrm>
            <a:off x="1769247" y="3648514"/>
            <a:ext cx="1603284" cy="27482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/>
            <a:r>
              <a:rPr lang="en-US" sz="1000" b="1" dirty="0">
                <a:solidFill>
                  <a:schemeClr val="tx2"/>
                </a:solidFill>
              </a:rPr>
              <a:t>Market Assessment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61A28D6-DF17-4390-77FA-00CA02C0E8E1}"/>
              </a:ext>
            </a:extLst>
          </p:cNvPr>
          <p:cNvSpPr/>
          <p:nvPr/>
        </p:nvSpPr>
        <p:spPr bwMode="auto">
          <a:xfrm>
            <a:off x="9900657" y="3656352"/>
            <a:ext cx="1047092" cy="27482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/>
            <a:r>
              <a:rPr lang="en-US" sz="1000" b="1" dirty="0">
                <a:solidFill>
                  <a:schemeClr val="tx2"/>
                </a:solidFill>
              </a:rPr>
              <a:t>Global M&amp;A</a:t>
            </a:r>
          </a:p>
        </p:txBody>
      </p:sp>
    </p:spTree>
    <p:extLst>
      <p:ext uri="{BB962C8B-B14F-4D97-AF65-F5344CB8AC3E}">
        <p14:creationId xmlns:p14="http://schemas.microsoft.com/office/powerpoint/2010/main" val="20482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5D15C6-25AD-2D5D-495D-30E8312A24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2211AA68-57AD-E07A-593D-7700856E96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579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9" progId="TCLayout.ActiveDocument.1">
                  <p:embed/>
                </p:oleObj>
              </mc:Choice>
              <mc:Fallback>
                <p:oleObj name="think-cell Slide" r:id="rId4" imgW="353" imgH="359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2211AA68-57AD-E07A-593D-7700856E9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B9832AB4-1686-86A2-A4DE-CB664B450038}"/>
              </a:ext>
            </a:extLst>
          </p:cNvPr>
          <p:cNvSpPr/>
          <p:nvPr/>
        </p:nvSpPr>
        <p:spPr bwMode="auto">
          <a:xfrm>
            <a:off x="118108" y="4147898"/>
            <a:ext cx="11887200" cy="1852135"/>
          </a:xfrm>
          <a:prstGeom prst="roundRect">
            <a:avLst>
              <a:gd name="adj" fmla="val 2925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46800" tIns="46800" rIns="46800" bIns="46800" rtlCol="0" anchor="b" anchorCtr="0">
            <a:noAutofit/>
          </a:bodyPr>
          <a:lstStyle/>
          <a:p>
            <a:pPr algn="ctr">
              <a:spcBef>
                <a:spcPts val="300"/>
              </a:spcBef>
            </a:pPr>
            <a:endParaRPr lang="en-US" sz="1600" i="1" dirty="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31631E6-B12A-61DF-D1F0-880309303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ur model ensures right-fit talent across the integration lifecycle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A0FE2F62-65EB-9EF6-9EE7-0FC80B810E79}"/>
              </a:ext>
            </a:extLst>
          </p:cNvPr>
          <p:cNvSpPr/>
          <p:nvPr/>
        </p:nvSpPr>
        <p:spPr bwMode="auto">
          <a:xfrm>
            <a:off x="197105" y="3562675"/>
            <a:ext cx="1371600" cy="192024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Program Management/ Leverag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D2D2A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F200194B-BDE2-17D6-1923-D816ECE0CB5A}"/>
              </a:ext>
            </a:extLst>
          </p:cNvPr>
          <p:cNvSpPr/>
          <p:nvPr/>
        </p:nvSpPr>
        <p:spPr bwMode="auto">
          <a:xfrm>
            <a:off x="1668403" y="3560998"/>
            <a:ext cx="1371600" cy="192024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200" dirty="0">
                <a:solidFill>
                  <a:srgbClr val="002060"/>
                </a:solidFill>
                <a:ea typeface="MS PGothic" panose="020B0600070205080204" pitchFamily="34" charset="-128"/>
              </a:rPr>
              <a:t>Change  Management &amp;  Communications</a:t>
            </a:r>
          </a:p>
          <a:p>
            <a:pPr algn="ctr">
              <a:spcBef>
                <a:spcPts val="300"/>
              </a:spcBef>
            </a:pPr>
            <a:endParaRPr lang="en-US" sz="1200" dirty="0">
              <a:solidFill>
                <a:srgbClr val="002060"/>
              </a:solidFill>
              <a:ea typeface="MS PGothic" panose="020B0600070205080204" pitchFamily="34" charset="-128"/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25599E97-2E0F-24E2-AA08-EF5F1B5C64EE}"/>
              </a:ext>
            </a:extLst>
          </p:cNvPr>
          <p:cNvSpPr/>
          <p:nvPr/>
        </p:nvSpPr>
        <p:spPr bwMode="auto">
          <a:xfrm>
            <a:off x="3139701" y="3544720"/>
            <a:ext cx="1371600" cy="193651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200" dirty="0">
                <a:solidFill>
                  <a:srgbClr val="002060"/>
                </a:solidFill>
                <a:ea typeface="MS PGothic" panose="020B0600070205080204" pitchFamily="34" charset="-128"/>
              </a:rPr>
              <a:t>Program Governance &amp; Interdependency Management </a:t>
            </a: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427DEF0E-0E10-2B1C-867B-04BDDD42969B}"/>
              </a:ext>
            </a:extLst>
          </p:cNvPr>
          <p:cNvSpPr/>
          <p:nvPr/>
        </p:nvSpPr>
        <p:spPr bwMode="auto">
          <a:xfrm>
            <a:off x="6082297" y="3560998"/>
            <a:ext cx="1371600" cy="193651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200" dirty="0">
                <a:solidFill>
                  <a:srgbClr val="002060"/>
                </a:solidFill>
                <a:ea typeface="MS PGothic" panose="020B0600070205080204" pitchFamily="34" charset="-128"/>
              </a:rPr>
              <a:t>Customer, Commercial, &amp; GTM</a:t>
            </a: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D45FB517-ACFF-AFDB-AD4C-C1ED0FD63FDC}"/>
              </a:ext>
            </a:extLst>
          </p:cNvPr>
          <p:cNvSpPr/>
          <p:nvPr/>
        </p:nvSpPr>
        <p:spPr bwMode="auto">
          <a:xfrm>
            <a:off x="7553595" y="3561193"/>
            <a:ext cx="1371600" cy="193333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200" dirty="0">
                <a:solidFill>
                  <a:srgbClr val="002060"/>
                </a:solidFill>
                <a:ea typeface="MS PGothic" panose="020B0600070205080204" pitchFamily="34" charset="-128"/>
              </a:rPr>
              <a:t>Supply Chain, Manufacturing, &amp; Procurement</a:t>
            </a: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3A2FF306-79D6-0679-85C3-D311D3D0C0DA}"/>
              </a:ext>
            </a:extLst>
          </p:cNvPr>
          <p:cNvSpPr/>
          <p:nvPr/>
        </p:nvSpPr>
        <p:spPr bwMode="auto">
          <a:xfrm>
            <a:off x="4610999" y="3560998"/>
            <a:ext cx="1371600" cy="193651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200" dirty="0">
                <a:solidFill>
                  <a:srgbClr val="002060"/>
                </a:solidFill>
                <a:ea typeface="MS PGothic" panose="020B0600070205080204" pitchFamily="34" charset="-128"/>
              </a:rPr>
              <a:t>Organizational Design</a:t>
            </a:r>
            <a:endParaRPr lang="en-US" sz="1200" dirty="0">
              <a:solidFill>
                <a:schemeClr val="bg1"/>
              </a:solidFill>
              <a:ea typeface="MS PGothic" panose="020B0600070205080204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0B3F9F0A-5696-67FC-9A77-483A0DEBB363}"/>
              </a:ext>
            </a:extLst>
          </p:cNvPr>
          <p:cNvSpPr/>
          <p:nvPr/>
        </p:nvSpPr>
        <p:spPr bwMode="auto">
          <a:xfrm>
            <a:off x="9024893" y="3560997"/>
            <a:ext cx="1371600" cy="1942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200" dirty="0">
                <a:solidFill>
                  <a:srgbClr val="002060"/>
                </a:solidFill>
                <a:ea typeface="MS PGothic" panose="020B0600070205080204" pitchFamily="34" charset="-128"/>
              </a:rPr>
              <a:t>Operations &amp; Finance Excellence</a:t>
            </a:r>
            <a:endParaRPr lang="en-US" sz="1200" dirty="0">
              <a:solidFill>
                <a:schemeClr val="bg1"/>
              </a:solidFill>
              <a:ea typeface="MS PGothic" panose="020B0600070205080204" pitchFamily="34" charset="-128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2FD52841-DB76-14A9-13F6-A32861B05258}"/>
              </a:ext>
            </a:extLst>
          </p:cNvPr>
          <p:cNvSpPr/>
          <p:nvPr/>
        </p:nvSpPr>
        <p:spPr bwMode="auto">
          <a:xfrm>
            <a:off x="10496190" y="3560998"/>
            <a:ext cx="1371600" cy="192681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200" dirty="0">
                <a:solidFill>
                  <a:srgbClr val="002060"/>
                </a:solidFill>
                <a:ea typeface="MS PGothic" panose="020B0600070205080204" pitchFamily="34" charset="-128"/>
              </a:rPr>
              <a:t>Information Technology</a:t>
            </a:r>
            <a:endParaRPr lang="en-US" sz="1200" dirty="0">
              <a:solidFill>
                <a:schemeClr val="bg1"/>
              </a:solidFill>
              <a:ea typeface="MS PGothic" panose="020B0600070205080204" pitchFamily="34" charset="-128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9A426540-92E1-FDA9-73C9-C5FE7DBD0560}"/>
              </a:ext>
            </a:extLst>
          </p:cNvPr>
          <p:cNvSpPr txBox="1"/>
          <p:nvPr/>
        </p:nvSpPr>
        <p:spPr>
          <a:xfrm>
            <a:off x="1956938" y="5621248"/>
            <a:ext cx="864280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rgbClr val="1D2766"/>
                </a:solidFill>
              </a:rPr>
              <a:t>HPA teams embed seamlessly with client teams to accelerate integration impact</a:t>
            </a:r>
          </a:p>
        </p:txBody>
      </p:sp>
      <p:cxnSp>
        <p:nvCxnSpPr>
          <p:cNvPr id="114" name="Connector: Elbow 113">
            <a:extLst>
              <a:ext uri="{FF2B5EF4-FFF2-40B4-BE49-F238E27FC236}">
                <a16:creationId xmlns:a16="http://schemas.microsoft.com/office/drawing/2014/main" id="{21BE9047-D813-AF43-9CD9-61419303F84E}"/>
              </a:ext>
            </a:extLst>
          </p:cNvPr>
          <p:cNvCxnSpPr>
            <a:cxnSpLocks/>
          </p:cNvCxnSpPr>
          <p:nvPr/>
        </p:nvCxnSpPr>
        <p:spPr>
          <a:xfrm rot="5400000">
            <a:off x="2920640" y="382109"/>
            <a:ext cx="1142832" cy="5218301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or: Elbow 116">
            <a:extLst>
              <a:ext uri="{FF2B5EF4-FFF2-40B4-BE49-F238E27FC236}">
                <a16:creationId xmlns:a16="http://schemas.microsoft.com/office/drawing/2014/main" id="{584D9C33-6C5C-C0E3-00F0-E6A72952CFB4}"/>
              </a:ext>
            </a:extLst>
          </p:cNvPr>
          <p:cNvCxnSpPr>
            <a:cxnSpLocks/>
          </p:cNvCxnSpPr>
          <p:nvPr/>
        </p:nvCxnSpPr>
        <p:spPr>
          <a:xfrm rot="5400000">
            <a:off x="3657128" y="1116919"/>
            <a:ext cx="1141155" cy="3747003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Connector: Elbow 119">
            <a:extLst>
              <a:ext uri="{FF2B5EF4-FFF2-40B4-BE49-F238E27FC236}">
                <a16:creationId xmlns:a16="http://schemas.microsoft.com/office/drawing/2014/main" id="{42F5DC40-E574-2940-CEF4-23F9DF02B258}"/>
              </a:ext>
            </a:extLst>
          </p:cNvPr>
          <p:cNvCxnSpPr>
            <a:cxnSpLocks/>
          </p:cNvCxnSpPr>
          <p:nvPr/>
        </p:nvCxnSpPr>
        <p:spPr>
          <a:xfrm rot="5400000">
            <a:off x="4400915" y="1844428"/>
            <a:ext cx="1124878" cy="2275705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Connector: Elbow 122">
            <a:extLst>
              <a:ext uri="{FF2B5EF4-FFF2-40B4-BE49-F238E27FC236}">
                <a16:creationId xmlns:a16="http://schemas.microsoft.com/office/drawing/2014/main" id="{EDE52E5D-134F-7EC1-75CF-53D193F3E29F}"/>
              </a:ext>
            </a:extLst>
          </p:cNvPr>
          <p:cNvCxnSpPr>
            <a:cxnSpLocks/>
          </p:cNvCxnSpPr>
          <p:nvPr/>
        </p:nvCxnSpPr>
        <p:spPr>
          <a:xfrm rot="5400000">
            <a:off x="5128426" y="2588217"/>
            <a:ext cx="1141155" cy="804407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Connector: Elbow 125">
            <a:extLst>
              <a:ext uri="{FF2B5EF4-FFF2-40B4-BE49-F238E27FC236}">
                <a16:creationId xmlns:a16="http://schemas.microsoft.com/office/drawing/2014/main" id="{241B83B6-DDB4-11D4-ADFC-FDC7299F2776}"/>
              </a:ext>
            </a:extLst>
          </p:cNvPr>
          <p:cNvCxnSpPr>
            <a:cxnSpLocks/>
          </p:cNvCxnSpPr>
          <p:nvPr/>
        </p:nvCxnSpPr>
        <p:spPr>
          <a:xfrm rot="16200000" flipH="1">
            <a:off x="5864074" y="2656974"/>
            <a:ext cx="1141155" cy="666891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nector: Elbow 128">
            <a:extLst>
              <a:ext uri="{FF2B5EF4-FFF2-40B4-BE49-F238E27FC236}">
                <a16:creationId xmlns:a16="http://schemas.microsoft.com/office/drawing/2014/main" id="{FE04C103-304C-11AB-B4A5-3BEF9FB25A6F}"/>
              </a:ext>
            </a:extLst>
          </p:cNvPr>
          <p:cNvCxnSpPr>
            <a:cxnSpLocks/>
          </p:cNvCxnSpPr>
          <p:nvPr/>
        </p:nvCxnSpPr>
        <p:spPr>
          <a:xfrm rot="16200000" flipH="1">
            <a:off x="6599625" y="1921423"/>
            <a:ext cx="1141350" cy="2138189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Connector: Elbow 131">
            <a:extLst>
              <a:ext uri="{FF2B5EF4-FFF2-40B4-BE49-F238E27FC236}">
                <a16:creationId xmlns:a16="http://schemas.microsoft.com/office/drawing/2014/main" id="{D8348D1B-093D-302F-55DC-0C0809F1A07A}"/>
              </a:ext>
            </a:extLst>
          </p:cNvPr>
          <p:cNvCxnSpPr>
            <a:cxnSpLocks/>
          </p:cNvCxnSpPr>
          <p:nvPr/>
        </p:nvCxnSpPr>
        <p:spPr>
          <a:xfrm rot="16200000" flipH="1">
            <a:off x="7335372" y="1185676"/>
            <a:ext cx="1141154" cy="3609487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Connector: Elbow 134">
            <a:extLst>
              <a:ext uri="{FF2B5EF4-FFF2-40B4-BE49-F238E27FC236}">
                <a16:creationId xmlns:a16="http://schemas.microsoft.com/office/drawing/2014/main" id="{37E5196E-4DFB-E0E7-967A-1C8746AD0036}"/>
              </a:ext>
            </a:extLst>
          </p:cNvPr>
          <p:cNvCxnSpPr>
            <a:cxnSpLocks/>
          </p:cNvCxnSpPr>
          <p:nvPr/>
        </p:nvCxnSpPr>
        <p:spPr>
          <a:xfrm rot="16200000" flipH="1">
            <a:off x="8071021" y="450028"/>
            <a:ext cx="1141155" cy="5080784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9" name="Graphic 2">
            <a:extLst>
              <a:ext uri="{FF2B5EF4-FFF2-40B4-BE49-F238E27FC236}">
                <a16:creationId xmlns:a16="http://schemas.microsoft.com/office/drawing/2014/main" id="{BB2D9560-FE7D-3B81-7CF0-D95DCCA9F07F}"/>
              </a:ext>
            </a:extLst>
          </p:cNvPr>
          <p:cNvGrpSpPr/>
          <p:nvPr/>
        </p:nvGrpSpPr>
        <p:grpSpPr>
          <a:xfrm rot="10800000">
            <a:off x="3563560" y="3158900"/>
            <a:ext cx="520814" cy="497094"/>
            <a:chOff x="7297304" y="1696307"/>
            <a:chExt cx="1845445" cy="1752199"/>
          </a:xfrm>
          <a:solidFill>
            <a:srgbClr val="FA5000"/>
          </a:solidFill>
        </p:grpSpPr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81A043DD-50AE-B23F-56D8-43708A6D4C59}"/>
                </a:ext>
              </a:extLst>
            </p:cNvPr>
            <p:cNvSpPr/>
            <p:nvPr/>
          </p:nvSpPr>
          <p:spPr>
            <a:xfrm>
              <a:off x="7297304" y="2516653"/>
              <a:ext cx="1773228" cy="931853"/>
            </a:xfrm>
            <a:custGeom>
              <a:avLst/>
              <a:gdLst>
                <a:gd name="connsiteX0" fmla="*/ 1761142 w 1773228"/>
                <a:gd name="connsiteY0" fmla="*/ 244684 h 931853"/>
                <a:gd name="connsiteX1" fmla="*/ 1741977 w 1773228"/>
                <a:gd name="connsiteY1" fmla="*/ 256319 h 931853"/>
                <a:gd name="connsiteX2" fmla="*/ 721490 w 1773228"/>
                <a:gd name="connsiteY2" fmla="*/ 875388 h 931853"/>
                <a:gd name="connsiteX3" fmla="*/ 80521 w 1773228"/>
                <a:gd name="connsiteY3" fmla="*/ 119775 h 931853"/>
                <a:gd name="connsiteX4" fmla="*/ 121245 w 1773228"/>
                <a:gd name="connsiteY4" fmla="*/ 75972 h 931853"/>
                <a:gd name="connsiteX5" fmla="*/ 76072 w 1773228"/>
                <a:gd name="connsiteY5" fmla="*/ 1711 h 931853"/>
                <a:gd name="connsiteX6" fmla="*/ 61357 w 1773228"/>
                <a:gd name="connsiteY6" fmla="*/ 0 h 931853"/>
                <a:gd name="connsiteX7" fmla="*/ 1811 w 1773228"/>
                <a:gd name="connsiteY7" fmla="*/ 46884 h 931853"/>
                <a:gd name="connsiteX8" fmla="*/ 46984 w 1773228"/>
                <a:gd name="connsiteY8" fmla="*/ 121144 h 931853"/>
                <a:gd name="connsiteX9" fmla="*/ 48695 w 1773228"/>
                <a:gd name="connsiteY9" fmla="*/ 121487 h 931853"/>
                <a:gd name="connsiteX10" fmla="*/ 108925 w 1773228"/>
                <a:gd name="connsiteY10" fmla="*/ 380886 h 931853"/>
                <a:gd name="connsiteX11" fmla="*/ 247522 w 1773228"/>
                <a:gd name="connsiteY11" fmla="*/ 614277 h 931853"/>
                <a:gd name="connsiteX12" fmla="*/ 713962 w 1773228"/>
                <a:gd name="connsiteY12" fmla="*/ 906529 h 931853"/>
                <a:gd name="connsiteX13" fmla="*/ 922713 w 1773228"/>
                <a:gd name="connsiteY13" fmla="*/ 931853 h 931853"/>
                <a:gd name="connsiteX14" fmla="*/ 1061311 w 1773228"/>
                <a:gd name="connsiteY14" fmla="*/ 920560 h 931853"/>
                <a:gd name="connsiteX15" fmla="*/ 1376492 w 1773228"/>
                <a:gd name="connsiteY15" fmla="*/ 804549 h 931853"/>
                <a:gd name="connsiteX16" fmla="*/ 1624940 w 1773228"/>
                <a:gd name="connsiteY16" fmla="*/ 578687 h 931853"/>
                <a:gd name="connsiteX17" fmla="*/ 1772777 w 1773228"/>
                <a:gd name="connsiteY17" fmla="*/ 263848 h 931853"/>
                <a:gd name="connsiteX18" fmla="*/ 1761142 w 1773228"/>
                <a:gd name="connsiteY18" fmla="*/ 244684 h 931853"/>
                <a:gd name="connsiteX19" fmla="*/ 32610 w 1773228"/>
                <a:gd name="connsiteY19" fmla="*/ 54412 h 931853"/>
                <a:gd name="connsiteX20" fmla="*/ 61357 w 1773228"/>
                <a:gd name="connsiteY20" fmla="*/ 31826 h 931853"/>
                <a:gd name="connsiteX21" fmla="*/ 68543 w 1773228"/>
                <a:gd name="connsiteY21" fmla="*/ 32853 h 931853"/>
                <a:gd name="connsiteX22" fmla="*/ 90103 w 1773228"/>
                <a:gd name="connsiteY22" fmla="*/ 68443 h 931853"/>
                <a:gd name="connsiteX23" fmla="*/ 61357 w 1773228"/>
                <a:gd name="connsiteY23" fmla="*/ 91029 h 931853"/>
                <a:gd name="connsiteX24" fmla="*/ 54170 w 1773228"/>
                <a:gd name="connsiteY24" fmla="*/ 90003 h 931853"/>
                <a:gd name="connsiteX25" fmla="*/ 32610 w 1773228"/>
                <a:gd name="connsiteY25" fmla="*/ 54412 h 931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773228" h="931853">
                  <a:moveTo>
                    <a:pt x="1761142" y="244684"/>
                  </a:moveTo>
                  <a:cubicBezTo>
                    <a:pt x="1752586" y="242631"/>
                    <a:pt x="1744031" y="247764"/>
                    <a:pt x="1741977" y="256319"/>
                  </a:cubicBezTo>
                  <a:cubicBezTo>
                    <a:pt x="1631442" y="708386"/>
                    <a:pt x="1173558" y="986265"/>
                    <a:pt x="721490" y="875388"/>
                  </a:cubicBezTo>
                  <a:cubicBezTo>
                    <a:pt x="364559" y="788123"/>
                    <a:pt x="108240" y="484920"/>
                    <a:pt x="80521" y="119775"/>
                  </a:cubicBezTo>
                  <a:cubicBezTo>
                    <a:pt x="100369" y="113273"/>
                    <a:pt x="116111" y="97189"/>
                    <a:pt x="121245" y="75972"/>
                  </a:cubicBezTo>
                  <a:cubicBezTo>
                    <a:pt x="129458" y="43119"/>
                    <a:pt x="108925" y="9924"/>
                    <a:pt x="76072" y="1711"/>
                  </a:cubicBezTo>
                  <a:cubicBezTo>
                    <a:pt x="71281" y="684"/>
                    <a:pt x="66490" y="0"/>
                    <a:pt x="61357" y="0"/>
                  </a:cubicBezTo>
                  <a:cubicBezTo>
                    <a:pt x="32953" y="0"/>
                    <a:pt x="8314" y="19164"/>
                    <a:pt x="1811" y="46884"/>
                  </a:cubicBezTo>
                  <a:cubicBezTo>
                    <a:pt x="-6402" y="79736"/>
                    <a:pt x="14131" y="112931"/>
                    <a:pt x="46984" y="121144"/>
                  </a:cubicBezTo>
                  <a:cubicBezTo>
                    <a:pt x="47668" y="121144"/>
                    <a:pt x="48010" y="121487"/>
                    <a:pt x="48695" y="121487"/>
                  </a:cubicBezTo>
                  <a:cubicBezTo>
                    <a:pt x="55539" y="210463"/>
                    <a:pt x="75730" y="297728"/>
                    <a:pt x="108925" y="380886"/>
                  </a:cubicBezTo>
                  <a:cubicBezTo>
                    <a:pt x="142804" y="465413"/>
                    <a:pt x="189345" y="544123"/>
                    <a:pt x="247522" y="614277"/>
                  </a:cubicBezTo>
                  <a:cubicBezTo>
                    <a:pt x="368324" y="760403"/>
                    <a:pt x="529508" y="861357"/>
                    <a:pt x="713962" y="906529"/>
                  </a:cubicBezTo>
                  <a:cubicBezTo>
                    <a:pt x="783089" y="923298"/>
                    <a:pt x="852902" y="931853"/>
                    <a:pt x="922713" y="931853"/>
                  </a:cubicBezTo>
                  <a:cubicBezTo>
                    <a:pt x="968912" y="931853"/>
                    <a:pt x="1015454" y="928089"/>
                    <a:pt x="1061311" y="920560"/>
                  </a:cubicBezTo>
                  <a:cubicBezTo>
                    <a:pt x="1173215" y="902422"/>
                    <a:pt x="1278960" y="863410"/>
                    <a:pt x="1376492" y="804549"/>
                  </a:cubicBezTo>
                  <a:cubicBezTo>
                    <a:pt x="1473680" y="745688"/>
                    <a:pt x="1557523" y="669716"/>
                    <a:pt x="1624940" y="578687"/>
                  </a:cubicBezTo>
                  <a:cubicBezTo>
                    <a:pt x="1695094" y="484577"/>
                    <a:pt x="1744715" y="378833"/>
                    <a:pt x="1772777" y="263848"/>
                  </a:cubicBezTo>
                  <a:cubicBezTo>
                    <a:pt x="1774830" y="255293"/>
                    <a:pt x="1769697" y="246737"/>
                    <a:pt x="1761142" y="244684"/>
                  </a:cubicBezTo>
                  <a:close/>
                  <a:moveTo>
                    <a:pt x="32610" y="54412"/>
                  </a:moveTo>
                  <a:cubicBezTo>
                    <a:pt x="36032" y="41066"/>
                    <a:pt x="47668" y="31826"/>
                    <a:pt x="61357" y="31826"/>
                  </a:cubicBezTo>
                  <a:cubicBezTo>
                    <a:pt x="63752" y="31826"/>
                    <a:pt x="66148" y="32168"/>
                    <a:pt x="68543" y="32853"/>
                  </a:cubicBezTo>
                  <a:cubicBezTo>
                    <a:pt x="84285" y="36617"/>
                    <a:pt x="94209" y="52701"/>
                    <a:pt x="90103" y="68443"/>
                  </a:cubicBezTo>
                  <a:cubicBezTo>
                    <a:pt x="86681" y="81790"/>
                    <a:pt x="75046" y="91029"/>
                    <a:pt x="61357" y="91029"/>
                  </a:cubicBezTo>
                  <a:cubicBezTo>
                    <a:pt x="58962" y="91029"/>
                    <a:pt x="56565" y="90687"/>
                    <a:pt x="54170" y="90003"/>
                  </a:cubicBezTo>
                  <a:cubicBezTo>
                    <a:pt x="38429" y="86238"/>
                    <a:pt x="28846" y="70154"/>
                    <a:pt x="32610" y="54412"/>
                  </a:cubicBezTo>
                  <a:close/>
                </a:path>
              </a:pathLst>
            </a:custGeom>
            <a:solidFill>
              <a:schemeClr val="tx2"/>
            </a:solidFill>
            <a:ln w="342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y-AM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CE16A50D-96DD-62CC-6555-F8E27751BB72}"/>
                </a:ext>
              </a:extLst>
            </p:cNvPr>
            <p:cNvSpPr/>
            <p:nvPr/>
          </p:nvSpPr>
          <p:spPr>
            <a:xfrm>
              <a:off x="7367791" y="1696307"/>
              <a:ext cx="1774958" cy="945939"/>
            </a:xfrm>
            <a:custGeom>
              <a:avLst/>
              <a:gdLst>
                <a:gd name="connsiteX0" fmla="*/ 1727955 w 1774958"/>
                <a:gd name="connsiteY0" fmla="*/ 825137 h 945939"/>
                <a:gd name="connsiteX1" fmla="*/ 1725903 w 1774958"/>
                <a:gd name="connsiteY1" fmla="*/ 824795 h 945939"/>
                <a:gd name="connsiteX2" fmla="*/ 1669437 w 1774958"/>
                <a:gd name="connsiteY2" fmla="*/ 563000 h 945939"/>
                <a:gd name="connsiteX3" fmla="*/ 1531524 w 1774958"/>
                <a:gd name="connsiteY3" fmla="*/ 324134 h 945939"/>
                <a:gd name="connsiteX4" fmla="*/ 1324484 w 1774958"/>
                <a:gd name="connsiteY4" fmla="*/ 138653 h 945939"/>
                <a:gd name="connsiteX5" fmla="*/ 1059609 w 1774958"/>
                <a:gd name="connsiteY5" fmla="*/ 25379 h 945939"/>
                <a:gd name="connsiteX6" fmla="*/ 711918 w 1774958"/>
                <a:gd name="connsiteY6" fmla="*/ 11006 h 945939"/>
                <a:gd name="connsiteX7" fmla="*/ 396737 w 1774958"/>
                <a:gd name="connsiteY7" fmla="*/ 127017 h 945939"/>
                <a:gd name="connsiteX8" fmla="*/ 148289 w 1774958"/>
                <a:gd name="connsiteY8" fmla="*/ 352880 h 945939"/>
                <a:gd name="connsiteX9" fmla="*/ 452 w 1774958"/>
                <a:gd name="connsiteY9" fmla="*/ 667718 h 945939"/>
                <a:gd name="connsiteX10" fmla="*/ 12087 w 1774958"/>
                <a:gd name="connsiteY10" fmla="*/ 686882 h 945939"/>
                <a:gd name="connsiteX11" fmla="*/ 15851 w 1774958"/>
                <a:gd name="connsiteY11" fmla="*/ 687224 h 945939"/>
                <a:gd name="connsiteX12" fmla="*/ 31251 w 1774958"/>
                <a:gd name="connsiteY12" fmla="*/ 675247 h 945939"/>
                <a:gd name="connsiteX13" fmla="*/ 1052080 w 1774958"/>
                <a:gd name="connsiteY13" fmla="*/ 55837 h 945939"/>
                <a:gd name="connsiteX14" fmla="*/ 1694076 w 1774958"/>
                <a:gd name="connsiteY14" fmla="*/ 826164 h 945939"/>
                <a:gd name="connsiteX15" fmla="*/ 1653695 w 1774958"/>
                <a:gd name="connsiteY15" fmla="*/ 869967 h 945939"/>
                <a:gd name="connsiteX16" fmla="*/ 1698867 w 1774958"/>
                <a:gd name="connsiteY16" fmla="*/ 944228 h 945939"/>
                <a:gd name="connsiteX17" fmla="*/ 1713582 w 1774958"/>
                <a:gd name="connsiteY17" fmla="*/ 945939 h 945939"/>
                <a:gd name="connsiteX18" fmla="*/ 1773128 w 1774958"/>
                <a:gd name="connsiteY18" fmla="*/ 899056 h 945939"/>
                <a:gd name="connsiteX19" fmla="*/ 1727955 w 1774958"/>
                <a:gd name="connsiteY19" fmla="*/ 825137 h 945939"/>
                <a:gd name="connsiteX20" fmla="*/ 1742329 w 1774958"/>
                <a:gd name="connsiteY20" fmla="*/ 891869 h 945939"/>
                <a:gd name="connsiteX21" fmla="*/ 1713582 w 1774958"/>
                <a:gd name="connsiteY21" fmla="*/ 914455 h 945939"/>
                <a:gd name="connsiteX22" fmla="*/ 1706396 w 1774958"/>
                <a:gd name="connsiteY22" fmla="*/ 913429 h 945939"/>
                <a:gd name="connsiteX23" fmla="*/ 1684837 w 1774958"/>
                <a:gd name="connsiteY23" fmla="*/ 877838 h 945939"/>
                <a:gd name="connsiteX24" fmla="*/ 1713582 w 1774958"/>
                <a:gd name="connsiteY24" fmla="*/ 855252 h 945939"/>
                <a:gd name="connsiteX25" fmla="*/ 1720769 w 1774958"/>
                <a:gd name="connsiteY25" fmla="*/ 856279 h 945939"/>
                <a:gd name="connsiteX26" fmla="*/ 1742329 w 1774958"/>
                <a:gd name="connsiteY26" fmla="*/ 891869 h 945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774958" h="945939">
                  <a:moveTo>
                    <a:pt x="1727955" y="825137"/>
                  </a:moveTo>
                  <a:cubicBezTo>
                    <a:pt x="1727271" y="825137"/>
                    <a:pt x="1726587" y="824795"/>
                    <a:pt x="1725903" y="824795"/>
                  </a:cubicBezTo>
                  <a:cubicBezTo>
                    <a:pt x="1720769" y="735134"/>
                    <a:pt x="1701605" y="647185"/>
                    <a:pt x="1669437" y="563000"/>
                  </a:cubicBezTo>
                  <a:cubicBezTo>
                    <a:pt x="1636242" y="476419"/>
                    <a:pt x="1590043" y="396341"/>
                    <a:pt x="1531524" y="324134"/>
                  </a:cubicBezTo>
                  <a:cubicBezTo>
                    <a:pt x="1472663" y="251242"/>
                    <a:pt x="1402851" y="188958"/>
                    <a:pt x="1324484" y="138653"/>
                  </a:cubicBezTo>
                  <a:cubicBezTo>
                    <a:pt x="1243379" y="86636"/>
                    <a:pt x="1154060" y="48308"/>
                    <a:pt x="1059609" y="25379"/>
                  </a:cubicBezTo>
                  <a:cubicBezTo>
                    <a:pt x="944624" y="-2682"/>
                    <a:pt x="827928" y="-7473"/>
                    <a:pt x="711918" y="11006"/>
                  </a:cubicBezTo>
                  <a:cubicBezTo>
                    <a:pt x="600013" y="29144"/>
                    <a:pt x="494268" y="68156"/>
                    <a:pt x="396737" y="127017"/>
                  </a:cubicBezTo>
                  <a:cubicBezTo>
                    <a:pt x="299205" y="185878"/>
                    <a:pt x="215705" y="261850"/>
                    <a:pt x="148289" y="352880"/>
                  </a:cubicBezTo>
                  <a:cubicBezTo>
                    <a:pt x="78135" y="446989"/>
                    <a:pt x="28513" y="552734"/>
                    <a:pt x="452" y="667718"/>
                  </a:cubicBezTo>
                  <a:cubicBezTo>
                    <a:pt x="-1602" y="676273"/>
                    <a:pt x="3531" y="684829"/>
                    <a:pt x="12087" y="686882"/>
                  </a:cubicBezTo>
                  <a:cubicBezTo>
                    <a:pt x="13455" y="687224"/>
                    <a:pt x="14482" y="687224"/>
                    <a:pt x="15851" y="687224"/>
                  </a:cubicBezTo>
                  <a:cubicBezTo>
                    <a:pt x="23037" y="687224"/>
                    <a:pt x="29540" y="682433"/>
                    <a:pt x="31251" y="675247"/>
                  </a:cubicBezTo>
                  <a:cubicBezTo>
                    <a:pt x="142471" y="223180"/>
                    <a:pt x="600013" y="-54699"/>
                    <a:pt x="1052080" y="55837"/>
                  </a:cubicBezTo>
                  <a:cubicBezTo>
                    <a:pt x="1410037" y="143444"/>
                    <a:pt x="1672859" y="459309"/>
                    <a:pt x="1694076" y="826164"/>
                  </a:cubicBezTo>
                  <a:cubicBezTo>
                    <a:pt x="1674228" y="832666"/>
                    <a:pt x="1658828" y="848750"/>
                    <a:pt x="1653695" y="869967"/>
                  </a:cubicBezTo>
                  <a:cubicBezTo>
                    <a:pt x="1645482" y="902820"/>
                    <a:pt x="1666015" y="936015"/>
                    <a:pt x="1698867" y="944228"/>
                  </a:cubicBezTo>
                  <a:cubicBezTo>
                    <a:pt x="1703659" y="945255"/>
                    <a:pt x="1708449" y="945939"/>
                    <a:pt x="1713582" y="945939"/>
                  </a:cubicBezTo>
                  <a:cubicBezTo>
                    <a:pt x="1741987" y="945939"/>
                    <a:pt x="1766626" y="926775"/>
                    <a:pt x="1773128" y="899056"/>
                  </a:cubicBezTo>
                  <a:cubicBezTo>
                    <a:pt x="1781341" y="866545"/>
                    <a:pt x="1761151" y="833008"/>
                    <a:pt x="1727955" y="825137"/>
                  </a:cubicBezTo>
                  <a:close/>
                  <a:moveTo>
                    <a:pt x="1742329" y="891869"/>
                  </a:moveTo>
                  <a:cubicBezTo>
                    <a:pt x="1738907" y="905216"/>
                    <a:pt x="1727271" y="914455"/>
                    <a:pt x="1713582" y="914455"/>
                  </a:cubicBezTo>
                  <a:cubicBezTo>
                    <a:pt x="1711187" y="914455"/>
                    <a:pt x="1708792" y="914113"/>
                    <a:pt x="1706396" y="913429"/>
                  </a:cubicBezTo>
                  <a:cubicBezTo>
                    <a:pt x="1690654" y="909664"/>
                    <a:pt x="1680730" y="893580"/>
                    <a:pt x="1684837" y="877838"/>
                  </a:cubicBezTo>
                  <a:cubicBezTo>
                    <a:pt x="1688259" y="864492"/>
                    <a:pt x="1699894" y="855252"/>
                    <a:pt x="1713582" y="855252"/>
                  </a:cubicBezTo>
                  <a:cubicBezTo>
                    <a:pt x="1715978" y="855252"/>
                    <a:pt x="1718374" y="855594"/>
                    <a:pt x="1720769" y="856279"/>
                  </a:cubicBezTo>
                  <a:cubicBezTo>
                    <a:pt x="1736511" y="860043"/>
                    <a:pt x="1746093" y="875785"/>
                    <a:pt x="1742329" y="891869"/>
                  </a:cubicBezTo>
                  <a:close/>
                </a:path>
              </a:pathLst>
            </a:custGeom>
            <a:solidFill>
              <a:schemeClr val="tx2"/>
            </a:solidFill>
            <a:ln w="342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y-AM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92" name="Graphic 2">
            <a:extLst>
              <a:ext uri="{FF2B5EF4-FFF2-40B4-BE49-F238E27FC236}">
                <a16:creationId xmlns:a16="http://schemas.microsoft.com/office/drawing/2014/main" id="{E0DE659A-FA8F-2E34-9BC7-4CCFCF147882}"/>
              </a:ext>
            </a:extLst>
          </p:cNvPr>
          <p:cNvGrpSpPr/>
          <p:nvPr/>
        </p:nvGrpSpPr>
        <p:grpSpPr>
          <a:xfrm rot="10800000">
            <a:off x="6484859" y="3263204"/>
            <a:ext cx="520814" cy="497094"/>
            <a:chOff x="7297304" y="1696307"/>
            <a:chExt cx="1845445" cy="1752199"/>
          </a:xfrm>
          <a:solidFill>
            <a:srgbClr val="FA5000"/>
          </a:solidFill>
        </p:grpSpPr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01890398-E4F1-6DB7-F8B8-506BA511AF84}"/>
                </a:ext>
              </a:extLst>
            </p:cNvPr>
            <p:cNvSpPr/>
            <p:nvPr/>
          </p:nvSpPr>
          <p:spPr>
            <a:xfrm>
              <a:off x="7297304" y="2516653"/>
              <a:ext cx="1773228" cy="931853"/>
            </a:xfrm>
            <a:custGeom>
              <a:avLst/>
              <a:gdLst>
                <a:gd name="connsiteX0" fmla="*/ 1761142 w 1773228"/>
                <a:gd name="connsiteY0" fmla="*/ 244684 h 931853"/>
                <a:gd name="connsiteX1" fmla="*/ 1741977 w 1773228"/>
                <a:gd name="connsiteY1" fmla="*/ 256319 h 931853"/>
                <a:gd name="connsiteX2" fmla="*/ 721490 w 1773228"/>
                <a:gd name="connsiteY2" fmla="*/ 875388 h 931853"/>
                <a:gd name="connsiteX3" fmla="*/ 80521 w 1773228"/>
                <a:gd name="connsiteY3" fmla="*/ 119775 h 931853"/>
                <a:gd name="connsiteX4" fmla="*/ 121245 w 1773228"/>
                <a:gd name="connsiteY4" fmla="*/ 75972 h 931853"/>
                <a:gd name="connsiteX5" fmla="*/ 76072 w 1773228"/>
                <a:gd name="connsiteY5" fmla="*/ 1711 h 931853"/>
                <a:gd name="connsiteX6" fmla="*/ 61357 w 1773228"/>
                <a:gd name="connsiteY6" fmla="*/ 0 h 931853"/>
                <a:gd name="connsiteX7" fmla="*/ 1811 w 1773228"/>
                <a:gd name="connsiteY7" fmla="*/ 46884 h 931853"/>
                <a:gd name="connsiteX8" fmla="*/ 46984 w 1773228"/>
                <a:gd name="connsiteY8" fmla="*/ 121144 h 931853"/>
                <a:gd name="connsiteX9" fmla="*/ 48695 w 1773228"/>
                <a:gd name="connsiteY9" fmla="*/ 121487 h 931853"/>
                <a:gd name="connsiteX10" fmla="*/ 108925 w 1773228"/>
                <a:gd name="connsiteY10" fmla="*/ 380886 h 931853"/>
                <a:gd name="connsiteX11" fmla="*/ 247522 w 1773228"/>
                <a:gd name="connsiteY11" fmla="*/ 614277 h 931853"/>
                <a:gd name="connsiteX12" fmla="*/ 713962 w 1773228"/>
                <a:gd name="connsiteY12" fmla="*/ 906529 h 931853"/>
                <a:gd name="connsiteX13" fmla="*/ 922713 w 1773228"/>
                <a:gd name="connsiteY13" fmla="*/ 931853 h 931853"/>
                <a:gd name="connsiteX14" fmla="*/ 1061311 w 1773228"/>
                <a:gd name="connsiteY14" fmla="*/ 920560 h 931853"/>
                <a:gd name="connsiteX15" fmla="*/ 1376492 w 1773228"/>
                <a:gd name="connsiteY15" fmla="*/ 804549 h 931853"/>
                <a:gd name="connsiteX16" fmla="*/ 1624940 w 1773228"/>
                <a:gd name="connsiteY16" fmla="*/ 578687 h 931853"/>
                <a:gd name="connsiteX17" fmla="*/ 1772777 w 1773228"/>
                <a:gd name="connsiteY17" fmla="*/ 263848 h 931853"/>
                <a:gd name="connsiteX18" fmla="*/ 1761142 w 1773228"/>
                <a:gd name="connsiteY18" fmla="*/ 244684 h 931853"/>
                <a:gd name="connsiteX19" fmla="*/ 32610 w 1773228"/>
                <a:gd name="connsiteY19" fmla="*/ 54412 h 931853"/>
                <a:gd name="connsiteX20" fmla="*/ 61357 w 1773228"/>
                <a:gd name="connsiteY20" fmla="*/ 31826 h 931853"/>
                <a:gd name="connsiteX21" fmla="*/ 68543 w 1773228"/>
                <a:gd name="connsiteY21" fmla="*/ 32853 h 931853"/>
                <a:gd name="connsiteX22" fmla="*/ 90103 w 1773228"/>
                <a:gd name="connsiteY22" fmla="*/ 68443 h 931853"/>
                <a:gd name="connsiteX23" fmla="*/ 61357 w 1773228"/>
                <a:gd name="connsiteY23" fmla="*/ 91029 h 931853"/>
                <a:gd name="connsiteX24" fmla="*/ 54170 w 1773228"/>
                <a:gd name="connsiteY24" fmla="*/ 90003 h 931853"/>
                <a:gd name="connsiteX25" fmla="*/ 32610 w 1773228"/>
                <a:gd name="connsiteY25" fmla="*/ 54412 h 931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773228" h="931853">
                  <a:moveTo>
                    <a:pt x="1761142" y="244684"/>
                  </a:moveTo>
                  <a:cubicBezTo>
                    <a:pt x="1752586" y="242631"/>
                    <a:pt x="1744031" y="247764"/>
                    <a:pt x="1741977" y="256319"/>
                  </a:cubicBezTo>
                  <a:cubicBezTo>
                    <a:pt x="1631442" y="708386"/>
                    <a:pt x="1173558" y="986265"/>
                    <a:pt x="721490" y="875388"/>
                  </a:cubicBezTo>
                  <a:cubicBezTo>
                    <a:pt x="364559" y="788123"/>
                    <a:pt x="108240" y="484920"/>
                    <a:pt x="80521" y="119775"/>
                  </a:cubicBezTo>
                  <a:cubicBezTo>
                    <a:pt x="100369" y="113273"/>
                    <a:pt x="116111" y="97189"/>
                    <a:pt x="121245" y="75972"/>
                  </a:cubicBezTo>
                  <a:cubicBezTo>
                    <a:pt x="129458" y="43119"/>
                    <a:pt x="108925" y="9924"/>
                    <a:pt x="76072" y="1711"/>
                  </a:cubicBezTo>
                  <a:cubicBezTo>
                    <a:pt x="71281" y="684"/>
                    <a:pt x="66490" y="0"/>
                    <a:pt x="61357" y="0"/>
                  </a:cubicBezTo>
                  <a:cubicBezTo>
                    <a:pt x="32953" y="0"/>
                    <a:pt x="8314" y="19164"/>
                    <a:pt x="1811" y="46884"/>
                  </a:cubicBezTo>
                  <a:cubicBezTo>
                    <a:pt x="-6402" y="79736"/>
                    <a:pt x="14131" y="112931"/>
                    <a:pt x="46984" y="121144"/>
                  </a:cubicBezTo>
                  <a:cubicBezTo>
                    <a:pt x="47668" y="121144"/>
                    <a:pt x="48010" y="121487"/>
                    <a:pt x="48695" y="121487"/>
                  </a:cubicBezTo>
                  <a:cubicBezTo>
                    <a:pt x="55539" y="210463"/>
                    <a:pt x="75730" y="297728"/>
                    <a:pt x="108925" y="380886"/>
                  </a:cubicBezTo>
                  <a:cubicBezTo>
                    <a:pt x="142804" y="465413"/>
                    <a:pt x="189345" y="544123"/>
                    <a:pt x="247522" y="614277"/>
                  </a:cubicBezTo>
                  <a:cubicBezTo>
                    <a:pt x="368324" y="760403"/>
                    <a:pt x="529508" y="861357"/>
                    <a:pt x="713962" y="906529"/>
                  </a:cubicBezTo>
                  <a:cubicBezTo>
                    <a:pt x="783089" y="923298"/>
                    <a:pt x="852902" y="931853"/>
                    <a:pt x="922713" y="931853"/>
                  </a:cubicBezTo>
                  <a:cubicBezTo>
                    <a:pt x="968912" y="931853"/>
                    <a:pt x="1015454" y="928089"/>
                    <a:pt x="1061311" y="920560"/>
                  </a:cubicBezTo>
                  <a:cubicBezTo>
                    <a:pt x="1173215" y="902422"/>
                    <a:pt x="1278960" y="863410"/>
                    <a:pt x="1376492" y="804549"/>
                  </a:cubicBezTo>
                  <a:cubicBezTo>
                    <a:pt x="1473680" y="745688"/>
                    <a:pt x="1557523" y="669716"/>
                    <a:pt x="1624940" y="578687"/>
                  </a:cubicBezTo>
                  <a:cubicBezTo>
                    <a:pt x="1695094" y="484577"/>
                    <a:pt x="1744715" y="378833"/>
                    <a:pt x="1772777" y="263848"/>
                  </a:cubicBezTo>
                  <a:cubicBezTo>
                    <a:pt x="1774830" y="255293"/>
                    <a:pt x="1769697" y="246737"/>
                    <a:pt x="1761142" y="244684"/>
                  </a:cubicBezTo>
                  <a:close/>
                  <a:moveTo>
                    <a:pt x="32610" y="54412"/>
                  </a:moveTo>
                  <a:cubicBezTo>
                    <a:pt x="36032" y="41066"/>
                    <a:pt x="47668" y="31826"/>
                    <a:pt x="61357" y="31826"/>
                  </a:cubicBezTo>
                  <a:cubicBezTo>
                    <a:pt x="63752" y="31826"/>
                    <a:pt x="66148" y="32168"/>
                    <a:pt x="68543" y="32853"/>
                  </a:cubicBezTo>
                  <a:cubicBezTo>
                    <a:pt x="84285" y="36617"/>
                    <a:pt x="94209" y="52701"/>
                    <a:pt x="90103" y="68443"/>
                  </a:cubicBezTo>
                  <a:cubicBezTo>
                    <a:pt x="86681" y="81790"/>
                    <a:pt x="75046" y="91029"/>
                    <a:pt x="61357" y="91029"/>
                  </a:cubicBezTo>
                  <a:cubicBezTo>
                    <a:pt x="58962" y="91029"/>
                    <a:pt x="56565" y="90687"/>
                    <a:pt x="54170" y="90003"/>
                  </a:cubicBezTo>
                  <a:cubicBezTo>
                    <a:pt x="38429" y="86238"/>
                    <a:pt x="28846" y="70154"/>
                    <a:pt x="32610" y="54412"/>
                  </a:cubicBezTo>
                  <a:close/>
                </a:path>
              </a:pathLst>
            </a:custGeom>
            <a:solidFill>
              <a:schemeClr val="tx2"/>
            </a:solidFill>
            <a:ln w="342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y-AM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22B7A48-1E08-164D-7575-A4D1BED455EA}"/>
                </a:ext>
              </a:extLst>
            </p:cNvPr>
            <p:cNvSpPr/>
            <p:nvPr/>
          </p:nvSpPr>
          <p:spPr>
            <a:xfrm>
              <a:off x="7367791" y="1696307"/>
              <a:ext cx="1774958" cy="945939"/>
            </a:xfrm>
            <a:custGeom>
              <a:avLst/>
              <a:gdLst>
                <a:gd name="connsiteX0" fmla="*/ 1727955 w 1774958"/>
                <a:gd name="connsiteY0" fmla="*/ 825137 h 945939"/>
                <a:gd name="connsiteX1" fmla="*/ 1725903 w 1774958"/>
                <a:gd name="connsiteY1" fmla="*/ 824795 h 945939"/>
                <a:gd name="connsiteX2" fmla="*/ 1669437 w 1774958"/>
                <a:gd name="connsiteY2" fmla="*/ 563000 h 945939"/>
                <a:gd name="connsiteX3" fmla="*/ 1531524 w 1774958"/>
                <a:gd name="connsiteY3" fmla="*/ 324134 h 945939"/>
                <a:gd name="connsiteX4" fmla="*/ 1324484 w 1774958"/>
                <a:gd name="connsiteY4" fmla="*/ 138653 h 945939"/>
                <a:gd name="connsiteX5" fmla="*/ 1059609 w 1774958"/>
                <a:gd name="connsiteY5" fmla="*/ 25379 h 945939"/>
                <a:gd name="connsiteX6" fmla="*/ 711918 w 1774958"/>
                <a:gd name="connsiteY6" fmla="*/ 11006 h 945939"/>
                <a:gd name="connsiteX7" fmla="*/ 396737 w 1774958"/>
                <a:gd name="connsiteY7" fmla="*/ 127017 h 945939"/>
                <a:gd name="connsiteX8" fmla="*/ 148289 w 1774958"/>
                <a:gd name="connsiteY8" fmla="*/ 352880 h 945939"/>
                <a:gd name="connsiteX9" fmla="*/ 452 w 1774958"/>
                <a:gd name="connsiteY9" fmla="*/ 667718 h 945939"/>
                <a:gd name="connsiteX10" fmla="*/ 12087 w 1774958"/>
                <a:gd name="connsiteY10" fmla="*/ 686882 h 945939"/>
                <a:gd name="connsiteX11" fmla="*/ 15851 w 1774958"/>
                <a:gd name="connsiteY11" fmla="*/ 687224 h 945939"/>
                <a:gd name="connsiteX12" fmla="*/ 31251 w 1774958"/>
                <a:gd name="connsiteY12" fmla="*/ 675247 h 945939"/>
                <a:gd name="connsiteX13" fmla="*/ 1052080 w 1774958"/>
                <a:gd name="connsiteY13" fmla="*/ 55837 h 945939"/>
                <a:gd name="connsiteX14" fmla="*/ 1694076 w 1774958"/>
                <a:gd name="connsiteY14" fmla="*/ 826164 h 945939"/>
                <a:gd name="connsiteX15" fmla="*/ 1653695 w 1774958"/>
                <a:gd name="connsiteY15" fmla="*/ 869967 h 945939"/>
                <a:gd name="connsiteX16" fmla="*/ 1698867 w 1774958"/>
                <a:gd name="connsiteY16" fmla="*/ 944228 h 945939"/>
                <a:gd name="connsiteX17" fmla="*/ 1713582 w 1774958"/>
                <a:gd name="connsiteY17" fmla="*/ 945939 h 945939"/>
                <a:gd name="connsiteX18" fmla="*/ 1773128 w 1774958"/>
                <a:gd name="connsiteY18" fmla="*/ 899056 h 945939"/>
                <a:gd name="connsiteX19" fmla="*/ 1727955 w 1774958"/>
                <a:gd name="connsiteY19" fmla="*/ 825137 h 945939"/>
                <a:gd name="connsiteX20" fmla="*/ 1742329 w 1774958"/>
                <a:gd name="connsiteY20" fmla="*/ 891869 h 945939"/>
                <a:gd name="connsiteX21" fmla="*/ 1713582 w 1774958"/>
                <a:gd name="connsiteY21" fmla="*/ 914455 h 945939"/>
                <a:gd name="connsiteX22" fmla="*/ 1706396 w 1774958"/>
                <a:gd name="connsiteY22" fmla="*/ 913429 h 945939"/>
                <a:gd name="connsiteX23" fmla="*/ 1684837 w 1774958"/>
                <a:gd name="connsiteY23" fmla="*/ 877838 h 945939"/>
                <a:gd name="connsiteX24" fmla="*/ 1713582 w 1774958"/>
                <a:gd name="connsiteY24" fmla="*/ 855252 h 945939"/>
                <a:gd name="connsiteX25" fmla="*/ 1720769 w 1774958"/>
                <a:gd name="connsiteY25" fmla="*/ 856279 h 945939"/>
                <a:gd name="connsiteX26" fmla="*/ 1742329 w 1774958"/>
                <a:gd name="connsiteY26" fmla="*/ 891869 h 945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774958" h="945939">
                  <a:moveTo>
                    <a:pt x="1727955" y="825137"/>
                  </a:moveTo>
                  <a:cubicBezTo>
                    <a:pt x="1727271" y="825137"/>
                    <a:pt x="1726587" y="824795"/>
                    <a:pt x="1725903" y="824795"/>
                  </a:cubicBezTo>
                  <a:cubicBezTo>
                    <a:pt x="1720769" y="735134"/>
                    <a:pt x="1701605" y="647185"/>
                    <a:pt x="1669437" y="563000"/>
                  </a:cubicBezTo>
                  <a:cubicBezTo>
                    <a:pt x="1636242" y="476419"/>
                    <a:pt x="1590043" y="396341"/>
                    <a:pt x="1531524" y="324134"/>
                  </a:cubicBezTo>
                  <a:cubicBezTo>
                    <a:pt x="1472663" y="251242"/>
                    <a:pt x="1402851" y="188958"/>
                    <a:pt x="1324484" y="138653"/>
                  </a:cubicBezTo>
                  <a:cubicBezTo>
                    <a:pt x="1243379" y="86636"/>
                    <a:pt x="1154060" y="48308"/>
                    <a:pt x="1059609" y="25379"/>
                  </a:cubicBezTo>
                  <a:cubicBezTo>
                    <a:pt x="944624" y="-2682"/>
                    <a:pt x="827928" y="-7473"/>
                    <a:pt x="711918" y="11006"/>
                  </a:cubicBezTo>
                  <a:cubicBezTo>
                    <a:pt x="600013" y="29144"/>
                    <a:pt x="494268" y="68156"/>
                    <a:pt x="396737" y="127017"/>
                  </a:cubicBezTo>
                  <a:cubicBezTo>
                    <a:pt x="299205" y="185878"/>
                    <a:pt x="215705" y="261850"/>
                    <a:pt x="148289" y="352880"/>
                  </a:cubicBezTo>
                  <a:cubicBezTo>
                    <a:pt x="78135" y="446989"/>
                    <a:pt x="28513" y="552734"/>
                    <a:pt x="452" y="667718"/>
                  </a:cubicBezTo>
                  <a:cubicBezTo>
                    <a:pt x="-1602" y="676273"/>
                    <a:pt x="3531" y="684829"/>
                    <a:pt x="12087" y="686882"/>
                  </a:cubicBezTo>
                  <a:cubicBezTo>
                    <a:pt x="13455" y="687224"/>
                    <a:pt x="14482" y="687224"/>
                    <a:pt x="15851" y="687224"/>
                  </a:cubicBezTo>
                  <a:cubicBezTo>
                    <a:pt x="23037" y="687224"/>
                    <a:pt x="29540" y="682433"/>
                    <a:pt x="31251" y="675247"/>
                  </a:cubicBezTo>
                  <a:cubicBezTo>
                    <a:pt x="142471" y="223180"/>
                    <a:pt x="600013" y="-54699"/>
                    <a:pt x="1052080" y="55837"/>
                  </a:cubicBezTo>
                  <a:cubicBezTo>
                    <a:pt x="1410037" y="143444"/>
                    <a:pt x="1672859" y="459309"/>
                    <a:pt x="1694076" y="826164"/>
                  </a:cubicBezTo>
                  <a:cubicBezTo>
                    <a:pt x="1674228" y="832666"/>
                    <a:pt x="1658828" y="848750"/>
                    <a:pt x="1653695" y="869967"/>
                  </a:cubicBezTo>
                  <a:cubicBezTo>
                    <a:pt x="1645482" y="902820"/>
                    <a:pt x="1666015" y="936015"/>
                    <a:pt x="1698867" y="944228"/>
                  </a:cubicBezTo>
                  <a:cubicBezTo>
                    <a:pt x="1703659" y="945255"/>
                    <a:pt x="1708449" y="945939"/>
                    <a:pt x="1713582" y="945939"/>
                  </a:cubicBezTo>
                  <a:cubicBezTo>
                    <a:pt x="1741987" y="945939"/>
                    <a:pt x="1766626" y="926775"/>
                    <a:pt x="1773128" y="899056"/>
                  </a:cubicBezTo>
                  <a:cubicBezTo>
                    <a:pt x="1781341" y="866545"/>
                    <a:pt x="1761151" y="833008"/>
                    <a:pt x="1727955" y="825137"/>
                  </a:cubicBezTo>
                  <a:close/>
                  <a:moveTo>
                    <a:pt x="1742329" y="891869"/>
                  </a:moveTo>
                  <a:cubicBezTo>
                    <a:pt x="1738907" y="905216"/>
                    <a:pt x="1727271" y="914455"/>
                    <a:pt x="1713582" y="914455"/>
                  </a:cubicBezTo>
                  <a:cubicBezTo>
                    <a:pt x="1711187" y="914455"/>
                    <a:pt x="1708792" y="914113"/>
                    <a:pt x="1706396" y="913429"/>
                  </a:cubicBezTo>
                  <a:cubicBezTo>
                    <a:pt x="1690654" y="909664"/>
                    <a:pt x="1680730" y="893580"/>
                    <a:pt x="1684837" y="877838"/>
                  </a:cubicBezTo>
                  <a:cubicBezTo>
                    <a:pt x="1688259" y="864492"/>
                    <a:pt x="1699894" y="855252"/>
                    <a:pt x="1713582" y="855252"/>
                  </a:cubicBezTo>
                  <a:cubicBezTo>
                    <a:pt x="1715978" y="855252"/>
                    <a:pt x="1718374" y="855594"/>
                    <a:pt x="1720769" y="856279"/>
                  </a:cubicBezTo>
                  <a:cubicBezTo>
                    <a:pt x="1736511" y="860043"/>
                    <a:pt x="1746093" y="875785"/>
                    <a:pt x="1742329" y="891869"/>
                  </a:cubicBezTo>
                  <a:close/>
                </a:path>
              </a:pathLst>
            </a:custGeom>
            <a:solidFill>
              <a:schemeClr val="tx2"/>
            </a:solidFill>
            <a:ln w="342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y-AM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96" name="Graphic 2">
            <a:extLst>
              <a:ext uri="{FF2B5EF4-FFF2-40B4-BE49-F238E27FC236}">
                <a16:creationId xmlns:a16="http://schemas.microsoft.com/office/drawing/2014/main" id="{C947D82C-8112-16F9-C79A-74AD6C8A558C}"/>
              </a:ext>
            </a:extLst>
          </p:cNvPr>
          <p:cNvGrpSpPr/>
          <p:nvPr/>
        </p:nvGrpSpPr>
        <p:grpSpPr>
          <a:xfrm rot="10800000">
            <a:off x="2073903" y="3217624"/>
            <a:ext cx="520814" cy="497094"/>
            <a:chOff x="7297304" y="1696307"/>
            <a:chExt cx="1845445" cy="1752199"/>
          </a:xfrm>
          <a:solidFill>
            <a:srgbClr val="FA5000"/>
          </a:solidFill>
        </p:grpSpPr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B9F72FC0-B621-AE90-BD44-92C6E4BE9BA3}"/>
                </a:ext>
              </a:extLst>
            </p:cNvPr>
            <p:cNvSpPr/>
            <p:nvPr/>
          </p:nvSpPr>
          <p:spPr>
            <a:xfrm>
              <a:off x="7297304" y="2516653"/>
              <a:ext cx="1773228" cy="931853"/>
            </a:xfrm>
            <a:custGeom>
              <a:avLst/>
              <a:gdLst>
                <a:gd name="connsiteX0" fmla="*/ 1761142 w 1773228"/>
                <a:gd name="connsiteY0" fmla="*/ 244684 h 931853"/>
                <a:gd name="connsiteX1" fmla="*/ 1741977 w 1773228"/>
                <a:gd name="connsiteY1" fmla="*/ 256319 h 931853"/>
                <a:gd name="connsiteX2" fmla="*/ 721490 w 1773228"/>
                <a:gd name="connsiteY2" fmla="*/ 875388 h 931853"/>
                <a:gd name="connsiteX3" fmla="*/ 80521 w 1773228"/>
                <a:gd name="connsiteY3" fmla="*/ 119775 h 931853"/>
                <a:gd name="connsiteX4" fmla="*/ 121245 w 1773228"/>
                <a:gd name="connsiteY4" fmla="*/ 75972 h 931853"/>
                <a:gd name="connsiteX5" fmla="*/ 76072 w 1773228"/>
                <a:gd name="connsiteY5" fmla="*/ 1711 h 931853"/>
                <a:gd name="connsiteX6" fmla="*/ 61357 w 1773228"/>
                <a:gd name="connsiteY6" fmla="*/ 0 h 931853"/>
                <a:gd name="connsiteX7" fmla="*/ 1811 w 1773228"/>
                <a:gd name="connsiteY7" fmla="*/ 46884 h 931853"/>
                <a:gd name="connsiteX8" fmla="*/ 46984 w 1773228"/>
                <a:gd name="connsiteY8" fmla="*/ 121144 h 931853"/>
                <a:gd name="connsiteX9" fmla="*/ 48695 w 1773228"/>
                <a:gd name="connsiteY9" fmla="*/ 121487 h 931853"/>
                <a:gd name="connsiteX10" fmla="*/ 108925 w 1773228"/>
                <a:gd name="connsiteY10" fmla="*/ 380886 h 931853"/>
                <a:gd name="connsiteX11" fmla="*/ 247522 w 1773228"/>
                <a:gd name="connsiteY11" fmla="*/ 614277 h 931853"/>
                <a:gd name="connsiteX12" fmla="*/ 713962 w 1773228"/>
                <a:gd name="connsiteY12" fmla="*/ 906529 h 931853"/>
                <a:gd name="connsiteX13" fmla="*/ 922713 w 1773228"/>
                <a:gd name="connsiteY13" fmla="*/ 931853 h 931853"/>
                <a:gd name="connsiteX14" fmla="*/ 1061311 w 1773228"/>
                <a:gd name="connsiteY14" fmla="*/ 920560 h 931853"/>
                <a:gd name="connsiteX15" fmla="*/ 1376492 w 1773228"/>
                <a:gd name="connsiteY15" fmla="*/ 804549 h 931853"/>
                <a:gd name="connsiteX16" fmla="*/ 1624940 w 1773228"/>
                <a:gd name="connsiteY16" fmla="*/ 578687 h 931853"/>
                <a:gd name="connsiteX17" fmla="*/ 1772777 w 1773228"/>
                <a:gd name="connsiteY17" fmla="*/ 263848 h 931853"/>
                <a:gd name="connsiteX18" fmla="*/ 1761142 w 1773228"/>
                <a:gd name="connsiteY18" fmla="*/ 244684 h 931853"/>
                <a:gd name="connsiteX19" fmla="*/ 32610 w 1773228"/>
                <a:gd name="connsiteY19" fmla="*/ 54412 h 931853"/>
                <a:gd name="connsiteX20" fmla="*/ 61357 w 1773228"/>
                <a:gd name="connsiteY20" fmla="*/ 31826 h 931853"/>
                <a:gd name="connsiteX21" fmla="*/ 68543 w 1773228"/>
                <a:gd name="connsiteY21" fmla="*/ 32853 h 931853"/>
                <a:gd name="connsiteX22" fmla="*/ 90103 w 1773228"/>
                <a:gd name="connsiteY22" fmla="*/ 68443 h 931853"/>
                <a:gd name="connsiteX23" fmla="*/ 61357 w 1773228"/>
                <a:gd name="connsiteY23" fmla="*/ 91029 h 931853"/>
                <a:gd name="connsiteX24" fmla="*/ 54170 w 1773228"/>
                <a:gd name="connsiteY24" fmla="*/ 90003 h 931853"/>
                <a:gd name="connsiteX25" fmla="*/ 32610 w 1773228"/>
                <a:gd name="connsiteY25" fmla="*/ 54412 h 931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773228" h="931853">
                  <a:moveTo>
                    <a:pt x="1761142" y="244684"/>
                  </a:moveTo>
                  <a:cubicBezTo>
                    <a:pt x="1752586" y="242631"/>
                    <a:pt x="1744031" y="247764"/>
                    <a:pt x="1741977" y="256319"/>
                  </a:cubicBezTo>
                  <a:cubicBezTo>
                    <a:pt x="1631442" y="708386"/>
                    <a:pt x="1173558" y="986265"/>
                    <a:pt x="721490" y="875388"/>
                  </a:cubicBezTo>
                  <a:cubicBezTo>
                    <a:pt x="364559" y="788123"/>
                    <a:pt x="108240" y="484920"/>
                    <a:pt x="80521" y="119775"/>
                  </a:cubicBezTo>
                  <a:cubicBezTo>
                    <a:pt x="100369" y="113273"/>
                    <a:pt x="116111" y="97189"/>
                    <a:pt x="121245" y="75972"/>
                  </a:cubicBezTo>
                  <a:cubicBezTo>
                    <a:pt x="129458" y="43119"/>
                    <a:pt x="108925" y="9924"/>
                    <a:pt x="76072" y="1711"/>
                  </a:cubicBezTo>
                  <a:cubicBezTo>
                    <a:pt x="71281" y="684"/>
                    <a:pt x="66490" y="0"/>
                    <a:pt x="61357" y="0"/>
                  </a:cubicBezTo>
                  <a:cubicBezTo>
                    <a:pt x="32953" y="0"/>
                    <a:pt x="8314" y="19164"/>
                    <a:pt x="1811" y="46884"/>
                  </a:cubicBezTo>
                  <a:cubicBezTo>
                    <a:pt x="-6402" y="79736"/>
                    <a:pt x="14131" y="112931"/>
                    <a:pt x="46984" y="121144"/>
                  </a:cubicBezTo>
                  <a:cubicBezTo>
                    <a:pt x="47668" y="121144"/>
                    <a:pt x="48010" y="121487"/>
                    <a:pt x="48695" y="121487"/>
                  </a:cubicBezTo>
                  <a:cubicBezTo>
                    <a:pt x="55539" y="210463"/>
                    <a:pt x="75730" y="297728"/>
                    <a:pt x="108925" y="380886"/>
                  </a:cubicBezTo>
                  <a:cubicBezTo>
                    <a:pt x="142804" y="465413"/>
                    <a:pt x="189345" y="544123"/>
                    <a:pt x="247522" y="614277"/>
                  </a:cubicBezTo>
                  <a:cubicBezTo>
                    <a:pt x="368324" y="760403"/>
                    <a:pt x="529508" y="861357"/>
                    <a:pt x="713962" y="906529"/>
                  </a:cubicBezTo>
                  <a:cubicBezTo>
                    <a:pt x="783089" y="923298"/>
                    <a:pt x="852902" y="931853"/>
                    <a:pt x="922713" y="931853"/>
                  </a:cubicBezTo>
                  <a:cubicBezTo>
                    <a:pt x="968912" y="931853"/>
                    <a:pt x="1015454" y="928089"/>
                    <a:pt x="1061311" y="920560"/>
                  </a:cubicBezTo>
                  <a:cubicBezTo>
                    <a:pt x="1173215" y="902422"/>
                    <a:pt x="1278960" y="863410"/>
                    <a:pt x="1376492" y="804549"/>
                  </a:cubicBezTo>
                  <a:cubicBezTo>
                    <a:pt x="1473680" y="745688"/>
                    <a:pt x="1557523" y="669716"/>
                    <a:pt x="1624940" y="578687"/>
                  </a:cubicBezTo>
                  <a:cubicBezTo>
                    <a:pt x="1695094" y="484577"/>
                    <a:pt x="1744715" y="378833"/>
                    <a:pt x="1772777" y="263848"/>
                  </a:cubicBezTo>
                  <a:cubicBezTo>
                    <a:pt x="1774830" y="255293"/>
                    <a:pt x="1769697" y="246737"/>
                    <a:pt x="1761142" y="244684"/>
                  </a:cubicBezTo>
                  <a:close/>
                  <a:moveTo>
                    <a:pt x="32610" y="54412"/>
                  </a:moveTo>
                  <a:cubicBezTo>
                    <a:pt x="36032" y="41066"/>
                    <a:pt x="47668" y="31826"/>
                    <a:pt x="61357" y="31826"/>
                  </a:cubicBezTo>
                  <a:cubicBezTo>
                    <a:pt x="63752" y="31826"/>
                    <a:pt x="66148" y="32168"/>
                    <a:pt x="68543" y="32853"/>
                  </a:cubicBezTo>
                  <a:cubicBezTo>
                    <a:pt x="84285" y="36617"/>
                    <a:pt x="94209" y="52701"/>
                    <a:pt x="90103" y="68443"/>
                  </a:cubicBezTo>
                  <a:cubicBezTo>
                    <a:pt x="86681" y="81790"/>
                    <a:pt x="75046" y="91029"/>
                    <a:pt x="61357" y="91029"/>
                  </a:cubicBezTo>
                  <a:cubicBezTo>
                    <a:pt x="58962" y="91029"/>
                    <a:pt x="56565" y="90687"/>
                    <a:pt x="54170" y="90003"/>
                  </a:cubicBezTo>
                  <a:cubicBezTo>
                    <a:pt x="38429" y="86238"/>
                    <a:pt x="28846" y="70154"/>
                    <a:pt x="32610" y="54412"/>
                  </a:cubicBezTo>
                  <a:close/>
                </a:path>
              </a:pathLst>
            </a:custGeom>
            <a:solidFill>
              <a:schemeClr val="tx2"/>
            </a:solidFill>
            <a:ln w="342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y-AM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47D3E0B3-B598-2870-9C20-7442F9AE9E71}"/>
                </a:ext>
              </a:extLst>
            </p:cNvPr>
            <p:cNvSpPr/>
            <p:nvPr/>
          </p:nvSpPr>
          <p:spPr>
            <a:xfrm>
              <a:off x="7367791" y="1696307"/>
              <a:ext cx="1774958" cy="945939"/>
            </a:xfrm>
            <a:custGeom>
              <a:avLst/>
              <a:gdLst>
                <a:gd name="connsiteX0" fmla="*/ 1727955 w 1774958"/>
                <a:gd name="connsiteY0" fmla="*/ 825137 h 945939"/>
                <a:gd name="connsiteX1" fmla="*/ 1725903 w 1774958"/>
                <a:gd name="connsiteY1" fmla="*/ 824795 h 945939"/>
                <a:gd name="connsiteX2" fmla="*/ 1669437 w 1774958"/>
                <a:gd name="connsiteY2" fmla="*/ 563000 h 945939"/>
                <a:gd name="connsiteX3" fmla="*/ 1531524 w 1774958"/>
                <a:gd name="connsiteY3" fmla="*/ 324134 h 945939"/>
                <a:gd name="connsiteX4" fmla="*/ 1324484 w 1774958"/>
                <a:gd name="connsiteY4" fmla="*/ 138653 h 945939"/>
                <a:gd name="connsiteX5" fmla="*/ 1059609 w 1774958"/>
                <a:gd name="connsiteY5" fmla="*/ 25379 h 945939"/>
                <a:gd name="connsiteX6" fmla="*/ 711918 w 1774958"/>
                <a:gd name="connsiteY6" fmla="*/ 11006 h 945939"/>
                <a:gd name="connsiteX7" fmla="*/ 396737 w 1774958"/>
                <a:gd name="connsiteY7" fmla="*/ 127017 h 945939"/>
                <a:gd name="connsiteX8" fmla="*/ 148289 w 1774958"/>
                <a:gd name="connsiteY8" fmla="*/ 352880 h 945939"/>
                <a:gd name="connsiteX9" fmla="*/ 452 w 1774958"/>
                <a:gd name="connsiteY9" fmla="*/ 667718 h 945939"/>
                <a:gd name="connsiteX10" fmla="*/ 12087 w 1774958"/>
                <a:gd name="connsiteY10" fmla="*/ 686882 h 945939"/>
                <a:gd name="connsiteX11" fmla="*/ 15851 w 1774958"/>
                <a:gd name="connsiteY11" fmla="*/ 687224 h 945939"/>
                <a:gd name="connsiteX12" fmla="*/ 31251 w 1774958"/>
                <a:gd name="connsiteY12" fmla="*/ 675247 h 945939"/>
                <a:gd name="connsiteX13" fmla="*/ 1052080 w 1774958"/>
                <a:gd name="connsiteY13" fmla="*/ 55837 h 945939"/>
                <a:gd name="connsiteX14" fmla="*/ 1694076 w 1774958"/>
                <a:gd name="connsiteY14" fmla="*/ 826164 h 945939"/>
                <a:gd name="connsiteX15" fmla="*/ 1653695 w 1774958"/>
                <a:gd name="connsiteY15" fmla="*/ 869967 h 945939"/>
                <a:gd name="connsiteX16" fmla="*/ 1698867 w 1774958"/>
                <a:gd name="connsiteY16" fmla="*/ 944228 h 945939"/>
                <a:gd name="connsiteX17" fmla="*/ 1713582 w 1774958"/>
                <a:gd name="connsiteY17" fmla="*/ 945939 h 945939"/>
                <a:gd name="connsiteX18" fmla="*/ 1773128 w 1774958"/>
                <a:gd name="connsiteY18" fmla="*/ 899056 h 945939"/>
                <a:gd name="connsiteX19" fmla="*/ 1727955 w 1774958"/>
                <a:gd name="connsiteY19" fmla="*/ 825137 h 945939"/>
                <a:gd name="connsiteX20" fmla="*/ 1742329 w 1774958"/>
                <a:gd name="connsiteY20" fmla="*/ 891869 h 945939"/>
                <a:gd name="connsiteX21" fmla="*/ 1713582 w 1774958"/>
                <a:gd name="connsiteY21" fmla="*/ 914455 h 945939"/>
                <a:gd name="connsiteX22" fmla="*/ 1706396 w 1774958"/>
                <a:gd name="connsiteY22" fmla="*/ 913429 h 945939"/>
                <a:gd name="connsiteX23" fmla="*/ 1684837 w 1774958"/>
                <a:gd name="connsiteY23" fmla="*/ 877838 h 945939"/>
                <a:gd name="connsiteX24" fmla="*/ 1713582 w 1774958"/>
                <a:gd name="connsiteY24" fmla="*/ 855252 h 945939"/>
                <a:gd name="connsiteX25" fmla="*/ 1720769 w 1774958"/>
                <a:gd name="connsiteY25" fmla="*/ 856279 h 945939"/>
                <a:gd name="connsiteX26" fmla="*/ 1742329 w 1774958"/>
                <a:gd name="connsiteY26" fmla="*/ 891869 h 945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774958" h="945939">
                  <a:moveTo>
                    <a:pt x="1727955" y="825137"/>
                  </a:moveTo>
                  <a:cubicBezTo>
                    <a:pt x="1727271" y="825137"/>
                    <a:pt x="1726587" y="824795"/>
                    <a:pt x="1725903" y="824795"/>
                  </a:cubicBezTo>
                  <a:cubicBezTo>
                    <a:pt x="1720769" y="735134"/>
                    <a:pt x="1701605" y="647185"/>
                    <a:pt x="1669437" y="563000"/>
                  </a:cubicBezTo>
                  <a:cubicBezTo>
                    <a:pt x="1636242" y="476419"/>
                    <a:pt x="1590043" y="396341"/>
                    <a:pt x="1531524" y="324134"/>
                  </a:cubicBezTo>
                  <a:cubicBezTo>
                    <a:pt x="1472663" y="251242"/>
                    <a:pt x="1402851" y="188958"/>
                    <a:pt x="1324484" y="138653"/>
                  </a:cubicBezTo>
                  <a:cubicBezTo>
                    <a:pt x="1243379" y="86636"/>
                    <a:pt x="1154060" y="48308"/>
                    <a:pt x="1059609" y="25379"/>
                  </a:cubicBezTo>
                  <a:cubicBezTo>
                    <a:pt x="944624" y="-2682"/>
                    <a:pt x="827928" y="-7473"/>
                    <a:pt x="711918" y="11006"/>
                  </a:cubicBezTo>
                  <a:cubicBezTo>
                    <a:pt x="600013" y="29144"/>
                    <a:pt x="494268" y="68156"/>
                    <a:pt x="396737" y="127017"/>
                  </a:cubicBezTo>
                  <a:cubicBezTo>
                    <a:pt x="299205" y="185878"/>
                    <a:pt x="215705" y="261850"/>
                    <a:pt x="148289" y="352880"/>
                  </a:cubicBezTo>
                  <a:cubicBezTo>
                    <a:pt x="78135" y="446989"/>
                    <a:pt x="28513" y="552734"/>
                    <a:pt x="452" y="667718"/>
                  </a:cubicBezTo>
                  <a:cubicBezTo>
                    <a:pt x="-1602" y="676273"/>
                    <a:pt x="3531" y="684829"/>
                    <a:pt x="12087" y="686882"/>
                  </a:cubicBezTo>
                  <a:cubicBezTo>
                    <a:pt x="13455" y="687224"/>
                    <a:pt x="14482" y="687224"/>
                    <a:pt x="15851" y="687224"/>
                  </a:cubicBezTo>
                  <a:cubicBezTo>
                    <a:pt x="23037" y="687224"/>
                    <a:pt x="29540" y="682433"/>
                    <a:pt x="31251" y="675247"/>
                  </a:cubicBezTo>
                  <a:cubicBezTo>
                    <a:pt x="142471" y="223180"/>
                    <a:pt x="600013" y="-54699"/>
                    <a:pt x="1052080" y="55837"/>
                  </a:cubicBezTo>
                  <a:cubicBezTo>
                    <a:pt x="1410037" y="143444"/>
                    <a:pt x="1672859" y="459309"/>
                    <a:pt x="1694076" y="826164"/>
                  </a:cubicBezTo>
                  <a:cubicBezTo>
                    <a:pt x="1674228" y="832666"/>
                    <a:pt x="1658828" y="848750"/>
                    <a:pt x="1653695" y="869967"/>
                  </a:cubicBezTo>
                  <a:cubicBezTo>
                    <a:pt x="1645482" y="902820"/>
                    <a:pt x="1666015" y="936015"/>
                    <a:pt x="1698867" y="944228"/>
                  </a:cubicBezTo>
                  <a:cubicBezTo>
                    <a:pt x="1703659" y="945255"/>
                    <a:pt x="1708449" y="945939"/>
                    <a:pt x="1713582" y="945939"/>
                  </a:cubicBezTo>
                  <a:cubicBezTo>
                    <a:pt x="1741987" y="945939"/>
                    <a:pt x="1766626" y="926775"/>
                    <a:pt x="1773128" y="899056"/>
                  </a:cubicBezTo>
                  <a:cubicBezTo>
                    <a:pt x="1781341" y="866545"/>
                    <a:pt x="1761151" y="833008"/>
                    <a:pt x="1727955" y="825137"/>
                  </a:cubicBezTo>
                  <a:close/>
                  <a:moveTo>
                    <a:pt x="1742329" y="891869"/>
                  </a:moveTo>
                  <a:cubicBezTo>
                    <a:pt x="1738907" y="905216"/>
                    <a:pt x="1727271" y="914455"/>
                    <a:pt x="1713582" y="914455"/>
                  </a:cubicBezTo>
                  <a:cubicBezTo>
                    <a:pt x="1711187" y="914455"/>
                    <a:pt x="1708792" y="914113"/>
                    <a:pt x="1706396" y="913429"/>
                  </a:cubicBezTo>
                  <a:cubicBezTo>
                    <a:pt x="1690654" y="909664"/>
                    <a:pt x="1680730" y="893580"/>
                    <a:pt x="1684837" y="877838"/>
                  </a:cubicBezTo>
                  <a:cubicBezTo>
                    <a:pt x="1688259" y="864492"/>
                    <a:pt x="1699894" y="855252"/>
                    <a:pt x="1713582" y="855252"/>
                  </a:cubicBezTo>
                  <a:cubicBezTo>
                    <a:pt x="1715978" y="855252"/>
                    <a:pt x="1718374" y="855594"/>
                    <a:pt x="1720769" y="856279"/>
                  </a:cubicBezTo>
                  <a:cubicBezTo>
                    <a:pt x="1736511" y="860043"/>
                    <a:pt x="1746093" y="875785"/>
                    <a:pt x="1742329" y="891869"/>
                  </a:cubicBezTo>
                  <a:close/>
                </a:path>
              </a:pathLst>
            </a:custGeom>
            <a:solidFill>
              <a:schemeClr val="tx2"/>
            </a:solidFill>
            <a:ln w="342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y-AM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03" name="Graphic 2">
            <a:extLst>
              <a:ext uri="{FF2B5EF4-FFF2-40B4-BE49-F238E27FC236}">
                <a16:creationId xmlns:a16="http://schemas.microsoft.com/office/drawing/2014/main" id="{AA170A5A-3A96-F335-A325-ED8284E71E98}"/>
              </a:ext>
            </a:extLst>
          </p:cNvPr>
          <p:cNvGrpSpPr/>
          <p:nvPr/>
        </p:nvGrpSpPr>
        <p:grpSpPr>
          <a:xfrm rot="10800000">
            <a:off x="5026202" y="3258862"/>
            <a:ext cx="520814" cy="497094"/>
            <a:chOff x="7297304" y="1696307"/>
            <a:chExt cx="1845445" cy="1752199"/>
          </a:xfrm>
          <a:solidFill>
            <a:srgbClr val="FA5000"/>
          </a:solidFill>
        </p:grpSpPr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7A837016-9DFF-3299-D230-9827484D9E4E}"/>
                </a:ext>
              </a:extLst>
            </p:cNvPr>
            <p:cNvSpPr/>
            <p:nvPr/>
          </p:nvSpPr>
          <p:spPr>
            <a:xfrm>
              <a:off x="7297304" y="2516653"/>
              <a:ext cx="1773228" cy="931853"/>
            </a:xfrm>
            <a:custGeom>
              <a:avLst/>
              <a:gdLst>
                <a:gd name="connsiteX0" fmla="*/ 1761142 w 1773228"/>
                <a:gd name="connsiteY0" fmla="*/ 244684 h 931853"/>
                <a:gd name="connsiteX1" fmla="*/ 1741977 w 1773228"/>
                <a:gd name="connsiteY1" fmla="*/ 256319 h 931853"/>
                <a:gd name="connsiteX2" fmla="*/ 721490 w 1773228"/>
                <a:gd name="connsiteY2" fmla="*/ 875388 h 931853"/>
                <a:gd name="connsiteX3" fmla="*/ 80521 w 1773228"/>
                <a:gd name="connsiteY3" fmla="*/ 119775 h 931853"/>
                <a:gd name="connsiteX4" fmla="*/ 121245 w 1773228"/>
                <a:gd name="connsiteY4" fmla="*/ 75972 h 931853"/>
                <a:gd name="connsiteX5" fmla="*/ 76072 w 1773228"/>
                <a:gd name="connsiteY5" fmla="*/ 1711 h 931853"/>
                <a:gd name="connsiteX6" fmla="*/ 61357 w 1773228"/>
                <a:gd name="connsiteY6" fmla="*/ 0 h 931853"/>
                <a:gd name="connsiteX7" fmla="*/ 1811 w 1773228"/>
                <a:gd name="connsiteY7" fmla="*/ 46884 h 931853"/>
                <a:gd name="connsiteX8" fmla="*/ 46984 w 1773228"/>
                <a:gd name="connsiteY8" fmla="*/ 121144 h 931853"/>
                <a:gd name="connsiteX9" fmla="*/ 48695 w 1773228"/>
                <a:gd name="connsiteY9" fmla="*/ 121487 h 931853"/>
                <a:gd name="connsiteX10" fmla="*/ 108925 w 1773228"/>
                <a:gd name="connsiteY10" fmla="*/ 380886 h 931853"/>
                <a:gd name="connsiteX11" fmla="*/ 247522 w 1773228"/>
                <a:gd name="connsiteY11" fmla="*/ 614277 h 931853"/>
                <a:gd name="connsiteX12" fmla="*/ 713962 w 1773228"/>
                <a:gd name="connsiteY12" fmla="*/ 906529 h 931853"/>
                <a:gd name="connsiteX13" fmla="*/ 922713 w 1773228"/>
                <a:gd name="connsiteY13" fmla="*/ 931853 h 931853"/>
                <a:gd name="connsiteX14" fmla="*/ 1061311 w 1773228"/>
                <a:gd name="connsiteY14" fmla="*/ 920560 h 931853"/>
                <a:gd name="connsiteX15" fmla="*/ 1376492 w 1773228"/>
                <a:gd name="connsiteY15" fmla="*/ 804549 h 931853"/>
                <a:gd name="connsiteX16" fmla="*/ 1624940 w 1773228"/>
                <a:gd name="connsiteY16" fmla="*/ 578687 h 931853"/>
                <a:gd name="connsiteX17" fmla="*/ 1772777 w 1773228"/>
                <a:gd name="connsiteY17" fmla="*/ 263848 h 931853"/>
                <a:gd name="connsiteX18" fmla="*/ 1761142 w 1773228"/>
                <a:gd name="connsiteY18" fmla="*/ 244684 h 931853"/>
                <a:gd name="connsiteX19" fmla="*/ 32610 w 1773228"/>
                <a:gd name="connsiteY19" fmla="*/ 54412 h 931853"/>
                <a:gd name="connsiteX20" fmla="*/ 61357 w 1773228"/>
                <a:gd name="connsiteY20" fmla="*/ 31826 h 931853"/>
                <a:gd name="connsiteX21" fmla="*/ 68543 w 1773228"/>
                <a:gd name="connsiteY21" fmla="*/ 32853 h 931853"/>
                <a:gd name="connsiteX22" fmla="*/ 90103 w 1773228"/>
                <a:gd name="connsiteY22" fmla="*/ 68443 h 931853"/>
                <a:gd name="connsiteX23" fmla="*/ 61357 w 1773228"/>
                <a:gd name="connsiteY23" fmla="*/ 91029 h 931853"/>
                <a:gd name="connsiteX24" fmla="*/ 54170 w 1773228"/>
                <a:gd name="connsiteY24" fmla="*/ 90003 h 931853"/>
                <a:gd name="connsiteX25" fmla="*/ 32610 w 1773228"/>
                <a:gd name="connsiteY25" fmla="*/ 54412 h 931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773228" h="931853">
                  <a:moveTo>
                    <a:pt x="1761142" y="244684"/>
                  </a:moveTo>
                  <a:cubicBezTo>
                    <a:pt x="1752586" y="242631"/>
                    <a:pt x="1744031" y="247764"/>
                    <a:pt x="1741977" y="256319"/>
                  </a:cubicBezTo>
                  <a:cubicBezTo>
                    <a:pt x="1631442" y="708386"/>
                    <a:pt x="1173558" y="986265"/>
                    <a:pt x="721490" y="875388"/>
                  </a:cubicBezTo>
                  <a:cubicBezTo>
                    <a:pt x="364559" y="788123"/>
                    <a:pt x="108240" y="484920"/>
                    <a:pt x="80521" y="119775"/>
                  </a:cubicBezTo>
                  <a:cubicBezTo>
                    <a:pt x="100369" y="113273"/>
                    <a:pt x="116111" y="97189"/>
                    <a:pt x="121245" y="75972"/>
                  </a:cubicBezTo>
                  <a:cubicBezTo>
                    <a:pt x="129458" y="43119"/>
                    <a:pt x="108925" y="9924"/>
                    <a:pt x="76072" y="1711"/>
                  </a:cubicBezTo>
                  <a:cubicBezTo>
                    <a:pt x="71281" y="684"/>
                    <a:pt x="66490" y="0"/>
                    <a:pt x="61357" y="0"/>
                  </a:cubicBezTo>
                  <a:cubicBezTo>
                    <a:pt x="32953" y="0"/>
                    <a:pt x="8314" y="19164"/>
                    <a:pt x="1811" y="46884"/>
                  </a:cubicBezTo>
                  <a:cubicBezTo>
                    <a:pt x="-6402" y="79736"/>
                    <a:pt x="14131" y="112931"/>
                    <a:pt x="46984" y="121144"/>
                  </a:cubicBezTo>
                  <a:cubicBezTo>
                    <a:pt x="47668" y="121144"/>
                    <a:pt x="48010" y="121487"/>
                    <a:pt x="48695" y="121487"/>
                  </a:cubicBezTo>
                  <a:cubicBezTo>
                    <a:pt x="55539" y="210463"/>
                    <a:pt x="75730" y="297728"/>
                    <a:pt x="108925" y="380886"/>
                  </a:cubicBezTo>
                  <a:cubicBezTo>
                    <a:pt x="142804" y="465413"/>
                    <a:pt x="189345" y="544123"/>
                    <a:pt x="247522" y="614277"/>
                  </a:cubicBezTo>
                  <a:cubicBezTo>
                    <a:pt x="368324" y="760403"/>
                    <a:pt x="529508" y="861357"/>
                    <a:pt x="713962" y="906529"/>
                  </a:cubicBezTo>
                  <a:cubicBezTo>
                    <a:pt x="783089" y="923298"/>
                    <a:pt x="852902" y="931853"/>
                    <a:pt x="922713" y="931853"/>
                  </a:cubicBezTo>
                  <a:cubicBezTo>
                    <a:pt x="968912" y="931853"/>
                    <a:pt x="1015454" y="928089"/>
                    <a:pt x="1061311" y="920560"/>
                  </a:cubicBezTo>
                  <a:cubicBezTo>
                    <a:pt x="1173215" y="902422"/>
                    <a:pt x="1278960" y="863410"/>
                    <a:pt x="1376492" y="804549"/>
                  </a:cubicBezTo>
                  <a:cubicBezTo>
                    <a:pt x="1473680" y="745688"/>
                    <a:pt x="1557523" y="669716"/>
                    <a:pt x="1624940" y="578687"/>
                  </a:cubicBezTo>
                  <a:cubicBezTo>
                    <a:pt x="1695094" y="484577"/>
                    <a:pt x="1744715" y="378833"/>
                    <a:pt x="1772777" y="263848"/>
                  </a:cubicBezTo>
                  <a:cubicBezTo>
                    <a:pt x="1774830" y="255293"/>
                    <a:pt x="1769697" y="246737"/>
                    <a:pt x="1761142" y="244684"/>
                  </a:cubicBezTo>
                  <a:close/>
                  <a:moveTo>
                    <a:pt x="32610" y="54412"/>
                  </a:moveTo>
                  <a:cubicBezTo>
                    <a:pt x="36032" y="41066"/>
                    <a:pt x="47668" y="31826"/>
                    <a:pt x="61357" y="31826"/>
                  </a:cubicBezTo>
                  <a:cubicBezTo>
                    <a:pt x="63752" y="31826"/>
                    <a:pt x="66148" y="32168"/>
                    <a:pt x="68543" y="32853"/>
                  </a:cubicBezTo>
                  <a:cubicBezTo>
                    <a:pt x="84285" y="36617"/>
                    <a:pt x="94209" y="52701"/>
                    <a:pt x="90103" y="68443"/>
                  </a:cubicBezTo>
                  <a:cubicBezTo>
                    <a:pt x="86681" y="81790"/>
                    <a:pt x="75046" y="91029"/>
                    <a:pt x="61357" y="91029"/>
                  </a:cubicBezTo>
                  <a:cubicBezTo>
                    <a:pt x="58962" y="91029"/>
                    <a:pt x="56565" y="90687"/>
                    <a:pt x="54170" y="90003"/>
                  </a:cubicBezTo>
                  <a:cubicBezTo>
                    <a:pt x="38429" y="86238"/>
                    <a:pt x="28846" y="70154"/>
                    <a:pt x="32610" y="54412"/>
                  </a:cubicBezTo>
                  <a:close/>
                </a:path>
              </a:pathLst>
            </a:custGeom>
            <a:solidFill>
              <a:schemeClr val="tx2"/>
            </a:solidFill>
            <a:ln w="342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y-AM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0031BBBD-89DC-9260-D52F-C6DF6A0090D6}"/>
                </a:ext>
              </a:extLst>
            </p:cNvPr>
            <p:cNvSpPr/>
            <p:nvPr/>
          </p:nvSpPr>
          <p:spPr>
            <a:xfrm>
              <a:off x="7367791" y="1696307"/>
              <a:ext cx="1774958" cy="945939"/>
            </a:xfrm>
            <a:custGeom>
              <a:avLst/>
              <a:gdLst>
                <a:gd name="connsiteX0" fmla="*/ 1727955 w 1774958"/>
                <a:gd name="connsiteY0" fmla="*/ 825137 h 945939"/>
                <a:gd name="connsiteX1" fmla="*/ 1725903 w 1774958"/>
                <a:gd name="connsiteY1" fmla="*/ 824795 h 945939"/>
                <a:gd name="connsiteX2" fmla="*/ 1669437 w 1774958"/>
                <a:gd name="connsiteY2" fmla="*/ 563000 h 945939"/>
                <a:gd name="connsiteX3" fmla="*/ 1531524 w 1774958"/>
                <a:gd name="connsiteY3" fmla="*/ 324134 h 945939"/>
                <a:gd name="connsiteX4" fmla="*/ 1324484 w 1774958"/>
                <a:gd name="connsiteY4" fmla="*/ 138653 h 945939"/>
                <a:gd name="connsiteX5" fmla="*/ 1059609 w 1774958"/>
                <a:gd name="connsiteY5" fmla="*/ 25379 h 945939"/>
                <a:gd name="connsiteX6" fmla="*/ 711918 w 1774958"/>
                <a:gd name="connsiteY6" fmla="*/ 11006 h 945939"/>
                <a:gd name="connsiteX7" fmla="*/ 396737 w 1774958"/>
                <a:gd name="connsiteY7" fmla="*/ 127017 h 945939"/>
                <a:gd name="connsiteX8" fmla="*/ 148289 w 1774958"/>
                <a:gd name="connsiteY8" fmla="*/ 352880 h 945939"/>
                <a:gd name="connsiteX9" fmla="*/ 452 w 1774958"/>
                <a:gd name="connsiteY9" fmla="*/ 667718 h 945939"/>
                <a:gd name="connsiteX10" fmla="*/ 12087 w 1774958"/>
                <a:gd name="connsiteY10" fmla="*/ 686882 h 945939"/>
                <a:gd name="connsiteX11" fmla="*/ 15851 w 1774958"/>
                <a:gd name="connsiteY11" fmla="*/ 687224 h 945939"/>
                <a:gd name="connsiteX12" fmla="*/ 31251 w 1774958"/>
                <a:gd name="connsiteY12" fmla="*/ 675247 h 945939"/>
                <a:gd name="connsiteX13" fmla="*/ 1052080 w 1774958"/>
                <a:gd name="connsiteY13" fmla="*/ 55837 h 945939"/>
                <a:gd name="connsiteX14" fmla="*/ 1694076 w 1774958"/>
                <a:gd name="connsiteY14" fmla="*/ 826164 h 945939"/>
                <a:gd name="connsiteX15" fmla="*/ 1653695 w 1774958"/>
                <a:gd name="connsiteY15" fmla="*/ 869967 h 945939"/>
                <a:gd name="connsiteX16" fmla="*/ 1698867 w 1774958"/>
                <a:gd name="connsiteY16" fmla="*/ 944228 h 945939"/>
                <a:gd name="connsiteX17" fmla="*/ 1713582 w 1774958"/>
                <a:gd name="connsiteY17" fmla="*/ 945939 h 945939"/>
                <a:gd name="connsiteX18" fmla="*/ 1773128 w 1774958"/>
                <a:gd name="connsiteY18" fmla="*/ 899056 h 945939"/>
                <a:gd name="connsiteX19" fmla="*/ 1727955 w 1774958"/>
                <a:gd name="connsiteY19" fmla="*/ 825137 h 945939"/>
                <a:gd name="connsiteX20" fmla="*/ 1742329 w 1774958"/>
                <a:gd name="connsiteY20" fmla="*/ 891869 h 945939"/>
                <a:gd name="connsiteX21" fmla="*/ 1713582 w 1774958"/>
                <a:gd name="connsiteY21" fmla="*/ 914455 h 945939"/>
                <a:gd name="connsiteX22" fmla="*/ 1706396 w 1774958"/>
                <a:gd name="connsiteY22" fmla="*/ 913429 h 945939"/>
                <a:gd name="connsiteX23" fmla="*/ 1684837 w 1774958"/>
                <a:gd name="connsiteY23" fmla="*/ 877838 h 945939"/>
                <a:gd name="connsiteX24" fmla="*/ 1713582 w 1774958"/>
                <a:gd name="connsiteY24" fmla="*/ 855252 h 945939"/>
                <a:gd name="connsiteX25" fmla="*/ 1720769 w 1774958"/>
                <a:gd name="connsiteY25" fmla="*/ 856279 h 945939"/>
                <a:gd name="connsiteX26" fmla="*/ 1742329 w 1774958"/>
                <a:gd name="connsiteY26" fmla="*/ 891869 h 945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774958" h="945939">
                  <a:moveTo>
                    <a:pt x="1727955" y="825137"/>
                  </a:moveTo>
                  <a:cubicBezTo>
                    <a:pt x="1727271" y="825137"/>
                    <a:pt x="1726587" y="824795"/>
                    <a:pt x="1725903" y="824795"/>
                  </a:cubicBezTo>
                  <a:cubicBezTo>
                    <a:pt x="1720769" y="735134"/>
                    <a:pt x="1701605" y="647185"/>
                    <a:pt x="1669437" y="563000"/>
                  </a:cubicBezTo>
                  <a:cubicBezTo>
                    <a:pt x="1636242" y="476419"/>
                    <a:pt x="1590043" y="396341"/>
                    <a:pt x="1531524" y="324134"/>
                  </a:cubicBezTo>
                  <a:cubicBezTo>
                    <a:pt x="1472663" y="251242"/>
                    <a:pt x="1402851" y="188958"/>
                    <a:pt x="1324484" y="138653"/>
                  </a:cubicBezTo>
                  <a:cubicBezTo>
                    <a:pt x="1243379" y="86636"/>
                    <a:pt x="1154060" y="48308"/>
                    <a:pt x="1059609" y="25379"/>
                  </a:cubicBezTo>
                  <a:cubicBezTo>
                    <a:pt x="944624" y="-2682"/>
                    <a:pt x="827928" y="-7473"/>
                    <a:pt x="711918" y="11006"/>
                  </a:cubicBezTo>
                  <a:cubicBezTo>
                    <a:pt x="600013" y="29144"/>
                    <a:pt x="494268" y="68156"/>
                    <a:pt x="396737" y="127017"/>
                  </a:cubicBezTo>
                  <a:cubicBezTo>
                    <a:pt x="299205" y="185878"/>
                    <a:pt x="215705" y="261850"/>
                    <a:pt x="148289" y="352880"/>
                  </a:cubicBezTo>
                  <a:cubicBezTo>
                    <a:pt x="78135" y="446989"/>
                    <a:pt x="28513" y="552734"/>
                    <a:pt x="452" y="667718"/>
                  </a:cubicBezTo>
                  <a:cubicBezTo>
                    <a:pt x="-1602" y="676273"/>
                    <a:pt x="3531" y="684829"/>
                    <a:pt x="12087" y="686882"/>
                  </a:cubicBezTo>
                  <a:cubicBezTo>
                    <a:pt x="13455" y="687224"/>
                    <a:pt x="14482" y="687224"/>
                    <a:pt x="15851" y="687224"/>
                  </a:cubicBezTo>
                  <a:cubicBezTo>
                    <a:pt x="23037" y="687224"/>
                    <a:pt x="29540" y="682433"/>
                    <a:pt x="31251" y="675247"/>
                  </a:cubicBezTo>
                  <a:cubicBezTo>
                    <a:pt x="142471" y="223180"/>
                    <a:pt x="600013" y="-54699"/>
                    <a:pt x="1052080" y="55837"/>
                  </a:cubicBezTo>
                  <a:cubicBezTo>
                    <a:pt x="1410037" y="143444"/>
                    <a:pt x="1672859" y="459309"/>
                    <a:pt x="1694076" y="826164"/>
                  </a:cubicBezTo>
                  <a:cubicBezTo>
                    <a:pt x="1674228" y="832666"/>
                    <a:pt x="1658828" y="848750"/>
                    <a:pt x="1653695" y="869967"/>
                  </a:cubicBezTo>
                  <a:cubicBezTo>
                    <a:pt x="1645482" y="902820"/>
                    <a:pt x="1666015" y="936015"/>
                    <a:pt x="1698867" y="944228"/>
                  </a:cubicBezTo>
                  <a:cubicBezTo>
                    <a:pt x="1703659" y="945255"/>
                    <a:pt x="1708449" y="945939"/>
                    <a:pt x="1713582" y="945939"/>
                  </a:cubicBezTo>
                  <a:cubicBezTo>
                    <a:pt x="1741987" y="945939"/>
                    <a:pt x="1766626" y="926775"/>
                    <a:pt x="1773128" y="899056"/>
                  </a:cubicBezTo>
                  <a:cubicBezTo>
                    <a:pt x="1781341" y="866545"/>
                    <a:pt x="1761151" y="833008"/>
                    <a:pt x="1727955" y="825137"/>
                  </a:cubicBezTo>
                  <a:close/>
                  <a:moveTo>
                    <a:pt x="1742329" y="891869"/>
                  </a:moveTo>
                  <a:cubicBezTo>
                    <a:pt x="1738907" y="905216"/>
                    <a:pt x="1727271" y="914455"/>
                    <a:pt x="1713582" y="914455"/>
                  </a:cubicBezTo>
                  <a:cubicBezTo>
                    <a:pt x="1711187" y="914455"/>
                    <a:pt x="1708792" y="914113"/>
                    <a:pt x="1706396" y="913429"/>
                  </a:cubicBezTo>
                  <a:cubicBezTo>
                    <a:pt x="1690654" y="909664"/>
                    <a:pt x="1680730" y="893580"/>
                    <a:pt x="1684837" y="877838"/>
                  </a:cubicBezTo>
                  <a:cubicBezTo>
                    <a:pt x="1688259" y="864492"/>
                    <a:pt x="1699894" y="855252"/>
                    <a:pt x="1713582" y="855252"/>
                  </a:cubicBezTo>
                  <a:cubicBezTo>
                    <a:pt x="1715978" y="855252"/>
                    <a:pt x="1718374" y="855594"/>
                    <a:pt x="1720769" y="856279"/>
                  </a:cubicBezTo>
                  <a:cubicBezTo>
                    <a:pt x="1736511" y="860043"/>
                    <a:pt x="1746093" y="875785"/>
                    <a:pt x="1742329" y="891869"/>
                  </a:cubicBezTo>
                  <a:close/>
                </a:path>
              </a:pathLst>
            </a:custGeom>
            <a:solidFill>
              <a:schemeClr val="tx2"/>
            </a:solidFill>
            <a:ln w="342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y-AM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10" name="Graphic 2">
            <a:extLst>
              <a:ext uri="{FF2B5EF4-FFF2-40B4-BE49-F238E27FC236}">
                <a16:creationId xmlns:a16="http://schemas.microsoft.com/office/drawing/2014/main" id="{FD220D3A-8915-E8B7-E36E-ACCAE6D4BC36}"/>
              </a:ext>
            </a:extLst>
          </p:cNvPr>
          <p:cNvGrpSpPr/>
          <p:nvPr/>
        </p:nvGrpSpPr>
        <p:grpSpPr>
          <a:xfrm rot="10800000">
            <a:off x="7997895" y="3274680"/>
            <a:ext cx="520814" cy="497094"/>
            <a:chOff x="7297304" y="1696307"/>
            <a:chExt cx="1845445" cy="1752199"/>
          </a:xfrm>
          <a:solidFill>
            <a:srgbClr val="FA5000"/>
          </a:solidFill>
        </p:grpSpPr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0C690314-A78B-59E2-AC23-BBE01C3F630A}"/>
                </a:ext>
              </a:extLst>
            </p:cNvPr>
            <p:cNvSpPr/>
            <p:nvPr/>
          </p:nvSpPr>
          <p:spPr>
            <a:xfrm>
              <a:off x="7297304" y="2516653"/>
              <a:ext cx="1773228" cy="931853"/>
            </a:xfrm>
            <a:custGeom>
              <a:avLst/>
              <a:gdLst>
                <a:gd name="connsiteX0" fmla="*/ 1761142 w 1773228"/>
                <a:gd name="connsiteY0" fmla="*/ 244684 h 931853"/>
                <a:gd name="connsiteX1" fmla="*/ 1741977 w 1773228"/>
                <a:gd name="connsiteY1" fmla="*/ 256319 h 931853"/>
                <a:gd name="connsiteX2" fmla="*/ 721490 w 1773228"/>
                <a:gd name="connsiteY2" fmla="*/ 875388 h 931853"/>
                <a:gd name="connsiteX3" fmla="*/ 80521 w 1773228"/>
                <a:gd name="connsiteY3" fmla="*/ 119775 h 931853"/>
                <a:gd name="connsiteX4" fmla="*/ 121245 w 1773228"/>
                <a:gd name="connsiteY4" fmla="*/ 75972 h 931853"/>
                <a:gd name="connsiteX5" fmla="*/ 76072 w 1773228"/>
                <a:gd name="connsiteY5" fmla="*/ 1711 h 931853"/>
                <a:gd name="connsiteX6" fmla="*/ 61357 w 1773228"/>
                <a:gd name="connsiteY6" fmla="*/ 0 h 931853"/>
                <a:gd name="connsiteX7" fmla="*/ 1811 w 1773228"/>
                <a:gd name="connsiteY7" fmla="*/ 46884 h 931853"/>
                <a:gd name="connsiteX8" fmla="*/ 46984 w 1773228"/>
                <a:gd name="connsiteY8" fmla="*/ 121144 h 931853"/>
                <a:gd name="connsiteX9" fmla="*/ 48695 w 1773228"/>
                <a:gd name="connsiteY9" fmla="*/ 121487 h 931853"/>
                <a:gd name="connsiteX10" fmla="*/ 108925 w 1773228"/>
                <a:gd name="connsiteY10" fmla="*/ 380886 h 931853"/>
                <a:gd name="connsiteX11" fmla="*/ 247522 w 1773228"/>
                <a:gd name="connsiteY11" fmla="*/ 614277 h 931853"/>
                <a:gd name="connsiteX12" fmla="*/ 713962 w 1773228"/>
                <a:gd name="connsiteY12" fmla="*/ 906529 h 931853"/>
                <a:gd name="connsiteX13" fmla="*/ 922713 w 1773228"/>
                <a:gd name="connsiteY13" fmla="*/ 931853 h 931853"/>
                <a:gd name="connsiteX14" fmla="*/ 1061311 w 1773228"/>
                <a:gd name="connsiteY14" fmla="*/ 920560 h 931853"/>
                <a:gd name="connsiteX15" fmla="*/ 1376492 w 1773228"/>
                <a:gd name="connsiteY15" fmla="*/ 804549 h 931853"/>
                <a:gd name="connsiteX16" fmla="*/ 1624940 w 1773228"/>
                <a:gd name="connsiteY16" fmla="*/ 578687 h 931853"/>
                <a:gd name="connsiteX17" fmla="*/ 1772777 w 1773228"/>
                <a:gd name="connsiteY17" fmla="*/ 263848 h 931853"/>
                <a:gd name="connsiteX18" fmla="*/ 1761142 w 1773228"/>
                <a:gd name="connsiteY18" fmla="*/ 244684 h 931853"/>
                <a:gd name="connsiteX19" fmla="*/ 32610 w 1773228"/>
                <a:gd name="connsiteY19" fmla="*/ 54412 h 931853"/>
                <a:gd name="connsiteX20" fmla="*/ 61357 w 1773228"/>
                <a:gd name="connsiteY20" fmla="*/ 31826 h 931853"/>
                <a:gd name="connsiteX21" fmla="*/ 68543 w 1773228"/>
                <a:gd name="connsiteY21" fmla="*/ 32853 h 931853"/>
                <a:gd name="connsiteX22" fmla="*/ 90103 w 1773228"/>
                <a:gd name="connsiteY22" fmla="*/ 68443 h 931853"/>
                <a:gd name="connsiteX23" fmla="*/ 61357 w 1773228"/>
                <a:gd name="connsiteY23" fmla="*/ 91029 h 931853"/>
                <a:gd name="connsiteX24" fmla="*/ 54170 w 1773228"/>
                <a:gd name="connsiteY24" fmla="*/ 90003 h 931853"/>
                <a:gd name="connsiteX25" fmla="*/ 32610 w 1773228"/>
                <a:gd name="connsiteY25" fmla="*/ 54412 h 931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773228" h="931853">
                  <a:moveTo>
                    <a:pt x="1761142" y="244684"/>
                  </a:moveTo>
                  <a:cubicBezTo>
                    <a:pt x="1752586" y="242631"/>
                    <a:pt x="1744031" y="247764"/>
                    <a:pt x="1741977" y="256319"/>
                  </a:cubicBezTo>
                  <a:cubicBezTo>
                    <a:pt x="1631442" y="708386"/>
                    <a:pt x="1173558" y="986265"/>
                    <a:pt x="721490" y="875388"/>
                  </a:cubicBezTo>
                  <a:cubicBezTo>
                    <a:pt x="364559" y="788123"/>
                    <a:pt x="108240" y="484920"/>
                    <a:pt x="80521" y="119775"/>
                  </a:cubicBezTo>
                  <a:cubicBezTo>
                    <a:pt x="100369" y="113273"/>
                    <a:pt x="116111" y="97189"/>
                    <a:pt x="121245" y="75972"/>
                  </a:cubicBezTo>
                  <a:cubicBezTo>
                    <a:pt x="129458" y="43119"/>
                    <a:pt x="108925" y="9924"/>
                    <a:pt x="76072" y="1711"/>
                  </a:cubicBezTo>
                  <a:cubicBezTo>
                    <a:pt x="71281" y="684"/>
                    <a:pt x="66490" y="0"/>
                    <a:pt x="61357" y="0"/>
                  </a:cubicBezTo>
                  <a:cubicBezTo>
                    <a:pt x="32953" y="0"/>
                    <a:pt x="8314" y="19164"/>
                    <a:pt x="1811" y="46884"/>
                  </a:cubicBezTo>
                  <a:cubicBezTo>
                    <a:pt x="-6402" y="79736"/>
                    <a:pt x="14131" y="112931"/>
                    <a:pt x="46984" y="121144"/>
                  </a:cubicBezTo>
                  <a:cubicBezTo>
                    <a:pt x="47668" y="121144"/>
                    <a:pt x="48010" y="121487"/>
                    <a:pt x="48695" y="121487"/>
                  </a:cubicBezTo>
                  <a:cubicBezTo>
                    <a:pt x="55539" y="210463"/>
                    <a:pt x="75730" y="297728"/>
                    <a:pt x="108925" y="380886"/>
                  </a:cubicBezTo>
                  <a:cubicBezTo>
                    <a:pt x="142804" y="465413"/>
                    <a:pt x="189345" y="544123"/>
                    <a:pt x="247522" y="614277"/>
                  </a:cubicBezTo>
                  <a:cubicBezTo>
                    <a:pt x="368324" y="760403"/>
                    <a:pt x="529508" y="861357"/>
                    <a:pt x="713962" y="906529"/>
                  </a:cubicBezTo>
                  <a:cubicBezTo>
                    <a:pt x="783089" y="923298"/>
                    <a:pt x="852902" y="931853"/>
                    <a:pt x="922713" y="931853"/>
                  </a:cubicBezTo>
                  <a:cubicBezTo>
                    <a:pt x="968912" y="931853"/>
                    <a:pt x="1015454" y="928089"/>
                    <a:pt x="1061311" y="920560"/>
                  </a:cubicBezTo>
                  <a:cubicBezTo>
                    <a:pt x="1173215" y="902422"/>
                    <a:pt x="1278960" y="863410"/>
                    <a:pt x="1376492" y="804549"/>
                  </a:cubicBezTo>
                  <a:cubicBezTo>
                    <a:pt x="1473680" y="745688"/>
                    <a:pt x="1557523" y="669716"/>
                    <a:pt x="1624940" y="578687"/>
                  </a:cubicBezTo>
                  <a:cubicBezTo>
                    <a:pt x="1695094" y="484577"/>
                    <a:pt x="1744715" y="378833"/>
                    <a:pt x="1772777" y="263848"/>
                  </a:cubicBezTo>
                  <a:cubicBezTo>
                    <a:pt x="1774830" y="255293"/>
                    <a:pt x="1769697" y="246737"/>
                    <a:pt x="1761142" y="244684"/>
                  </a:cubicBezTo>
                  <a:close/>
                  <a:moveTo>
                    <a:pt x="32610" y="54412"/>
                  </a:moveTo>
                  <a:cubicBezTo>
                    <a:pt x="36032" y="41066"/>
                    <a:pt x="47668" y="31826"/>
                    <a:pt x="61357" y="31826"/>
                  </a:cubicBezTo>
                  <a:cubicBezTo>
                    <a:pt x="63752" y="31826"/>
                    <a:pt x="66148" y="32168"/>
                    <a:pt x="68543" y="32853"/>
                  </a:cubicBezTo>
                  <a:cubicBezTo>
                    <a:pt x="84285" y="36617"/>
                    <a:pt x="94209" y="52701"/>
                    <a:pt x="90103" y="68443"/>
                  </a:cubicBezTo>
                  <a:cubicBezTo>
                    <a:pt x="86681" y="81790"/>
                    <a:pt x="75046" y="91029"/>
                    <a:pt x="61357" y="91029"/>
                  </a:cubicBezTo>
                  <a:cubicBezTo>
                    <a:pt x="58962" y="91029"/>
                    <a:pt x="56565" y="90687"/>
                    <a:pt x="54170" y="90003"/>
                  </a:cubicBezTo>
                  <a:cubicBezTo>
                    <a:pt x="38429" y="86238"/>
                    <a:pt x="28846" y="70154"/>
                    <a:pt x="32610" y="54412"/>
                  </a:cubicBezTo>
                  <a:close/>
                </a:path>
              </a:pathLst>
            </a:custGeom>
            <a:solidFill>
              <a:schemeClr val="tx2"/>
            </a:solidFill>
            <a:ln w="342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y-AM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B03F0BA5-E728-EBD2-C83F-753AD244090C}"/>
                </a:ext>
              </a:extLst>
            </p:cNvPr>
            <p:cNvSpPr/>
            <p:nvPr/>
          </p:nvSpPr>
          <p:spPr>
            <a:xfrm>
              <a:off x="7367791" y="1696307"/>
              <a:ext cx="1774958" cy="945939"/>
            </a:xfrm>
            <a:custGeom>
              <a:avLst/>
              <a:gdLst>
                <a:gd name="connsiteX0" fmla="*/ 1727955 w 1774958"/>
                <a:gd name="connsiteY0" fmla="*/ 825137 h 945939"/>
                <a:gd name="connsiteX1" fmla="*/ 1725903 w 1774958"/>
                <a:gd name="connsiteY1" fmla="*/ 824795 h 945939"/>
                <a:gd name="connsiteX2" fmla="*/ 1669437 w 1774958"/>
                <a:gd name="connsiteY2" fmla="*/ 563000 h 945939"/>
                <a:gd name="connsiteX3" fmla="*/ 1531524 w 1774958"/>
                <a:gd name="connsiteY3" fmla="*/ 324134 h 945939"/>
                <a:gd name="connsiteX4" fmla="*/ 1324484 w 1774958"/>
                <a:gd name="connsiteY4" fmla="*/ 138653 h 945939"/>
                <a:gd name="connsiteX5" fmla="*/ 1059609 w 1774958"/>
                <a:gd name="connsiteY5" fmla="*/ 25379 h 945939"/>
                <a:gd name="connsiteX6" fmla="*/ 711918 w 1774958"/>
                <a:gd name="connsiteY6" fmla="*/ 11006 h 945939"/>
                <a:gd name="connsiteX7" fmla="*/ 396737 w 1774958"/>
                <a:gd name="connsiteY7" fmla="*/ 127017 h 945939"/>
                <a:gd name="connsiteX8" fmla="*/ 148289 w 1774958"/>
                <a:gd name="connsiteY8" fmla="*/ 352880 h 945939"/>
                <a:gd name="connsiteX9" fmla="*/ 452 w 1774958"/>
                <a:gd name="connsiteY9" fmla="*/ 667718 h 945939"/>
                <a:gd name="connsiteX10" fmla="*/ 12087 w 1774958"/>
                <a:gd name="connsiteY10" fmla="*/ 686882 h 945939"/>
                <a:gd name="connsiteX11" fmla="*/ 15851 w 1774958"/>
                <a:gd name="connsiteY11" fmla="*/ 687224 h 945939"/>
                <a:gd name="connsiteX12" fmla="*/ 31251 w 1774958"/>
                <a:gd name="connsiteY12" fmla="*/ 675247 h 945939"/>
                <a:gd name="connsiteX13" fmla="*/ 1052080 w 1774958"/>
                <a:gd name="connsiteY13" fmla="*/ 55837 h 945939"/>
                <a:gd name="connsiteX14" fmla="*/ 1694076 w 1774958"/>
                <a:gd name="connsiteY14" fmla="*/ 826164 h 945939"/>
                <a:gd name="connsiteX15" fmla="*/ 1653695 w 1774958"/>
                <a:gd name="connsiteY15" fmla="*/ 869967 h 945939"/>
                <a:gd name="connsiteX16" fmla="*/ 1698867 w 1774958"/>
                <a:gd name="connsiteY16" fmla="*/ 944228 h 945939"/>
                <a:gd name="connsiteX17" fmla="*/ 1713582 w 1774958"/>
                <a:gd name="connsiteY17" fmla="*/ 945939 h 945939"/>
                <a:gd name="connsiteX18" fmla="*/ 1773128 w 1774958"/>
                <a:gd name="connsiteY18" fmla="*/ 899056 h 945939"/>
                <a:gd name="connsiteX19" fmla="*/ 1727955 w 1774958"/>
                <a:gd name="connsiteY19" fmla="*/ 825137 h 945939"/>
                <a:gd name="connsiteX20" fmla="*/ 1742329 w 1774958"/>
                <a:gd name="connsiteY20" fmla="*/ 891869 h 945939"/>
                <a:gd name="connsiteX21" fmla="*/ 1713582 w 1774958"/>
                <a:gd name="connsiteY21" fmla="*/ 914455 h 945939"/>
                <a:gd name="connsiteX22" fmla="*/ 1706396 w 1774958"/>
                <a:gd name="connsiteY22" fmla="*/ 913429 h 945939"/>
                <a:gd name="connsiteX23" fmla="*/ 1684837 w 1774958"/>
                <a:gd name="connsiteY23" fmla="*/ 877838 h 945939"/>
                <a:gd name="connsiteX24" fmla="*/ 1713582 w 1774958"/>
                <a:gd name="connsiteY24" fmla="*/ 855252 h 945939"/>
                <a:gd name="connsiteX25" fmla="*/ 1720769 w 1774958"/>
                <a:gd name="connsiteY25" fmla="*/ 856279 h 945939"/>
                <a:gd name="connsiteX26" fmla="*/ 1742329 w 1774958"/>
                <a:gd name="connsiteY26" fmla="*/ 891869 h 945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774958" h="945939">
                  <a:moveTo>
                    <a:pt x="1727955" y="825137"/>
                  </a:moveTo>
                  <a:cubicBezTo>
                    <a:pt x="1727271" y="825137"/>
                    <a:pt x="1726587" y="824795"/>
                    <a:pt x="1725903" y="824795"/>
                  </a:cubicBezTo>
                  <a:cubicBezTo>
                    <a:pt x="1720769" y="735134"/>
                    <a:pt x="1701605" y="647185"/>
                    <a:pt x="1669437" y="563000"/>
                  </a:cubicBezTo>
                  <a:cubicBezTo>
                    <a:pt x="1636242" y="476419"/>
                    <a:pt x="1590043" y="396341"/>
                    <a:pt x="1531524" y="324134"/>
                  </a:cubicBezTo>
                  <a:cubicBezTo>
                    <a:pt x="1472663" y="251242"/>
                    <a:pt x="1402851" y="188958"/>
                    <a:pt x="1324484" y="138653"/>
                  </a:cubicBezTo>
                  <a:cubicBezTo>
                    <a:pt x="1243379" y="86636"/>
                    <a:pt x="1154060" y="48308"/>
                    <a:pt x="1059609" y="25379"/>
                  </a:cubicBezTo>
                  <a:cubicBezTo>
                    <a:pt x="944624" y="-2682"/>
                    <a:pt x="827928" y="-7473"/>
                    <a:pt x="711918" y="11006"/>
                  </a:cubicBezTo>
                  <a:cubicBezTo>
                    <a:pt x="600013" y="29144"/>
                    <a:pt x="494268" y="68156"/>
                    <a:pt x="396737" y="127017"/>
                  </a:cubicBezTo>
                  <a:cubicBezTo>
                    <a:pt x="299205" y="185878"/>
                    <a:pt x="215705" y="261850"/>
                    <a:pt x="148289" y="352880"/>
                  </a:cubicBezTo>
                  <a:cubicBezTo>
                    <a:pt x="78135" y="446989"/>
                    <a:pt x="28513" y="552734"/>
                    <a:pt x="452" y="667718"/>
                  </a:cubicBezTo>
                  <a:cubicBezTo>
                    <a:pt x="-1602" y="676273"/>
                    <a:pt x="3531" y="684829"/>
                    <a:pt x="12087" y="686882"/>
                  </a:cubicBezTo>
                  <a:cubicBezTo>
                    <a:pt x="13455" y="687224"/>
                    <a:pt x="14482" y="687224"/>
                    <a:pt x="15851" y="687224"/>
                  </a:cubicBezTo>
                  <a:cubicBezTo>
                    <a:pt x="23037" y="687224"/>
                    <a:pt x="29540" y="682433"/>
                    <a:pt x="31251" y="675247"/>
                  </a:cubicBezTo>
                  <a:cubicBezTo>
                    <a:pt x="142471" y="223180"/>
                    <a:pt x="600013" y="-54699"/>
                    <a:pt x="1052080" y="55837"/>
                  </a:cubicBezTo>
                  <a:cubicBezTo>
                    <a:pt x="1410037" y="143444"/>
                    <a:pt x="1672859" y="459309"/>
                    <a:pt x="1694076" y="826164"/>
                  </a:cubicBezTo>
                  <a:cubicBezTo>
                    <a:pt x="1674228" y="832666"/>
                    <a:pt x="1658828" y="848750"/>
                    <a:pt x="1653695" y="869967"/>
                  </a:cubicBezTo>
                  <a:cubicBezTo>
                    <a:pt x="1645482" y="902820"/>
                    <a:pt x="1666015" y="936015"/>
                    <a:pt x="1698867" y="944228"/>
                  </a:cubicBezTo>
                  <a:cubicBezTo>
                    <a:pt x="1703659" y="945255"/>
                    <a:pt x="1708449" y="945939"/>
                    <a:pt x="1713582" y="945939"/>
                  </a:cubicBezTo>
                  <a:cubicBezTo>
                    <a:pt x="1741987" y="945939"/>
                    <a:pt x="1766626" y="926775"/>
                    <a:pt x="1773128" y="899056"/>
                  </a:cubicBezTo>
                  <a:cubicBezTo>
                    <a:pt x="1781341" y="866545"/>
                    <a:pt x="1761151" y="833008"/>
                    <a:pt x="1727955" y="825137"/>
                  </a:cubicBezTo>
                  <a:close/>
                  <a:moveTo>
                    <a:pt x="1742329" y="891869"/>
                  </a:moveTo>
                  <a:cubicBezTo>
                    <a:pt x="1738907" y="905216"/>
                    <a:pt x="1727271" y="914455"/>
                    <a:pt x="1713582" y="914455"/>
                  </a:cubicBezTo>
                  <a:cubicBezTo>
                    <a:pt x="1711187" y="914455"/>
                    <a:pt x="1708792" y="914113"/>
                    <a:pt x="1706396" y="913429"/>
                  </a:cubicBezTo>
                  <a:cubicBezTo>
                    <a:pt x="1690654" y="909664"/>
                    <a:pt x="1680730" y="893580"/>
                    <a:pt x="1684837" y="877838"/>
                  </a:cubicBezTo>
                  <a:cubicBezTo>
                    <a:pt x="1688259" y="864492"/>
                    <a:pt x="1699894" y="855252"/>
                    <a:pt x="1713582" y="855252"/>
                  </a:cubicBezTo>
                  <a:cubicBezTo>
                    <a:pt x="1715978" y="855252"/>
                    <a:pt x="1718374" y="855594"/>
                    <a:pt x="1720769" y="856279"/>
                  </a:cubicBezTo>
                  <a:cubicBezTo>
                    <a:pt x="1736511" y="860043"/>
                    <a:pt x="1746093" y="875785"/>
                    <a:pt x="1742329" y="891869"/>
                  </a:cubicBezTo>
                  <a:close/>
                </a:path>
              </a:pathLst>
            </a:custGeom>
            <a:solidFill>
              <a:schemeClr val="tx2"/>
            </a:solidFill>
            <a:ln w="342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y-AM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15" name="Graphic 2">
            <a:extLst>
              <a:ext uri="{FF2B5EF4-FFF2-40B4-BE49-F238E27FC236}">
                <a16:creationId xmlns:a16="http://schemas.microsoft.com/office/drawing/2014/main" id="{15865285-702D-B878-74B7-46536332469E}"/>
              </a:ext>
            </a:extLst>
          </p:cNvPr>
          <p:cNvGrpSpPr/>
          <p:nvPr/>
        </p:nvGrpSpPr>
        <p:grpSpPr>
          <a:xfrm rot="10800000">
            <a:off x="10969588" y="3290498"/>
            <a:ext cx="520814" cy="497094"/>
            <a:chOff x="7297304" y="1696307"/>
            <a:chExt cx="1845445" cy="1752199"/>
          </a:xfrm>
          <a:solidFill>
            <a:srgbClr val="FA5000"/>
          </a:solidFill>
        </p:grpSpPr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6E24EE75-7A85-F603-C83B-59AB97C6D188}"/>
                </a:ext>
              </a:extLst>
            </p:cNvPr>
            <p:cNvSpPr/>
            <p:nvPr/>
          </p:nvSpPr>
          <p:spPr>
            <a:xfrm>
              <a:off x="7297304" y="2516653"/>
              <a:ext cx="1773228" cy="931853"/>
            </a:xfrm>
            <a:custGeom>
              <a:avLst/>
              <a:gdLst>
                <a:gd name="connsiteX0" fmla="*/ 1761142 w 1773228"/>
                <a:gd name="connsiteY0" fmla="*/ 244684 h 931853"/>
                <a:gd name="connsiteX1" fmla="*/ 1741977 w 1773228"/>
                <a:gd name="connsiteY1" fmla="*/ 256319 h 931853"/>
                <a:gd name="connsiteX2" fmla="*/ 721490 w 1773228"/>
                <a:gd name="connsiteY2" fmla="*/ 875388 h 931853"/>
                <a:gd name="connsiteX3" fmla="*/ 80521 w 1773228"/>
                <a:gd name="connsiteY3" fmla="*/ 119775 h 931853"/>
                <a:gd name="connsiteX4" fmla="*/ 121245 w 1773228"/>
                <a:gd name="connsiteY4" fmla="*/ 75972 h 931853"/>
                <a:gd name="connsiteX5" fmla="*/ 76072 w 1773228"/>
                <a:gd name="connsiteY5" fmla="*/ 1711 h 931853"/>
                <a:gd name="connsiteX6" fmla="*/ 61357 w 1773228"/>
                <a:gd name="connsiteY6" fmla="*/ 0 h 931853"/>
                <a:gd name="connsiteX7" fmla="*/ 1811 w 1773228"/>
                <a:gd name="connsiteY7" fmla="*/ 46884 h 931853"/>
                <a:gd name="connsiteX8" fmla="*/ 46984 w 1773228"/>
                <a:gd name="connsiteY8" fmla="*/ 121144 h 931853"/>
                <a:gd name="connsiteX9" fmla="*/ 48695 w 1773228"/>
                <a:gd name="connsiteY9" fmla="*/ 121487 h 931853"/>
                <a:gd name="connsiteX10" fmla="*/ 108925 w 1773228"/>
                <a:gd name="connsiteY10" fmla="*/ 380886 h 931853"/>
                <a:gd name="connsiteX11" fmla="*/ 247522 w 1773228"/>
                <a:gd name="connsiteY11" fmla="*/ 614277 h 931853"/>
                <a:gd name="connsiteX12" fmla="*/ 713962 w 1773228"/>
                <a:gd name="connsiteY12" fmla="*/ 906529 h 931853"/>
                <a:gd name="connsiteX13" fmla="*/ 922713 w 1773228"/>
                <a:gd name="connsiteY13" fmla="*/ 931853 h 931853"/>
                <a:gd name="connsiteX14" fmla="*/ 1061311 w 1773228"/>
                <a:gd name="connsiteY14" fmla="*/ 920560 h 931853"/>
                <a:gd name="connsiteX15" fmla="*/ 1376492 w 1773228"/>
                <a:gd name="connsiteY15" fmla="*/ 804549 h 931853"/>
                <a:gd name="connsiteX16" fmla="*/ 1624940 w 1773228"/>
                <a:gd name="connsiteY16" fmla="*/ 578687 h 931853"/>
                <a:gd name="connsiteX17" fmla="*/ 1772777 w 1773228"/>
                <a:gd name="connsiteY17" fmla="*/ 263848 h 931853"/>
                <a:gd name="connsiteX18" fmla="*/ 1761142 w 1773228"/>
                <a:gd name="connsiteY18" fmla="*/ 244684 h 931853"/>
                <a:gd name="connsiteX19" fmla="*/ 32610 w 1773228"/>
                <a:gd name="connsiteY19" fmla="*/ 54412 h 931853"/>
                <a:gd name="connsiteX20" fmla="*/ 61357 w 1773228"/>
                <a:gd name="connsiteY20" fmla="*/ 31826 h 931853"/>
                <a:gd name="connsiteX21" fmla="*/ 68543 w 1773228"/>
                <a:gd name="connsiteY21" fmla="*/ 32853 h 931853"/>
                <a:gd name="connsiteX22" fmla="*/ 90103 w 1773228"/>
                <a:gd name="connsiteY22" fmla="*/ 68443 h 931853"/>
                <a:gd name="connsiteX23" fmla="*/ 61357 w 1773228"/>
                <a:gd name="connsiteY23" fmla="*/ 91029 h 931853"/>
                <a:gd name="connsiteX24" fmla="*/ 54170 w 1773228"/>
                <a:gd name="connsiteY24" fmla="*/ 90003 h 931853"/>
                <a:gd name="connsiteX25" fmla="*/ 32610 w 1773228"/>
                <a:gd name="connsiteY25" fmla="*/ 54412 h 931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773228" h="931853">
                  <a:moveTo>
                    <a:pt x="1761142" y="244684"/>
                  </a:moveTo>
                  <a:cubicBezTo>
                    <a:pt x="1752586" y="242631"/>
                    <a:pt x="1744031" y="247764"/>
                    <a:pt x="1741977" y="256319"/>
                  </a:cubicBezTo>
                  <a:cubicBezTo>
                    <a:pt x="1631442" y="708386"/>
                    <a:pt x="1173558" y="986265"/>
                    <a:pt x="721490" y="875388"/>
                  </a:cubicBezTo>
                  <a:cubicBezTo>
                    <a:pt x="364559" y="788123"/>
                    <a:pt x="108240" y="484920"/>
                    <a:pt x="80521" y="119775"/>
                  </a:cubicBezTo>
                  <a:cubicBezTo>
                    <a:pt x="100369" y="113273"/>
                    <a:pt x="116111" y="97189"/>
                    <a:pt x="121245" y="75972"/>
                  </a:cubicBezTo>
                  <a:cubicBezTo>
                    <a:pt x="129458" y="43119"/>
                    <a:pt x="108925" y="9924"/>
                    <a:pt x="76072" y="1711"/>
                  </a:cubicBezTo>
                  <a:cubicBezTo>
                    <a:pt x="71281" y="684"/>
                    <a:pt x="66490" y="0"/>
                    <a:pt x="61357" y="0"/>
                  </a:cubicBezTo>
                  <a:cubicBezTo>
                    <a:pt x="32953" y="0"/>
                    <a:pt x="8314" y="19164"/>
                    <a:pt x="1811" y="46884"/>
                  </a:cubicBezTo>
                  <a:cubicBezTo>
                    <a:pt x="-6402" y="79736"/>
                    <a:pt x="14131" y="112931"/>
                    <a:pt x="46984" y="121144"/>
                  </a:cubicBezTo>
                  <a:cubicBezTo>
                    <a:pt x="47668" y="121144"/>
                    <a:pt x="48010" y="121487"/>
                    <a:pt x="48695" y="121487"/>
                  </a:cubicBezTo>
                  <a:cubicBezTo>
                    <a:pt x="55539" y="210463"/>
                    <a:pt x="75730" y="297728"/>
                    <a:pt x="108925" y="380886"/>
                  </a:cubicBezTo>
                  <a:cubicBezTo>
                    <a:pt x="142804" y="465413"/>
                    <a:pt x="189345" y="544123"/>
                    <a:pt x="247522" y="614277"/>
                  </a:cubicBezTo>
                  <a:cubicBezTo>
                    <a:pt x="368324" y="760403"/>
                    <a:pt x="529508" y="861357"/>
                    <a:pt x="713962" y="906529"/>
                  </a:cubicBezTo>
                  <a:cubicBezTo>
                    <a:pt x="783089" y="923298"/>
                    <a:pt x="852902" y="931853"/>
                    <a:pt x="922713" y="931853"/>
                  </a:cubicBezTo>
                  <a:cubicBezTo>
                    <a:pt x="968912" y="931853"/>
                    <a:pt x="1015454" y="928089"/>
                    <a:pt x="1061311" y="920560"/>
                  </a:cubicBezTo>
                  <a:cubicBezTo>
                    <a:pt x="1173215" y="902422"/>
                    <a:pt x="1278960" y="863410"/>
                    <a:pt x="1376492" y="804549"/>
                  </a:cubicBezTo>
                  <a:cubicBezTo>
                    <a:pt x="1473680" y="745688"/>
                    <a:pt x="1557523" y="669716"/>
                    <a:pt x="1624940" y="578687"/>
                  </a:cubicBezTo>
                  <a:cubicBezTo>
                    <a:pt x="1695094" y="484577"/>
                    <a:pt x="1744715" y="378833"/>
                    <a:pt x="1772777" y="263848"/>
                  </a:cubicBezTo>
                  <a:cubicBezTo>
                    <a:pt x="1774830" y="255293"/>
                    <a:pt x="1769697" y="246737"/>
                    <a:pt x="1761142" y="244684"/>
                  </a:cubicBezTo>
                  <a:close/>
                  <a:moveTo>
                    <a:pt x="32610" y="54412"/>
                  </a:moveTo>
                  <a:cubicBezTo>
                    <a:pt x="36032" y="41066"/>
                    <a:pt x="47668" y="31826"/>
                    <a:pt x="61357" y="31826"/>
                  </a:cubicBezTo>
                  <a:cubicBezTo>
                    <a:pt x="63752" y="31826"/>
                    <a:pt x="66148" y="32168"/>
                    <a:pt x="68543" y="32853"/>
                  </a:cubicBezTo>
                  <a:cubicBezTo>
                    <a:pt x="84285" y="36617"/>
                    <a:pt x="94209" y="52701"/>
                    <a:pt x="90103" y="68443"/>
                  </a:cubicBezTo>
                  <a:cubicBezTo>
                    <a:pt x="86681" y="81790"/>
                    <a:pt x="75046" y="91029"/>
                    <a:pt x="61357" y="91029"/>
                  </a:cubicBezTo>
                  <a:cubicBezTo>
                    <a:pt x="58962" y="91029"/>
                    <a:pt x="56565" y="90687"/>
                    <a:pt x="54170" y="90003"/>
                  </a:cubicBezTo>
                  <a:cubicBezTo>
                    <a:pt x="38429" y="86238"/>
                    <a:pt x="28846" y="70154"/>
                    <a:pt x="32610" y="54412"/>
                  </a:cubicBezTo>
                  <a:close/>
                </a:path>
              </a:pathLst>
            </a:custGeom>
            <a:solidFill>
              <a:schemeClr val="tx2"/>
            </a:solidFill>
            <a:ln w="342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y-AM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A8F95EDA-FB6E-95D8-C581-68195F965180}"/>
                </a:ext>
              </a:extLst>
            </p:cNvPr>
            <p:cNvSpPr/>
            <p:nvPr/>
          </p:nvSpPr>
          <p:spPr>
            <a:xfrm>
              <a:off x="7367791" y="1696307"/>
              <a:ext cx="1774958" cy="945939"/>
            </a:xfrm>
            <a:custGeom>
              <a:avLst/>
              <a:gdLst>
                <a:gd name="connsiteX0" fmla="*/ 1727955 w 1774958"/>
                <a:gd name="connsiteY0" fmla="*/ 825137 h 945939"/>
                <a:gd name="connsiteX1" fmla="*/ 1725903 w 1774958"/>
                <a:gd name="connsiteY1" fmla="*/ 824795 h 945939"/>
                <a:gd name="connsiteX2" fmla="*/ 1669437 w 1774958"/>
                <a:gd name="connsiteY2" fmla="*/ 563000 h 945939"/>
                <a:gd name="connsiteX3" fmla="*/ 1531524 w 1774958"/>
                <a:gd name="connsiteY3" fmla="*/ 324134 h 945939"/>
                <a:gd name="connsiteX4" fmla="*/ 1324484 w 1774958"/>
                <a:gd name="connsiteY4" fmla="*/ 138653 h 945939"/>
                <a:gd name="connsiteX5" fmla="*/ 1059609 w 1774958"/>
                <a:gd name="connsiteY5" fmla="*/ 25379 h 945939"/>
                <a:gd name="connsiteX6" fmla="*/ 711918 w 1774958"/>
                <a:gd name="connsiteY6" fmla="*/ 11006 h 945939"/>
                <a:gd name="connsiteX7" fmla="*/ 396737 w 1774958"/>
                <a:gd name="connsiteY7" fmla="*/ 127017 h 945939"/>
                <a:gd name="connsiteX8" fmla="*/ 148289 w 1774958"/>
                <a:gd name="connsiteY8" fmla="*/ 352880 h 945939"/>
                <a:gd name="connsiteX9" fmla="*/ 452 w 1774958"/>
                <a:gd name="connsiteY9" fmla="*/ 667718 h 945939"/>
                <a:gd name="connsiteX10" fmla="*/ 12087 w 1774958"/>
                <a:gd name="connsiteY10" fmla="*/ 686882 h 945939"/>
                <a:gd name="connsiteX11" fmla="*/ 15851 w 1774958"/>
                <a:gd name="connsiteY11" fmla="*/ 687224 h 945939"/>
                <a:gd name="connsiteX12" fmla="*/ 31251 w 1774958"/>
                <a:gd name="connsiteY12" fmla="*/ 675247 h 945939"/>
                <a:gd name="connsiteX13" fmla="*/ 1052080 w 1774958"/>
                <a:gd name="connsiteY13" fmla="*/ 55837 h 945939"/>
                <a:gd name="connsiteX14" fmla="*/ 1694076 w 1774958"/>
                <a:gd name="connsiteY14" fmla="*/ 826164 h 945939"/>
                <a:gd name="connsiteX15" fmla="*/ 1653695 w 1774958"/>
                <a:gd name="connsiteY15" fmla="*/ 869967 h 945939"/>
                <a:gd name="connsiteX16" fmla="*/ 1698867 w 1774958"/>
                <a:gd name="connsiteY16" fmla="*/ 944228 h 945939"/>
                <a:gd name="connsiteX17" fmla="*/ 1713582 w 1774958"/>
                <a:gd name="connsiteY17" fmla="*/ 945939 h 945939"/>
                <a:gd name="connsiteX18" fmla="*/ 1773128 w 1774958"/>
                <a:gd name="connsiteY18" fmla="*/ 899056 h 945939"/>
                <a:gd name="connsiteX19" fmla="*/ 1727955 w 1774958"/>
                <a:gd name="connsiteY19" fmla="*/ 825137 h 945939"/>
                <a:gd name="connsiteX20" fmla="*/ 1742329 w 1774958"/>
                <a:gd name="connsiteY20" fmla="*/ 891869 h 945939"/>
                <a:gd name="connsiteX21" fmla="*/ 1713582 w 1774958"/>
                <a:gd name="connsiteY21" fmla="*/ 914455 h 945939"/>
                <a:gd name="connsiteX22" fmla="*/ 1706396 w 1774958"/>
                <a:gd name="connsiteY22" fmla="*/ 913429 h 945939"/>
                <a:gd name="connsiteX23" fmla="*/ 1684837 w 1774958"/>
                <a:gd name="connsiteY23" fmla="*/ 877838 h 945939"/>
                <a:gd name="connsiteX24" fmla="*/ 1713582 w 1774958"/>
                <a:gd name="connsiteY24" fmla="*/ 855252 h 945939"/>
                <a:gd name="connsiteX25" fmla="*/ 1720769 w 1774958"/>
                <a:gd name="connsiteY25" fmla="*/ 856279 h 945939"/>
                <a:gd name="connsiteX26" fmla="*/ 1742329 w 1774958"/>
                <a:gd name="connsiteY26" fmla="*/ 891869 h 945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774958" h="945939">
                  <a:moveTo>
                    <a:pt x="1727955" y="825137"/>
                  </a:moveTo>
                  <a:cubicBezTo>
                    <a:pt x="1727271" y="825137"/>
                    <a:pt x="1726587" y="824795"/>
                    <a:pt x="1725903" y="824795"/>
                  </a:cubicBezTo>
                  <a:cubicBezTo>
                    <a:pt x="1720769" y="735134"/>
                    <a:pt x="1701605" y="647185"/>
                    <a:pt x="1669437" y="563000"/>
                  </a:cubicBezTo>
                  <a:cubicBezTo>
                    <a:pt x="1636242" y="476419"/>
                    <a:pt x="1590043" y="396341"/>
                    <a:pt x="1531524" y="324134"/>
                  </a:cubicBezTo>
                  <a:cubicBezTo>
                    <a:pt x="1472663" y="251242"/>
                    <a:pt x="1402851" y="188958"/>
                    <a:pt x="1324484" y="138653"/>
                  </a:cubicBezTo>
                  <a:cubicBezTo>
                    <a:pt x="1243379" y="86636"/>
                    <a:pt x="1154060" y="48308"/>
                    <a:pt x="1059609" y="25379"/>
                  </a:cubicBezTo>
                  <a:cubicBezTo>
                    <a:pt x="944624" y="-2682"/>
                    <a:pt x="827928" y="-7473"/>
                    <a:pt x="711918" y="11006"/>
                  </a:cubicBezTo>
                  <a:cubicBezTo>
                    <a:pt x="600013" y="29144"/>
                    <a:pt x="494268" y="68156"/>
                    <a:pt x="396737" y="127017"/>
                  </a:cubicBezTo>
                  <a:cubicBezTo>
                    <a:pt x="299205" y="185878"/>
                    <a:pt x="215705" y="261850"/>
                    <a:pt x="148289" y="352880"/>
                  </a:cubicBezTo>
                  <a:cubicBezTo>
                    <a:pt x="78135" y="446989"/>
                    <a:pt x="28513" y="552734"/>
                    <a:pt x="452" y="667718"/>
                  </a:cubicBezTo>
                  <a:cubicBezTo>
                    <a:pt x="-1602" y="676273"/>
                    <a:pt x="3531" y="684829"/>
                    <a:pt x="12087" y="686882"/>
                  </a:cubicBezTo>
                  <a:cubicBezTo>
                    <a:pt x="13455" y="687224"/>
                    <a:pt x="14482" y="687224"/>
                    <a:pt x="15851" y="687224"/>
                  </a:cubicBezTo>
                  <a:cubicBezTo>
                    <a:pt x="23037" y="687224"/>
                    <a:pt x="29540" y="682433"/>
                    <a:pt x="31251" y="675247"/>
                  </a:cubicBezTo>
                  <a:cubicBezTo>
                    <a:pt x="142471" y="223180"/>
                    <a:pt x="600013" y="-54699"/>
                    <a:pt x="1052080" y="55837"/>
                  </a:cubicBezTo>
                  <a:cubicBezTo>
                    <a:pt x="1410037" y="143444"/>
                    <a:pt x="1672859" y="459309"/>
                    <a:pt x="1694076" y="826164"/>
                  </a:cubicBezTo>
                  <a:cubicBezTo>
                    <a:pt x="1674228" y="832666"/>
                    <a:pt x="1658828" y="848750"/>
                    <a:pt x="1653695" y="869967"/>
                  </a:cubicBezTo>
                  <a:cubicBezTo>
                    <a:pt x="1645482" y="902820"/>
                    <a:pt x="1666015" y="936015"/>
                    <a:pt x="1698867" y="944228"/>
                  </a:cubicBezTo>
                  <a:cubicBezTo>
                    <a:pt x="1703659" y="945255"/>
                    <a:pt x="1708449" y="945939"/>
                    <a:pt x="1713582" y="945939"/>
                  </a:cubicBezTo>
                  <a:cubicBezTo>
                    <a:pt x="1741987" y="945939"/>
                    <a:pt x="1766626" y="926775"/>
                    <a:pt x="1773128" y="899056"/>
                  </a:cubicBezTo>
                  <a:cubicBezTo>
                    <a:pt x="1781341" y="866545"/>
                    <a:pt x="1761151" y="833008"/>
                    <a:pt x="1727955" y="825137"/>
                  </a:cubicBezTo>
                  <a:close/>
                  <a:moveTo>
                    <a:pt x="1742329" y="891869"/>
                  </a:moveTo>
                  <a:cubicBezTo>
                    <a:pt x="1738907" y="905216"/>
                    <a:pt x="1727271" y="914455"/>
                    <a:pt x="1713582" y="914455"/>
                  </a:cubicBezTo>
                  <a:cubicBezTo>
                    <a:pt x="1711187" y="914455"/>
                    <a:pt x="1708792" y="914113"/>
                    <a:pt x="1706396" y="913429"/>
                  </a:cubicBezTo>
                  <a:cubicBezTo>
                    <a:pt x="1690654" y="909664"/>
                    <a:pt x="1680730" y="893580"/>
                    <a:pt x="1684837" y="877838"/>
                  </a:cubicBezTo>
                  <a:cubicBezTo>
                    <a:pt x="1688259" y="864492"/>
                    <a:pt x="1699894" y="855252"/>
                    <a:pt x="1713582" y="855252"/>
                  </a:cubicBezTo>
                  <a:cubicBezTo>
                    <a:pt x="1715978" y="855252"/>
                    <a:pt x="1718374" y="855594"/>
                    <a:pt x="1720769" y="856279"/>
                  </a:cubicBezTo>
                  <a:cubicBezTo>
                    <a:pt x="1736511" y="860043"/>
                    <a:pt x="1746093" y="875785"/>
                    <a:pt x="1742329" y="891869"/>
                  </a:cubicBezTo>
                  <a:close/>
                </a:path>
              </a:pathLst>
            </a:custGeom>
            <a:solidFill>
              <a:schemeClr val="tx2"/>
            </a:solidFill>
            <a:ln w="342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y-AM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19" name="Graphic 2">
            <a:extLst>
              <a:ext uri="{FF2B5EF4-FFF2-40B4-BE49-F238E27FC236}">
                <a16:creationId xmlns:a16="http://schemas.microsoft.com/office/drawing/2014/main" id="{2A03E798-797F-D905-D66F-384AACFA48E2}"/>
              </a:ext>
            </a:extLst>
          </p:cNvPr>
          <p:cNvGrpSpPr/>
          <p:nvPr/>
        </p:nvGrpSpPr>
        <p:grpSpPr>
          <a:xfrm rot="10800000">
            <a:off x="9466257" y="3278654"/>
            <a:ext cx="520814" cy="497094"/>
            <a:chOff x="7297304" y="1696307"/>
            <a:chExt cx="1845445" cy="1752199"/>
          </a:xfrm>
          <a:solidFill>
            <a:srgbClr val="FA5000"/>
          </a:solidFill>
        </p:grpSpPr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10F0E949-0FC0-2F30-2293-75F2B8E0F1C9}"/>
                </a:ext>
              </a:extLst>
            </p:cNvPr>
            <p:cNvSpPr/>
            <p:nvPr/>
          </p:nvSpPr>
          <p:spPr>
            <a:xfrm>
              <a:off x="7297304" y="2516653"/>
              <a:ext cx="1773228" cy="931853"/>
            </a:xfrm>
            <a:custGeom>
              <a:avLst/>
              <a:gdLst>
                <a:gd name="connsiteX0" fmla="*/ 1761142 w 1773228"/>
                <a:gd name="connsiteY0" fmla="*/ 244684 h 931853"/>
                <a:gd name="connsiteX1" fmla="*/ 1741977 w 1773228"/>
                <a:gd name="connsiteY1" fmla="*/ 256319 h 931853"/>
                <a:gd name="connsiteX2" fmla="*/ 721490 w 1773228"/>
                <a:gd name="connsiteY2" fmla="*/ 875388 h 931853"/>
                <a:gd name="connsiteX3" fmla="*/ 80521 w 1773228"/>
                <a:gd name="connsiteY3" fmla="*/ 119775 h 931853"/>
                <a:gd name="connsiteX4" fmla="*/ 121245 w 1773228"/>
                <a:gd name="connsiteY4" fmla="*/ 75972 h 931853"/>
                <a:gd name="connsiteX5" fmla="*/ 76072 w 1773228"/>
                <a:gd name="connsiteY5" fmla="*/ 1711 h 931853"/>
                <a:gd name="connsiteX6" fmla="*/ 61357 w 1773228"/>
                <a:gd name="connsiteY6" fmla="*/ 0 h 931853"/>
                <a:gd name="connsiteX7" fmla="*/ 1811 w 1773228"/>
                <a:gd name="connsiteY7" fmla="*/ 46884 h 931853"/>
                <a:gd name="connsiteX8" fmla="*/ 46984 w 1773228"/>
                <a:gd name="connsiteY8" fmla="*/ 121144 h 931853"/>
                <a:gd name="connsiteX9" fmla="*/ 48695 w 1773228"/>
                <a:gd name="connsiteY9" fmla="*/ 121487 h 931853"/>
                <a:gd name="connsiteX10" fmla="*/ 108925 w 1773228"/>
                <a:gd name="connsiteY10" fmla="*/ 380886 h 931853"/>
                <a:gd name="connsiteX11" fmla="*/ 247522 w 1773228"/>
                <a:gd name="connsiteY11" fmla="*/ 614277 h 931853"/>
                <a:gd name="connsiteX12" fmla="*/ 713962 w 1773228"/>
                <a:gd name="connsiteY12" fmla="*/ 906529 h 931853"/>
                <a:gd name="connsiteX13" fmla="*/ 922713 w 1773228"/>
                <a:gd name="connsiteY13" fmla="*/ 931853 h 931853"/>
                <a:gd name="connsiteX14" fmla="*/ 1061311 w 1773228"/>
                <a:gd name="connsiteY14" fmla="*/ 920560 h 931853"/>
                <a:gd name="connsiteX15" fmla="*/ 1376492 w 1773228"/>
                <a:gd name="connsiteY15" fmla="*/ 804549 h 931853"/>
                <a:gd name="connsiteX16" fmla="*/ 1624940 w 1773228"/>
                <a:gd name="connsiteY16" fmla="*/ 578687 h 931853"/>
                <a:gd name="connsiteX17" fmla="*/ 1772777 w 1773228"/>
                <a:gd name="connsiteY17" fmla="*/ 263848 h 931853"/>
                <a:gd name="connsiteX18" fmla="*/ 1761142 w 1773228"/>
                <a:gd name="connsiteY18" fmla="*/ 244684 h 931853"/>
                <a:gd name="connsiteX19" fmla="*/ 32610 w 1773228"/>
                <a:gd name="connsiteY19" fmla="*/ 54412 h 931853"/>
                <a:gd name="connsiteX20" fmla="*/ 61357 w 1773228"/>
                <a:gd name="connsiteY20" fmla="*/ 31826 h 931853"/>
                <a:gd name="connsiteX21" fmla="*/ 68543 w 1773228"/>
                <a:gd name="connsiteY21" fmla="*/ 32853 h 931853"/>
                <a:gd name="connsiteX22" fmla="*/ 90103 w 1773228"/>
                <a:gd name="connsiteY22" fmla="*/ 68443 h 931853"/>
                <a:gd name="connsiteX23" fmla="*/ 61357 w 1773228"/>
                <a:gd name="connsiteY23" fmla="*/ 91029 h 931853"/>
                <a:gd name="connsiteX24" fmla="*/ 54170 w 1773228"/>
                <a:gd name="connsiteY24" fmla="*/ 90003 h 931853"/>
                <a:gd name="connsiteX25" fmla="*/ 32610 w 1773228"/>
                <a:gd name="connsiteY25" fmla="*/ 54412 h 931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773228" h="931853">
                  <a:moveTo>
                    <a:pt x="1761142" y="244684"/>
                  </a:moveTo>
                  <a:cubicBezTo>
                    <a:pt x="1752586" y="242631"/>
                    <a:pt x="1744031" y="247764"/>
                    <a:pt x="1741977" y="256319"/>
                  </a:cubicBezTo>
                  <a:cubicBezTo>
                    <a:pt x="1631442" y="708386"/>
                    <a:pt x="1173558" y="986265"/>
                    <a:pt x="721490" y="875388"/>
                  </a:cubicBezTo>
                  <a:cubicBezTo>
                    <a:pt x="364559" y="788123"/>
                    <a:pt x="108240" y="484920"/>
                    <a:pt x="80521" y="119775"/>
                  </a:cubicBezTo>
                  <a:cubicBezTo>
                    <a:pt x="100369" y="113273"/>
                    <a:pt x="116111" y="97189"/>
                    <a:pt x="121245" y="75972"/>
                  </a:cubicBezTo>
                  <a:cubicBezTo>
                    <a:pt x="129458" y="43119"/>
                    <a:pt x="108925" y="9924"/>
                    <a:pt x="76072" y="1711"/>
                  </a:cubicBezTo>
                  <a:cubicBezTo>
                    <a:pt x="71281" y="684"/>
                    <a:pt x="66490" y="0"/>
                    <a:pt x="61357" y="0"/>
                  </a:cubicBezTo>
                  <a:cubicBezTo>
                    <a:pt x="32953" y="0"/>
                    <a:pt x="8314" y="19164"/>
                    <a:pt x="1811" y="46884"/>
                  </a:cubicBezTo>
                  <a:cubicBezTo>
                    <a:pt x="-6402" y="79736"/>
                    <a:pt x="14131" y="112931"/>
                    <a:pt x="46984" y="121144"/>
                  </a:cubicBezTo>
                  <a:cubicBezTo>
                    <a:pt x="47668" y="121144"/>
                    <a:pt x="48010" y="121487"/>
                    <a:pt x="48695" y="121487"/>
                  </a:cubicBezTo>
                  <a:cubicBezTo>
                    <a:pt x="55539" y="210463"/>
                    <a:pt x="75730" y="297728"/>
                    <a:pt x="108925" y="380886"/>
                  </a:cubicBezTo>
                  <a:cubicBezTo>
                    <a:pt x="142804" y="465413"/>
                    <a:pt x="189345" y="544123"/>
                    <a:pt x="247522" y="614277"/>
                  </a:cubicBezTo>
                  <a:cubicBezTo>
                    <a:pt x="368324" y="760403"/>
                    <a:pt x="529508" y="861357"/>
                    <a:pt x="713962" y="906529"/>
                  </a:cubicBezTo>
                  <a:cubicBezTo>
                    <a:pt x="783089" y="923298"/>
                    <a:pt x="852902" y="931853"/>
                    <a:pt x="922713" y="931853"/>
                  </a:cubicBezTo>
                  <a:cubicBezTo>
                    <a:pt x="968912" y="931853"/>
                    <a:pt x="1015454" y="928089"/>
                    <a:pt x="1061311" y="920560"/>
                  </a:cubicBezTo>
                  <a:cubicBezTo>
                    <a:pt x="1173215" y="902422"/>
                    <a:pt x="1278960" y="863410"/>
                    <a:pt x="1376492" y="804549"/>
                  </a:cubicBezTo>
                  <a:cubicBezTo>
                    <a:pt x="1473680" y="745688"/>
                    <a:pt x="1557523" y="669716"/>
                    <a:pt x="1624940" y="578687"/>
                  </a:cubicBezTo>
                  <a:cubicBezTo>
                    <a:pt x="1695094" y="484577"/>
                    <a:pt x="1744715" y="378833"/>
                    <a:pt x="1772777" y="263848"/>
                  </a:cubicBezTo>
                  <a:cubicBezTo>
                    <a:pt x="1774830" y="255293"/>
                    <a:pt x="1769697" y="246737"/>
                    <a:pt x="1761142" y="244684"/>
                  </a:cubicBezTo>
                  <a:close/>
                  <a:moveTo>
                    <a:pt x="32610" y="54412"/>
                  </a:moveTo>
                  <a:cubicBezTo>
                    <a:pt x="36032" y="41066"/>
                    <a:pt x="47668" y="31826"/>
                    <a:pt x="61357" y="31826"/>
                  </a:cubicBezTo>
                  <a:cubicBezTo>
                    <a:pt x="63752" y="31826"/>
                    <a:pt x="66148" y="32168"/>
                    <a:pt x="68543" y="32853"/>
                  </a:cubicBezTo>
                  <a:cubicBezTo>
                    <a:pt x="84285" y="36617"/>
                    <a:pt x="94209" y="52701"/>
                    <a:pt x="90103" y="68443"/>
                  </a:cubicBezTo>
                  <a:cubicBezTo>
                    <a:pt x="86681" y="81790"/>
                    <a:pt x="75046" y="91029"/>
                    <a:pt x="61357" y="91029"/>
                  </a:cubicBezTo>
                  <a:cubicBezTo>
                    <a:pt x="58962" y="91029"/>
                    <a:pt x="56565" y="90687"/>
                    <a:pt x="54170" y="90003"/>
                  </a:cubicBezTo>
                  <a:cubicBezTo>
                    <a:pt x="38429" y="86238"/>
                    <a:pt x="28846" y="70154"/>
                    <a:pt x="32610" y="54412"/>
                  </a:cubicBezTo>
                  <a:close/>
                </a:path>
              </a:pathLst>
            </a:custGeom>
            <a:solidFill>
              <a:schemeClr val="tx2"/>
            </a:solidFill>
            <a:ln w="342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y-AM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A553CA16-A720-FE92-9E2D-A22EEAFB738C}"/>
                </a:ext>
              </a:extLst>
            </p:cNvPr>
            <p:cNvSpPr/>
            <p:nvPr/>
          </p:nvSpPr>
          <p:spPr>
            <a:xfrm>
              <a:off x="7367791" y="1696307"/>
              <a:ext cx="1774958" cy="945939"/>
            </a:xfrm>
            <a:custGeom>
              <a:avLst/>
              <a:gdLst>
                <a:gd name="connsiteX0" fmla="*/ 1727955 w 1774958"/>
                <a:gd name="connsiteY0" fmla="*/ 825137 h 945939"/>
                <a:gd name="connsiteX1" fmla="*/ 1725903 w 1774958"/>
                <a:gd name="connsiteY1" fmla="*/ 824795 h 945939"/>
                <a:gd name="connsiteX2" fmla="*/ 1669437 w 1774958"/>
                <a:gd name="connsiteY2" fmla="*/ 563000 h 945939"/>
                <a:gd name="connsiteX3" fmla="*/ 1531524 w 1774958"/>
                <a:gd name="connsiteY3" fmla="*/ 324134 h 945939"/>
                <a:gd name="connsiteX4" fmla="*/ 1324484 w 1774958"/>
                <a:gd name="connsiteY4" fmla="*/ 138653 h 945939"/>
                <a:gd name="connsiteX5" fmla="*/ 1059609 w 1774958"/>
                <a:gd name="connsiteY5" fmla="*/ 25379 h 945939"/>
                <a:gd name="connsiteX6" fmla="*/ 711918 w 1774958"/>
                <a:gd name="connsiteY6" fmla="*/ 11006 h 945939"/>
                <a:gd name="connsiteX7" fmla="*/ 396737 w 1774958"/>
                <a:gd name="connsiteY7" fmla="*/ 127017 h 945939"/>
                <a:gd name="connsiteX8" fmla="*/ 148289 w 1774958"/>
                <a:gd name="connsiteY8" fmla="*/ 352880 h 945939"/>
                <a:gd name="connsiteX9" fmla="*/ 452 w 1774958"/>
                <a:gd name="connsiteY9" fmla="*/ 667718 h 945939"/>
                <a:gd name="connsiteX10" fmla="*/ 12087 w 1774958"/>
                <a:gd name="connsiteY10" fmla="*/ 686882 h 945939"/>
                <a:gd name="connsiteX11" fmla="*/ 15851 w 1774958"/>
                <a:gd name="connsiteY11" fmla="*/ 687224 h 945939"/>
                <a:gd name="connsiteX12" fmla="*/ 31251 w 1774958"/>
                <a:gd name="connsiteY12" fmla="*/ 675247 h 945939"/>
                <a:gd name="connsiteX13" fmla="*/ 1052080 w 1774958"/>
                <a:gd name="connsiteY13" fmla="*/ 55837 h 945939"/>
                <a:gd name="connsiteX14" fmla="*/ 1694076 w 1774958"/>
                <a:gd name="connsiteY14" fmla="*/ 826164 h 945939"/>
                <a:gd name="connsiteX15" fmla="*/ 1653695 w 1774958"/>
                <a:gd name="connsiteY15" fmla="*/ 869967 h 945939"/>
                <a:gd name="connsiteX16" fmla="*/ 1698867 w 1774958"/>
                <a:gd name="connsiteY16" fmla="*/ 944228 h 945939"/>
                <a:gd name="connsiteX17" fmla="*/ 1713582 w 1774958"/>
                <a:gd name="connsiteY17" fmla="*/ 945939 h 945939"/>
                <a:gd name="connsiteX18" fmla="*/ 1773128 w 1774958"/>
                <a:gd name="connsiteY18" fmla="*/ 899056 h 945939"/>
                <a:gd name="connsiteX19" fmla="*/ 1727955 w 1774958"/>
                <a:gd name="connsiteY19" fmla="*/ 825137 h 945939"/>
                <a:gd name="connsiteX20" fmla="*/ 1742329 w 1774958"/>
                <a:gd name="connsiteY20" fmla="*/ 891869 h 945939"/>
                <a:gd name="connsiteX21" fmla="*/ 1713582 w 1774958"/>
                <a:gd name="connsiteY21" fmla="*/ 914455 h 945939"/>
                <a:gd name="connsiteX22" fmla="*/ 1706396 w 1774958"/>
                <a:gd name="connsiteY22" fmla="*/ 913429 h 945939"/>
                <a:gd name="connsiteX23" fmla="*/ 1684837 w 1774958"/>
                <a:gd name="connsiteY23" fmla="*/ 877838 h 945939"/>
                <a:gd name="connsiteX24" fmla="*/ 1713582 w 1774958"/>
                <a:gd name="connsiteY24" fmla="*/ 855252 h 945939"/>
                <a:gd name="connsiteX25" fmla="*/ 1720769 w 1774958"/>
                <a:gd name="connsiteY25" fmla="*/ 856279 h 945939"/>
                <a:gd name="connsiteX26" fmla="*/ 1742329 w 1774958"/>
                <a:gd name="connsiteY26" fmla="*/ 891869 h 945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774958" h="945939">
                  <a:moveTo>
                    <a:pt x="1727955" y="825137"/>
                  </a:moveTo>
                  <a:cubicBezTo>
                    <a:pt x="1727271" y="825137"/>
                    <a:pt x="1726587" y="824795"/>
                    <a:pt x="1725903" y="824795"/>
                  </a:cubicBezTo>
                  <a:cubicBezTo>
                    <a:pt x="1720769" y="735134"/>
                    <a:pt x="1701605" y="647185"/>
                    <a:pt x="1669437" y="563000"/>
                  </a:cubicBezTo>
                  <a:cubicBezTo>
                    <a:pt x="1636242" y="476419"/>
                    <a:pt x="1590043" y="396341"/>
                    <a:pt x="1531524" y="324134"/>
                  </a:cubicBezTo>
                  <a:cubicBezTo>
                    <a:pt x="1472663" y="251242"/>
                    <a:pt x="1402851" y="188958"/>
                    <a:pt x="1324484" y="138653"/>
                  </a:cubicBezTo>
                  <a:cubicBezTo>
                    <a:pt x="1243379" y="86636"/>
                    <a:pt x="1154060" y="48308"/>
                    <a:pt x="1059609" y="25379"/>
                  </a:cubicBezTo>
                  <a:cubicBezTo>
                    <a:pt x="944624" y="-2682"/>
                    <a:pt x="827928" y="-7473"/>
                    <a:pt x="711918" y="11006"/>
                  </a:cubicBezTo>
                  <a:cubicBezTo>
                    <a:pt x="600013" y="29144"/>
                    <a:pt x="494268" y="68156"/>
                    <a:pt x="396737" y="127017"/>
                  </a:cubicBezTo>
                  <a:cubicBezTo>
                    <a:pt x="299205" y="185878"/>
                    <a:pt x="215705" y="261850"/>
                    <a:pt x="148289" y="352880"/>
                  </a:cubicBezTo>
                  <a:cubicBezTo>
                    <a:pt x="78135" y="446989"/>
                    <a:pt x="28513" y="552734"/>
                    <a:pt x="452" y="667718"/>
                  </a:cubicBezTo>
                  <a:cubicBezTo>
                    <a:pt x="-1602" y="676273"/>
                    <a:pt x="3531" y="684829"/>
                    <a:pt x="12087" y="686882"/>
                  </a:cubicBezTo>
                  <a:cubicBezTo>
                    <a:pt x="13455" y="687224"/>
                    <a:pt x="14482" y="687224"/>
                    <a:pt x="15851" y="687224"/>
                  </a:cubicBezTo>
                  <a:cubicBezTo>
                    <a:pt x="23037" y="687224"/>
                    <a:pt x="29540" y="682433"/>
                    <a:pt x="31251" y="675247"/>
                  </a:cubicBezTo>
                  <a:cubicBezTo>
                    <a:pt x="142471" y="223180"/>
                    <a:pt x="600013" y="-54699"/>
                    <a:pt x="1052080" y="55837"/>
                  </a:cubicBezTo>
                  <a:cubicBezTo>
                    <a:pt x="1410037" y="143444"/>
                    <a:pt x="1672859" y="459309"/>
                    <a:pt x="1694076" y="826164"/>
                  </a:cubicBezTo>
                  <a:cubicBezTo>
                    <a:pt x="1674228" y="832666"/>
                    <a:pt x="1658828" y="848750"/>
                    <a:pt x="1653695" y="869967"/>
                  </a:cubicBezTo>
                  <a:cubicBezTo>
                    <a:pt x="1645482" y="902820"/>
                    <a:pt x="1666015" y="936015"/>
                    <a:pt x="1698867" y="944228"/>
                  </a:cubicBezTo>
                  <a:cubicBezTo>
                    <a:pt x="1703659" y="945255"/>
                    <a:pt x="1708449" y="945939"/>
                    <a:pt x="1713582" y="945939"/>
                  </a:cubicBezTo>
                  <a:cubicBezTo>
                    <a:pt x="1741987" y="945939"/>
                    <a:pt x="1766626" y="926775"/>
                    <a:pt x="1773128" y="899056"/>
                  </a:cubicBezTo>
                  <a:cubicBezTo>
                    <a:pt x="1781341" y="866545"/>
                    <a:pt x="1761151" y="833008"/>
                    <a:pt x="1727955" y="825137"/>
                  </a:cubicBezTo>
                  <a:close/>
                  <a:moveTo>
                    <a:pt x="1742329" y="891869"/>
                  </a:moveTo>
                  <a:cubicBezTo>
                    <a:pt x="1738907" y="905216"/>
                    <a:pt x="1727271" y="914455"/>
                    <a:pt x="1713582" y="914455"/>
                  </a:cubicBezTo>
                  <a:cubicBezTo>
                    <a:pt x="1711187" y="914455"/>
                    <a:pt x="1708792" y="914113"/>
                    <a:pt x="1706396" y="913429"/>
                  </a:cubicBezTo>
                  <a:cubicBezTo>
                    <a:pt x="1690654" y="909664"/>
                    <a:pt x="1680730" y="893580"/>
                    <a:pt x="1684837" y="877838"/>
                  </a:cubicBezTo>
                  <a:cubicBezTo>
                    <a:pt x="1688259" y="864492"/>
                    <a:pt x="1699894" y="855252"/>
                    <a:pt x="1713582" y="855252"/>
                  </a:cubicBezTo>
                  <a:cubicBezTo>
                    <a:pt x="1715978" y="855252"/>
                    <a:pt x="1718374" y="855594"/>
                    <a:pt x="1720769" y="856279"/>
                  </a:cubicBezTo>
                  <a:cubicBezTo>
                    <a:pt x="1736511" y="860043"/>
                    <a:pt x="1746093" y="875785"/>
                    <a:pt x="1742329" y="891869"/>
                  </a:cubicBezTo>
                  <a:close/>
                </a:path>
              </a:pathLst>
            </a:custGeom>
            <a:solidFill>
              <a:schemeClr val="tx2"/>
            </a:solidFill>
            <a:ln w="342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y-AM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28" name="Oval 127">
            <a:extLst>
              <a:ext uri="{FF2B5EF4-FFF2-40B4-BE49-F238E27FC236}">
                <a16:creationId xmlns:a16="http://schemas.microsoft.com/office/drawing/2014/main" id="{9CA78A04-1875-8B84-6F4D-203EB07FDFD0}"/>
              </a:ext>
            </a:extLst>
          </p:cNvPr>
          <p:cNvSpPr>
            <a:spLocks/>
          </p:cNvSpPr>
          <p:nvPr/>
        </p:nvSpPr>
        <p:spPr bwMode="auto">
          <a:xfrm>
            <a:off x="5060579" y="3275155"/>
            <a:ext cx="457200" cy="4572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endParaRPr lang="en-US" sz="1600" dirty="0">
              <a:ea typeface="MS PGothic" panose="020B0600070205080204" pitchFamily="34" charset="-128"/>
            </a:endParaRP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8B2ED217-DA58-EE9E-877B-180E7FA87160}"/>
              </a:ext>
            </a:extLst>
          </p:cNvPr>
          <p:cNvSpPr>
            <a:spLocks/>
          </p:cNvSpPr>
          <p:nvPr/>
        </p:nvSpPr>
        <p:spPr bwMode="auto">
          <a:xfrm>
            <a:off x="6512892" y="3289227"/>
            <a:ext cx="457200" cy="4572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endParaRPr lang="en-US" sz="1600" dirty="0">
              <a:ea typeface="MS PGothic" panose="020B0600070205080204" pitchFamily="34" charset="-128"/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FFA138A2-2FD8-30B5-4A86-8E52A04EFAAD}"/>
              </a:ext>
            </a:extLst>
          </p:cNvPr>
          <p:cNvSpPr>
            <a:spLocks/>
          </p:cNvSpPr>
          <p:nvPr/>
        </p:nvSpPr>
        <p:spPr bwMode="auto">
          <a:xfrm>
            <a:off x="8028665" y="3295748"/>
            <a:ext cx="457200" cy="4572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endParaRPr lang="en-US" sz="1600" dirty="0">
              <a:ea typeface="MS PGothic" panose="020B0600070205080204" pitchFamily="34" charset="-128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D02597AC-687D-07B5-A474-62F15D2A6D18}"/>
              </a:ext>
            </a:extLst>
          </p:cNvPr>
          <p:cNvSpPr>
            <a:spLocks/>
          </p:cNvSpPr>
          <p:nvPr/>
        </p:nvSpPr>
        <p:spPr bwMode="auto">
          <a:xfrm>
            <a:off x="9495910" y="3300386"/>
            <a:ext cx="457200" cy="4572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endParaRPr lang="en-US" sz="1600" dirty="0">
              <a:ea typeface="MS PGothic" panose="020B0600070205080204" pitchFamily="34" charset="-128"/>
            </a:endParaRPr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B3FBEA6D-A300-3E0A-D642-4609972819D7}"/>
              </a:ext>
            </a:extLst>
          </p:cNvPr>
          <p:cNvSpPr>
            <a:spLocks/>
          </p:cNvSpPr>
          <p:nvPr/>
        </p:nvSpPr>
        <p:spPr bwMode="auto">
          <a:xfrm>
            <a:off x="10996793" y="3309273"/>
            <a:ext cx="457200" cy="4572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endParaRPr lang="en-US" sz="1600" dirty="0">
              <a:ea typeface="MS PGothic" panose="020B0600070205080204" pitchFamily="34" charset="-12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9BC26A1-E50B-A8A8-CADF-74483E2590CF}"/>
              </a:ext>
            </a:extLst>
          </p:cNvPr>
          <p:cNvGrpSpPr/>
          <p:nvPr/>
        </p:nvGrpSpPr>
        <p:grpSpPr>
          <a:xfrm>
            <a:off x="3586025" y="3174843"/>
            <a:ext cx="457200" cy="457200"/>
            <a:chOff x="674513" y="3211197"/>
            <a:chExt cx="457200" cy="457200"/>
          </a:xfrm>
        </p:grpSpPr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F66B661A-09CD-1984-54D5-3FF04A8A8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513" y="3211197"/>
              <a:ext cx="457200" cy="457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prstClr val="black">
                  <a:alpha val="10000"/>
                </a:prstClr>
              </a:outerShdw>
            </a:effectLst>
          </p:spPr>
          <p:txBody>
            <a:bodyPr wrap="square" lIns="46800" tIns="46800" rIns="46800" bIns="46800" rtlCol="0" anchor="ctr">
              <a:noAutofit/>
            </a:bodyPr>
            <a:lstStyle/>
            <a:p>
              <a:pPr algn="l">
                <a:spcBef>
                  <a:spcPts val="300"/>
                </a:spcBef>
              </a:pPr>
              <a:endParaRPr lang="en-US" sz="1600" dirty="0">
                <a:ea typeface="MS PGothic" panose="020B0600070205080204" pitchFamily="34" charset="-128"/>
              </a:endParaRPr>
            </a:p>
          </p:txBody>
        </p:sp>
        <p:pic>
          <p:nvPicPr>
            <p:cNvPr id="138" name="Graphic 137" descr="Document outline">
              <a:extLst>
                <a:ext uri="{FF2B5EF4-FFF2-40B4-BE49-F238E27FC236}">
                  <a16:creationId xmlns:a16="http://schemas.microsoft.com/office/drawing/2014/main" id="{5C9FA87D-F748-7DCF-D23C-3787D983D6A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55873" y="3270099"/>
              <a:ext cx="320811" cy="320811"/>
            </a:xfrm>
            <a:prstGeom prst="rect">
              <a:avLst/>
            </a:prstGeom>
          </p:spPr>
        </p:pic>
      </p:grpSp>
      <p:sp>
        <p:nvSpPr>
          <p:cNvPr id="125" name="Oval 124">
            <a:extLst>
              <a:ext uri="{FF2B5EF4-FFF2-40B4-BE49-F238E27FC236}">
                <a16:creationId xmlns:a16="http://schemas.microsoft.com/office/drawing/2014/main" id="{AF29B288-C589-10A9-7DA4-F644DA7001D6}"/>
              </a:ext>
            </a:extLst>
          </p:cNvPr>
          <p:cNvSpPr>
            <a:spLocks/>
          </p:cNvSpPr>
          <p:nvPr/>
        </p:nvSpPr>
        <p:spPr bwMode="auto">
          <a:xfrm>
            <a:off x="2103988" y="3237132"/>
            <a:ext cx="457200" cy="4572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endParaRPr lang="en-US" sz="1600" dirty="0">
              <a:ea typeface="MS PGothic" panose="020B0600070205080204" pitchFamily="34" charset="-128"/>
            </a:endParaRPr>
          </a:p>
        </p:txBody>
      </p:sp>
      <p:pic>
        <p:nvPicPr>
          <p:cNvPr id="140" name="Graphic 139" descr="Chat outline">
            <a:extLst>
              <a:ext uri="{FF2B5EF4-FFF2-40B4-BE49-F238E27FC236}">
                <a16:creationId xmlns:a16="http://schemas.microsoft.com/office/drawing/2014/main" id="{99EA8C35-580F-E086-2595-77D21694BC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57222" y="3287939"/>
            <a:ext cx="361810" cy="361810"/>
          </a:xfrm>
          <a:prstGeom prst="rect">
            <a:avLst/>
          </a:prstGeom>
        </p:spPr>
      </p:pic>
      <p:pic>
        <p:nvPicPr>
          <p:cNvPr id="149" name="Graphic 148" descr="Flowchart outline">
            <a:extLst>
              <a:ext uri="{FF2B5EF4-FFF2-40B4-BE49-F238E27FC236}">
                <a16:creationId xmlns:a16="http://schemas.microsoft.com/office/drawing/2014/main" id="{F91155B2-A8AB-1FAD-2E2A-02CC0B0CED7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02866" y="3310740"/>
            <a:ext cx="365760" cy="365760"/>
          </a:xfrm>
          <a:prstGeom prst="rect">
            <a:avLst/>
          </a:prstGeom>
        </p:spPr>
      </p:pic>
      <p:pic>
        <p:nvPicPr>
          <p:cNvPr id="151" name="Graphic 150" descr="Target Audience outline">
            <a:extLst>
              <a:ext uri="{FF2B5EF4-FFF2-40B4-BE49-F238E27FC236}">
                <a16:creationId xmlns:a16="http://schemas.microsoft.com/office/drawing/2014/main" id="{B59CD9BF-3E8A-5B3E-EF15-ADB6954955F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549783" y="3313667"/>
            <a:ext cx="391401" cy="391401"/>
          </a:xfrm>
          <a:prstGeom prst="rect">
            <a:avLst/>
          </a:prstGeom>
        </p:spPr>
      </p:pic>
      <p:pic>
        <p:nvPicPr>
          <p:cNvPr id="155" name="Graphic 154" descr="Single gear outline">
            <a:extLst>
              <a:ext uri="{FF2B5EF4-FFF2-40B4-BE49-F238E27FC236}">
                <a16:creationId xmlns:a16="http://schemas.microsoft.com/office/drawing/2014/main" id="{CB6EAC43-9B28-C797-629D-51DD16DC025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35487" y="3309273"/>
            <a:ext cx="457201" cy="457201"/>
          </a:xfrm>
          <a:prstGeom prst="rect">
            <a:avLst/>
          </a:prstGeom>
        </p:spPr>
      </p:pic>
      <p:pic>
        <p:nvPicPr>
          <p:cNvPr id="157" name="Graphic 156" descr="Bar graph with upward trend outline">
            <a:extLst>
              <a:ext uri="{FF2B5EF4-FFF2-40B4-BE49-F238E27FC236}">
                <a16:creationId xmlns:a16="http://schemas.microsoft.com/office/drawing/2014/main" id="{A07EEC89-C2CE-F262-7717-6E2AC0C3C6E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549114" y="3356649"/>
            <a:ext cx="373395" cy="357944"/>
          </a:xfrm>
          <a:prstGeom prst="rect">
            <a:avLst/>
          </a:prstGeom>
        </p:spPr>
      </p:pic>
      <p:pic>
        <p:nvPicPr>
          <p:cNvPr id="161" name="Graphic 160" descr="Artificial Intelligence outline">
            <a:extLst>
              <a:ext uri="{FF2B5EF4-FFF2-40B4-BE49-F238E27FC236}">
                <a16:creationId xmlns:a16="http://schemas.microsoft.com/office/drawing/2014/main" id="{3E94D043-24A9-5968-6F79-CBCF06BFF0B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1047146" y="3317528"/>
            <a:ext cx="407207" cy="407207"/>
          </a:xfrm>
          <a:prstGeom prst="rect">
            <a:avLst/>
          </a:prstGeom>
        </p:spPr>
      </p:pic>
      <p:grpSp>
        <p:nvGrpSpPr>
          <p:cNvPr id="86" name="Group 85">
            <a:extLst>
              <a:ext uri="{FF2B5EF4-FFF2-40B4-BE49-F238E27FC236}">
                <a16:creationId xmlns:a16="http://schemas.microsoft.com/office/drawing/2014/main" id="{E5928905-993E-5C58-BBC0-ED7A03036EB2}"/>
              </a:ext>
            </a:extLst>
          </p:cNvPr>
          <p:cNvGrpSpPr/>
          <p:nvPr/>
        </p:nvGrpSpPr>
        <p:grpSpPr>
          <a:xfrm>
            <a:off x="3326473" y="4970419"/>
            <a:ext cx="987024" cy="455305"/>
            <a:chOff x="339709" y="4964381"/>
            <a:chExt cx="987024" cy="455305"/>
          </a:xfrm>
        </p:grpSpPr>
        <p:sp>
          <p:nvSpPr>
            <p:cNvPr id="56" name="Flowchart: Connector 55">
              <a:extLst>
                <a:ext uri="{FF2B5EF4-FFF2-40B4-BE49-F238E27FC236}">
                  <a16:creationId xmlns:a16="http://schemas.microsoft.com/office/drawing/2014/main" id="{708D2CC6-2794-07AC-C2FD-ED8A73C78082}"/>
                </a:ext>
              </a:extLst>
            </p:cNvPr>
            <p:cNvSpPr/>
            <p:nvPr/>
          </p:nvSpPr>
          <p:spPr bwMode="auto">
            <a:xfrm>
              <a:off x="339711" y="4964381"/>
              <a:ext cx="461068" cy="455305"/>
            </a:xfrm>
            <a:prstGeom prst="flowChartConnector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  <a:effectLst/>
          </p:spPr>
          <p:txBody>
            <a:bodyPr wrap="square" lIns="46800" tIns="46800" rIns="46800" bIns="468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endParaRPr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D61644F4-7890-6B90-2078-1CFD5F1FD66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5476" t="872" r="4211" b="2619"/>
            <a:stretch/>
          </p:blipFill>
          <p:spPr bwMode="auto">
            <a:xfrm>
              <a:off x="339709" y="4972333"/>
              <a:ext cx="461069" cy="439401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" name="Flowchart: Connector 56">
              <a:extLst>
                <a:ext uri="{FF2B5EF4-FFF2-40B4-BE49-F238E27FC236}">
                  <a16:creationId xmlns:a16="http://schemas.microsoft.com/office/drawing/2014/main" id="{62A65CEA-2113-14B5-A01C-D862A1988A53}"/>
                </a:ext>
              </a:extLst>
            </p:cNvPr>
            <p:cNvSpPr/>
            <p:nvPr/>
          </p:nvSpPr>
          <p:spPr bwMode="auto">
            <a:xfrm>
              <a:off x="865665" y="4964381"/>
              <a:ext cx="461068" cy="455305"/>
            </a:xfrm>
            <a:prstGeom prst="flowChartConnector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  <a:effectLst/>
          </p:spPr>
          <p:txBody>
            <a:bodyPr wrap="square" lIns="46800" tIns="46800" rIns="46800" bIns="468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endParaRPr>
            </a:p>
          </p:txBody>
        </p:sp>
        <p:pic>
          <p:nvPicPr>
            <p:cNvPr id="35" name="Picture 4">
              <a:extLst>
                <a:ext uri="{FF2B5EF4-FFF2-40B4-BE49-F238E27FC236}">
                  <a16:creationId xmlns:a16="http://schemas.microsoft.com/office/drawing/2014/main" id="{A425E319-44D8-589E-9792-CAB65C2E358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890" t="1853" r="9601" b="31129"/>
            <a:stretch/>
          </p:blipFill>
          <p:spPr bwMode="auto">
            <a:xfrm>
              <a:off x="871066" y="4976563"/>
              <a:ext cx="446958" cy="43094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5" name="Flowchart: Connector 44">
            <a:extLst>
              <a:ext uri="{FF2B5EF4-FFF2-40B4-BE49-F238E27FC236}">
                <a16:creationId xmlns:a16="http://schemas.microsoft.com/office/drawing/2014/main" id="{0500EE45-3AD2-F34F-C449-A505CBBBA68D}"/>
              </a:ext>
            </a:extLst>
          </p:cNvPr>
          <p:cNvSpPr/>
          <p:nvPr/>
        </p:nvSpPr>
        <p:spPr bwMode="auto">
          <a:xfrm>
            <a:off x="7755568" y="4953530"/>
            <a:ext cx="461068" cy="477006"/>
          </a:xfrm>
          <a:prstGeom prst="flowChartConnector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D2D2A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A932351A-D71F-CA6C-FF20-1EDBABD9FDBA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l="2130" t="1418" r="5761" b="7004"/>
          <a:stretch/>
        </p:blipFill>
        <p:spPr>
          <a:xfrm>
            <a:off x="7769861" y="4963712"/>
            <a:ext cx="441333" cy="456642"/>
          </a:xfrm>
          <a:prstGeom prst="ellipse">
            <a:avLst/>
          </a:prstGeom>
        </p:spPr>
      </p:pic>
      <p:sp>
        <p:nvSpPr>
          <p:cNvPr id="46" name="Flowchart: Connector 45">
            <a:extLst>
              <a:ext uri="{FF2B5EF4-FFF2-40B4-BE49-F238E27FC236}">
                <a16:creationId xmlns:a16="http://schemas.microsoft.com/office/drawing/2014/main" id="{560784E4-581D-E594-1354-9D5B0524F17D}"/>
              </a:ext>
            </a:extLst>
          </p:cNvPr>
          <p:cNvSpPr/>
          <p:nvPr/>
        </p:nvSpPr>
        <p:spPr bwMode="auto">
          <a:xfrm>
            <a:off x="8273892" y="4964381"/>
            <a:ext cx="461068" cy="455305"/>
          </a:xfrm>
          <a:prstGeom prst="flowChartConnector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D2D2A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108D9FBE-2FA2-7645-E3EE-474BEFFF19FC}"/>
              </a:ext>
            </a:extLst>
          </p:cNvPr>
          <p:cNvPicPr>
            <a:picLocks noChangeAspect="1"/>
          </p:cNvPicPr>
          <p:nvPr/>
        </p:nvPicPr>
        <p:blipFill rotWithShape="1">
          <a:blip r:embed="rId23"/>
          <a:srcRect l="7700" t="1035" r="27114" b="40461"/>
          <a:stretch/>
        </p:blipFill>
        <p:spPr>
          <a:xfrm>
            <a:off x="8271100" y="4977924"/>
            <a:ext cx="461069" cy="428219"/>
          </a:xfrm>
          <a:prstGeom prst="ellipse">
            <a:avLst/>
          </a:prstGeom>
        </p:spPr>
      </p:pic>
      <p:sp>
        <p:nvSpPr>
          <p:cNvPr id="52" name="Flowchart: Connector 51">
            <a:extLst>
              <a:ext uri="{FF2B5EF4-FFF2-40B4-BE49-F238E27FC236}">
                <a16:creationId xmlns:a16="http://schemas.microsoft.com/office/drawing/2014/main" id="{52CF9D64-AB51-8F9E-F2D2-2849A0A2C88C}"/>
              </a:ext>
            </a:extLst>
          </p:cNvPr>
          <p:cNvSpPr/>
          <p:nvPr/>
        </p:nvSpPr>
        <p:spPr bwMode="auto">
          <a:xfrm>
            <a:off x="6278341" y="4964381"/>
            <a:ext cx="461068" cy="455305"/>
          </a:xfrm>
          <a:prstGeom prst="flowChartConnector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D2D2A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7D8FA9CC-D8E5-FB65-47C1-F01710CE01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34" t="5479" r="14165" b="22817"/>
          <a:stretch/>
        </p:blipFill>
        <p:spPr bwMode="auto">
          <a:xfrm>
            <a:off x="6278341" y="4968611"/>
            <a:ext cx="461068" cy="44684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Flowchart: Connector 52">
            <a:extLst>
              <a:ext uri="{FF2B5EF4-FFF2-40B4-BE49-F238E27FC236}">
                <a16:creationId xmlns:a16="http://schemas.microsoft.com/office/drawing/2014/main" id="{FC4574CC-36DD-E800-22BE-47C53974B0C3}"/>
              </a:ext>
            </a:extLst>
          </p:cNvPr>
          <p:cNvSpPr/>
          <p:nvPr/>
        </p:nvSpPr>
        <p:spPr bwMode="auto">
          <a:xfrm>
            <a:off x="6808675" y="4964381"/>
            <a:ext cx="461068" cy="455305"/>
          </a:xfrm>
          <a:prstGeom prst="flowChartConnector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D2D2A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pic>
        <p:nvPicPr>
          <p:cNvPr id="58" name="Picture 57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972961AF-9CEC-FC5A-BAEA-A93F8FE21389}"/>
              </a:ext>
            </a:extLst>
          </p:cNvPr>
          <p:cNvPicPr>
            <a:picLocks noChangeAspect="1"/>
          </p:cNvPicPr>
          <p:nvPr/>
        </p:nvPicPr>
        <p:blipFill rotWithShape="1">
          <a:blip r:embed="rId25"/>
          <a:srcRect l="9656" t="2687" r="13578" b="22458"/>
          <a:stretch/>
        </p:blipFill>
        <p:spPr>
          <a:xfrm>
            <a:off x="6811500" y="4968610"/>
            <a:ext cx="458243" cy="446846"/>
          </a:xfrm>
          <a:prstGeom prst="ellipse">
            <a:avLst/>
          </a:prstGeom>
        </p:spPr>
      </p:pic>
      <p:sp>
        <p:nvSpPr>
          <p:cNvPr id="59" name="Flowchart: Connector 58">
            <a:extLst>
              <a:ext uri="{FF2B5EF4-FFF2-40B4-BE49-F238E27FC236}">
                <a16:creationId xmlns:a16="http://schemas.microsoft.com/office/drawing/2014/main" id="{81D96A9B-C86D-0228-F734-07C181570715}"/>
              </a:ext>
            </a:extLst>
          </p:cNvPr>
          <p:cNvSpPr/>
          <p:nvPr/>
        </p:nvSpPr>
        <p:spPr bwMode="auto">
          <a:xfrm>
            <a:off x="9226866" y="4964381"/>
            <a:ext cx="461068" cy="455305"/>
          </a:xfrm>
          <a:prstGeom prst="flowChartConnector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D2D2A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60" name="Flowchart: Connector 59">
            <a:extLst>
              <a:ext uri="{FF2B5EF4-FFF2-40B4-BE49-F238E27FC236}">
                <a16:creationId xmlns:a16="http://schemas.microsoft.com/office/drawing/2014/main" id="{13949C8E-C464-2D57-178B-66116F7E5778}"/>
              </a:ext>
            </a:extLst>
          </p:cNvPr>
          <p:cNvSpPr/>
          <p:nvPr/>
        </p:nvSpPr>
        <p:spPr bwMode="auto">
          <a:xfrm>
            <a:off x="9722576" y="4964381"/>
            <a:ext cx="461068" cy="455305"/>
          </a:xfrm>
          <a:prstGeom prst="flowChartConnector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D2D2A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pic>
        <p:nvPicPr>
          <p:cNvPr id="62" name="Picture 61" descr="A person in a suit and tie&#10;&#10;Description automatically generated">
            <a:extLst>
              <a:ext uri="{FF2B5EF4-FFF2-40B4-BE49-F238E27FC236}">
                <a16:creationId xmlns:a16="http://schemas.microsoft.com/office/drawing/2014/main" id="{A8DB07E3-3A54-B00C-EDEC-5F6893581356}"/>
              </a:ext>
            </a:extLst>
          </p:cNvPr>
          <p:cNvPicPr>
            <a:picLocks noChangeAspect="1"/>
          </p:cNvPicPr>
          <p:nvPr/>
        </p:nvPicPr>
        <p:blipFill rotWithShape="1">
          <a:blip r:embed="rId26"/>
          <a:srcRect l="8146" t="5198" r="8280" b="13250"/>
          <a:stretch/>
        </p:blipFill>
        <p:spPr>
          <a:xfrm>
            <a:off x="9734502" y="4974187"/>
            <a:ext cx="446492" cy="435692"/>
          </a:xfrm>
          <a:prstGeom prst="ellipse">
            <a:avLst/>
          </a:prstGeom>
        </p:spPr>
      </p:pic>
      <p:sp>
        <p:nvSpPr>
          <p:cNvPr id="63" name="Flowchart: Connector 62">
            <a:extLst>
              <a:ext uri="{FF2B5EF4-FFF2-40B4-BE49-F238E27FC236}">
                <a16:creationId xmlns:a16="http://schemas.microsoft.com/office/drawing/2014/main" id="{A597A922-8065-C9C5-98D9-5D306BDD4B2D}"/>
              </a:ext>
            </a:extLst>
          </p:cNvPr>
          <p:cNvSpPr/>
          <p:nvPr/>
        </p:nvSpPr>
        <p:spPr bwMode="auto">
          <a:xfrm>
            <a:off x="10720922" y="4964381"/>
            <a:ext cx="461068" cy="455305"/>
          </a:xfrm>
          <a:prstGeom prst="flowChartConnector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D2D2A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9E94EDFF-F630-0EA9-EE6B-B9EB3CDB91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81" t="1" b="6930"/>
          <a:stretch/>
        </p:blipFill>
        <p:spPr bwMode="auto">
          <a:xfrm>
            <a:off x="10718272" y="4964381"/>
            <a:ext cx="466423" cy="45530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Flowchart: Connector 67">
            <a:extLst>
              <a:ext uri="{FF2B5EF4-FFF2-40B4-BE49-F238E27FC236}">
                <a16:creationId xmlns:a16="http://schemas.microsoft.com/office/drawing/2014/main" id="{4B0FFC5B-FA56-0F5B-F7E4-4D6CADE732B9}"/>
              </a:ext>
            </a:extLst>
          </p:cNvPr>
          <p:cNvSpPr/>
          <p:nvPr/>
        </p:nvSpPr>
        <p:spPr bwMode="auto">
          <a:xfrm>
            <a:off x="11225393" y="4964381"/>
            <a:ext cx="461068" cy="455305"/>
          </a:xfrm>
          <a:prstGeom prst="flowChartConnector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D2D2A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39" name="Rectangle: Rounded Corners 138">
            <a:extLst>
              <a:ext uri="{FF2B5EF4-FFF2-40B4-BE49-F238E27FC236}">
                <a16:creationId xmlns:a16="http://schemas.microsoft.com/office/drawing/2014/main" id="{8BE84C39-B2B7-CB89-8160-BA1EC008D600}"/>
              </a:ext>
            </a:extLst>
          </p:cNvPr>
          <p:cNvSpPr/>
          <p:nvPr/>
        </p:nvSpPr>
        <p:spPr bwMode="auto">
          <a:xfrm>
            <a:off x="231475" y="956401"/>
            <a:ext cx="11712518" cy="66077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46800" tIns="46800" rIns="46800" bIns="46800" rtlCol="0" anchor="t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400" b="1" dirty="0">
                <a:solidFill>
                  <a:schemeClr val="tx2"/>
                </a:solidFill>
                <a:ea typeface="MS PGothic" panose="020B0600070205080204" pitchFamily="34" charset="-128"/>
              </a:rPr>
              <a:t>Enterprise Integration Management Office</a:t>
            </a:r>
          </a:p>
          <a:p>
            <a:pPr algn="ctr">
              <a:spcBef>
                <a:spcPts val="300"/>
              </a:spcBef>
            </a:pPr>
            <a:r>
              <a:rPr lang="en-US" sz="1200" dirty="0"/>
              <a:t>Our senior leaders provide strategic oversight while our embedded subject matter experts optimize delivery across all workstreams for measurable value creation</a:t>
            </a:r>
            <a:endParaRPr lang="en-US" sz="1200" dirty="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159" name="Flowchart: Connector 158">
            <a:extLst>
              <a:ext uri="{FF2B5EF4-FFF2-40B4-BE49-F238E27FC236}">
                <a16:creationId xmlns:a16="http://schemas.microsoft.com/office/drawing/2014/main" id="{E3CA9594-2B24-8CE8-E71F-39AE22ABA050}"/>
              </a:ext>
            </a:extLst>
          </p:cNvPr>
          <p:cNvSpPr/>
          <p:nvPr/>
        </p:nvSpPr>
        <p:spPr bwMode="auto">
          <a:xfrm>
            <a:off x="5337168" y="4964381"/>
            <a:ext cx="461068" cy="455305"/>
          </a:xfrm>
          <a:prstGeom prst="flowChartConnector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D2D2A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58" name="Flowchart: Connector 157">
            <a:extLst>
              <a:ext uri="{FF2B5EF4-FFF2-40B4-BE49-F238E27FC236}">
                <a16:creationId xmlns:a16="http://schemas.microsoft.com/office/drawing/2014/main" id="{5239A741-1962-CFB1-BB56-82AFBD12A6CC}"/>
              </a:ext>
            </a:extLst>
          </p:cNvPr>
          <p:cNvSpPr/>
          <p:nvPr/>
        </p:nvSpPr>
        <p:spPr bwMode="auto">
          <a:xfrm>
            <a:off x="4812972" y="4964381"/>
            <a:ext cx="461068" cy="455305"/>
          </a:xfrm>
          <a:prstGeom prst="flowChartConnector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D2D2A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pic>
        <p:nvPicPr>
          <p:cNvPr id="162" name="Picture 161" descr="A person with long black hair smiling&#10;&#10;Description automatically generated">
            <a:extLst>
              <a:ext uri="{FF2B5EF4-FFF2-40B4-BE49-F238E27FC236}">
                <a16:creationId xmlns:a16="http://schemas.microsoft.com/office/drawing/2014/main" id="{277863E2-F7E8-132B-DCB1-365B48E50A0C}"/>
              </a:ext>
            </a:extLst>
          </p:cNvPr>
          <p:cNvPicPr>
            <a:picLocks noChangeAspect="1"/>
          </p:cNvPicPr>
          <p:nvPr/>
        </p:nvPicPr>
        <p:blipFill>
          <a:blip r:embed="rId28"/>
          <a:srcRect l="-1199" t="-2711" r="5241" b="6412"/>
          <a:stretch/>
        </p:blipFill>
        <p:spPr>
          <a:xfrm>
            <a:off x="4834379" y="4990174"/>
            <a:ext cx="428233" cy="429768"/>
          </a:xfrm>
          <a:prstGeom prst="ellipse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4E08FAF0-F23D-0651-20F0-BC717BCD5B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9"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saturation sat="800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41" t="1493" r="-1402" b="2376"/>
          <a:stretch/>
        </p:blipFill>
        <p:spPr bwMode="auto">
          <a:xfrm>
            <a:off x="11229261" y="4970419"/>
            <a:ext cx="457200" cy="44322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lowchart: Connector 12">
            <a:extLst>
              <a:ext uri="{FF2B5EF4-FFF2-40B4-BE49-F238E27FC236}">
                <a16:creationId xmlns:a16="http://schemas.microsoft.com/office/drawing/2014/main" id="{DC9BBF8D-25E5-B164-08C4-C8E7E0072260}"/>
              </a:ext>
            </a:extLst>
          </p:cNvPr>
          <p:cNvSpPr/>
          <p:nvPr/>
        </p:nvSpPr>
        <p:spPr bwMode="auto">
          <a:xfrm>
            <a:off x="1854941" y="4963433"/>
            <a:ext cx="457200" cy="457200"/>
          </a:xfrm>
          <a:prstGeom prst="flowChartConnector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D2D2A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47A1FF6A-9937-8277-1B6B-2ECA720008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29" t="2360" r="11429" b="24195"/>
          <a:stretch/>
        </p:blipFill>
        <p:spPr bwMode="auto">
          <a:xfrm>
            <a:off x="9226866" y="4972552"/>
            <a:ext cx="461068" cy="43896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2368DA7-595E-5D5B-244A-42E268837D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1" t="4343" r="13812" b="25053"/>
          <a:stretch/>
        </p:blipFill>
        <p:spPr bwMode="auto">
          <a:xfrm>
            <a:off x="1858938" y="4971161"/>
            <a:ext cx="451502" cy="44174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A person smiling for the camera&#10;&#10;AI-generated content may be incorrect.">
            <a:extLst>
              <a:ext uri="{FF2B5EF4-FFF2-40B4-BE49-F238E27FC236}">
                <a16:creationId xmlns:a16="http://schemas.microsoft.com/office/drawing/2014/main" id="{F4BCF210-C3AC-B18D-C782-663605C78D8B}"/>
              </a:ext>
            </a:extLst>
          </p:cNvPr>
          <p:cNvPicPr>
            <a:picLocks noChangeAspect="1"/>
          </p:cNvPicPr>
          <p:nvPr/>
        </p:nvPicPr>
        <p:blipFill>
          <a:blip r:embed="rId33"/>
          <a:srcRect l="-8512" t="-1700" r="5807" b="482"/>
          <a:stretch/>
        </p:blipFill>
        <p:spPr>
          <a:xfrm>
            <a:off x="5348781" y="4971161"/>
            <a:ext cx="448237" cy="441744"/>
          </a:xfrm>
          <a:prstGeom prst="ellipse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60783E6F-11A2-7E93-13B6-02E4F1B7085B}"/>
              </a:ext>
            </a:extLst>
          </p:cNvPr>
          <p:cNvSpPr/>
          <p:nvPr/>
        </p:nvSpPr>
        <p:spPr bwMode="auto">
          <a:xfrm>
            <a:off x="585901" y="1803410"/>
            <a:ext cx="5268834" cy="981121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20000"/>
                <a:lumOff val="80000"/>
              </a:schemeClr>
            </a:solidFill>
            <a:prstDash val="sysDash"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l">
              <a:spcBef>
                <a:spcPts val="300"/>
              </a:spcBef>
            </a:pPr>
            <a:endParaRPr lang="en-IN" sz="1600" dirty="0">
              <a:ea typeface="MS PGothic" panose="020B0600070205080204" pitchFamily="34" charset="-128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9B40B71-B78E-86D1-08E0-CB190DD9CF1C}"/>
              </a:ext>
            </a:extLst>
          </p:cNvPr>
          <p:cNvSpPr/>
          <p:nvPr/>
        </p:nvSpPr>
        <p:spPr bwMode="auto">
          <a:xfrm>
            <a:off x="1483239" y="1708713"/>
            <a:ext cx="3506883" cy="2791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IN" sz="1200" dirty="0">
                <a:solidFill>
                  <a:schemeClr val="tx2"/>
                </a:solidFill>
                <a:ea typeface="MS PGothic"/>
              </a:rPr>
              <a:t>Our</a:t>
            </a:r>
            <a:r>
              <a:rPr lang="en-IN" sz="1200" b="1" dirty="0">
                <a:solidFill>
                  <a:schemeClr val="tx2"/>
                </a:solidFill>
                <a:ea typeface="MS PGothic"/>
              </a:rPr>
              <a:t> Senior Integration </a:t>
            </a:r>
            <a:r>
              <a:rPr lang="en-IN" sz="1200" dirty="0">
                <a:solidFill>
                  <a:schemeClr val="tx2"/>
                </a:solidFill>
                <a:ea typeface="MS PGothic"/>
              </a:rPr>
              <a:t>project</a:t>
            </a:r>
            <a:r>
              <a:rPr lang="en-IN" sz="1200" b="1" dirty="0">
                <a:solidFill>
                  <a:schemeClr val="tx2"/>
                </a:solidFill>
                <a:ea typeface="MS PGothic"/>
              </a:rPr>
              <a:t> </a:t>
            </a:r>
            <a:r>
              <a:rPr lang="en-IN" sz="1200" dirty="0">
                <a:solidFill>
                  <a:schemeClr val="tx2"/>
                </a:solidFill>
                <a:ea typeface="MS PGothic"/>
              </a:rPr>
              <a:t>leaders</a:t>
            </a:r>
            <a:r>
              <a:rPr lang="en-IN" sz="1200" b="1" dirty="0">
                <a:solidFill>
                  <a:schemeClr val="tx2"/>
                </a:solidFill>
                <a:ea typeface="MS PGothic"/>
              </a:rPr>
              <a:t>…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B7AF5D74-8668-33B5-E9BA-CA2995F4C0C9}"/>
              </a:ext>
            </a:extLst>
          </p:cNvPr>
          <p:cNvSpPr/>
          <p:nvPr/>
        </p:nvSpPr>
        <p:spPr bwMode="auto">
          <a:xfrm>
            <a:off x="5879939" y="2197724"/>
            <a:ext cx="339874" cy="79288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l">
              <a:spcBef>
                <a:spcPts val="300"/>
              </a:spcBef>
            </a:pPr>
            <a:endParaRPr lang="en-IN" sz="1600" dirty="0">
              <a:ea typeface="MS PGothic" panose="020B0600070205080204" pitchFamily="34" charset="-128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6A6C2718-C632-CA9F-18DB-4244DE879FCC}"/>
              </a:ext>
            </a:extLst>
          </p:cNvPr>
          <p:cNvGrpSpPr/>
          <p:nvPr/>
        </p:nvGrpSpPr>
        <p:grpSpPr>
          <a:xfrm>
            <a:off x="6065620" y="1797374"/>
            <a:ext cx="5492352" cy="1183980"/>
            <a:chOff x="6108113" y="1832001"/>
            <a:chExt cx="5492352" cy="1183980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4738F96-A3D1-E270-D7F5-DBD2BE7F6B3A}"/>
                </a:ext>
              </a:extLst>
            </p:cNvPr>
            <p:cNvSpPr/>
            <p:nvPr/>
          </p:nvSpPr>
          <p:spPr bwMode="auto">
            <a:xfrm>
              <a:off x="6331631" y="1832001"/>
              <a:ext cx="5268834" cy="9811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>
                  <a:lumMod val="20000"/>
                  <a:lumOff val="80000"/>
                </a:schemeClr>
              </a:solidFill>
              <a:prstDash val="sysDash"/>
            </a:ln>
            <a:effectLst/>
          </p:spPr>
          <p:txBody>
            <a:bodyPr wrap="square" lIns="46800" tIns="46800" rIns="46800" bIns="46800" rtlCol="0" anchor="ctr">
              <a:spAutoFit/>
            </a:bodyPr>
            <a:lstStyle/>
            <a:p>
              <a:pPr algn="l">
                <a:spcBef>
                  <a:spcPts val="300"/>
                </a:spcBef>
              </a:pPr>
              <a:endParaRPr lang="en-IN" sz="1600" dirty="0">
                <a:ea typeface="MS PGothic" panose="020B0600070205080204" pitchFamily="34" charset="-128"/>
              </a:endParaRPr>
            </a:p>
          </p:txBody>
        </p:sp>
        <p:sp>
          <p:nvSpPr>
            <p:cNvPr id="1037" name="Flowchart: Connector 1036">
              <a:extLst>
                <a:ext uri="{FF2B5EF4-FFF2-40B4-BE49-F238E27FC236}">
                  <a16:creationId xmlns:a16="http://schemas.microsoft.com/office/drawing/2014/main" id="{43356866-A562-2D2B-59EC-07232310633B}"/>
                </a:ext>
              </a:extLst>
            </p:cNvPr>
            <p:cNvSpPr/>
            <p:nvPr/>
          </p:nvSpPr>
          <p:spPr bwMode="auto">
            <a:xfrm>
              <a:off x="9899150" y="2038704"/>
              <a:ext cx="731520" cy="722377"/>
            </a:xfrm>
            <a:prstGeom prst="flowChartConnector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  <a:effectLst/>
          </p:spPr>
          <p:txBody>
            <a:bodyPr wrap="square" lIns="46800" tIns="46800" rIns="46800" bIns="468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1040" name="Flowchart: Connector 1039">
              <a:extLst>
                <a:ext uri="{FF2B5EF4-FFF2-40B4-BE49-F238E27FC236}">
                  <a16:creationId xmlns:a16="http://schemas.microsoft.com/office/drawing/2014/main" id="{51FA453E-4735-40E4-41E3-0368440415FE}"/>
                </a:ext>
              </a:extLst>
            </p:cNvPr>
            <p:cNvSpPr/>
            <p:nvPr/>
          </p:nvSpPr>
          <p:spPr bwMode="auto">
            <a:xfrm>
              <a:off x="7238251" y="2042872"/>
              <a:ext cx="731520" cy="722377"/>
            </a:xfrm>
            <a:prstGeom prst="flowChartConnector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  <a:effectLst/>
          </p:spPr>
          <p:txBody>
            <a:bodyPr wrap="square" lIns="46800" tIns="46800" rIns="46800" bIns="468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endParaRPr>
            </a:p>
          </p:txBody>
        </p: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9CD1288C-08F9-0266-FFEB-5C536A8275F9}"/>
                </a:ext>
              </a:extLst>
            </p:cNvPr>
            <p:cNvCxnSpPr>
              <a:cxnSpLocks/>
            </p:cNvCxnSpPr>
            <p:nvPr/>
          </p:nvCxnSpPr>
          <p:spPr>
            <a:xfrm>
              <a:off x="6108113" y="2430765"/>
              <a:ext cx="0" cy="585216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4" name="Flowchart: Connector 1033">
              <a:extLst>
                <a:ext uri="{FF2B5EF4-FFF2-40B4-BE49-F238E27FC236}">
                  <a16:creationId xmlns:a16="http://schemas.microsoft.com/office/drawing/2014/main" id="{771076E9-5EA4-EA87-294B-BF5A6E314851}"/>
                </a:ext>
              </a:extLst>
            </p:cNvPr>
            <p:cNvSpPr/>
            <p:nvPr/>
          </p:nvSpPr>
          <p:spPr bwMode="auto">
            <a:xfrm>
              <a:off x="8586918" y="2046756"/>
              <a:ext cx="731520" cy="722377"/>
            </a:xfrm>
            <a:prstGeom prst="flowChartConnector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  <a:effectLst/>
          </p:spPr>
          <p:txBody>
            <a:bodyPr wrap="square" lIns="46800" tIns="46800" rIns="46800" bIns="468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endParaRPr>
            </a:p>
          </p:txBody>
        </p:sp>
      </p:grpSp>
      <p:sp>
        <p:nvSpPr>
          <p:cNvPr id="79" name="TextBox 78">
            <a:extLst>
              <a:ext uri="{FF2B5EF4-FFF2-40B4-BE49-F238E27FC236}">
                <a16:creationId xmlns:a16="http://schemas.microsoft.com/office/drawing/2014/main" id="{E8139094-C33E-F1DA-96A5-6D2D7528910A}"/>
              </a:ext>
            </a:extLst>
          </p:cNvPr>
          <p:cNvSpPr txBox="1"/>
          <p:nvPr/>
        </p:nvSpPr>
        <p:spPr>
          <a:xfrm>
            <a:off x="7039209" y="1710894"/>
            <a:ext cx="3609488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anchor="t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IN" sz="1200" b="1" dirty="0">
                <a:solidFill>
                  <a:schemeClr val="tx2"/>
                </a:solidFill>
                <a:ea typeface="MS PGothic"/>
              </a:rPr>
              <a:t>…</a:t>
            </a:r>
            <a:r>
              <a:rPr lang="en-IN" sz="1200" dirty="0">
                <a:solidFill>
                  <a:schemeClr val="tx2"/>
                </a:solidFill>
                <a:ea typeface="MS PGothic"/>
              </a:rPr>
              <a:t>partner</a:t>
            </a:r>
            <a:r>
              <a:rPr lang="en-IN" sz="1200" b="1" dirty="0">
                <a:solidFill>
                  <a:schemeClr val="tx2"/>
                </a:solidFill>
                <a:ea typeface="MS PGothic"/>
              </a:rPr>
              <a:t> </a:t>
            </a:r>
            <a:r>
              <a:rPr lang="en-IN" sz="1200" dirty="0">
                <a:solidFill>
                  <a:schemeClr val="tx2"/>
                </a:solidFill>
                <a:ea typeface="MS PGothic"/>
              </a:rPr>
              <a:t>with</a:t>
            </a:r>
            <a:r>
              <a:rPr lang="en-IN" sz="1200" b="1" dirty="0">
                <a:solidFill>
                  <a:schemeClr val="tx2"/>
                </a:solidFill>
                <a:ea typeface="MS PGothic"/>
              </a:rPr>
              <a:t> </a:t>
            </a:r>
            <a:r>
              <a:rPr lang="en-IN" sz="1200" dirty="0">
                <a:solidFill>
                  <a:schemeClr val="tx2"/>
                </a:solidFill>
                <a:ea typeface="MS PGothic"/>
              </a:rPr>
              <a:t>our</a:t>
            </a:r>
            <a:r>
              <a:rPr lang="en-IN" sz="1200" b="1" dirty="0">
                <a:solidFill>
                  <a:schemeClr val="tx2"/>
                </a:solidFill>
                <a:ea typeface="MS PGothic"/>
              </a:rPr>
              <a:t> industry SMEs</a:t>
            </a:r>
            <a:endParaRPr lang="en-IN" sz="1200" b="1" dirty="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EDD955B3-0E16-FEAB-3257-B03C4EB31D02}"/>
              </a:ext>
            </a:extLst>
          </p:cNvPr>
          <p:cNvCxnSpPr>
            <a:cxnSpLocks/>
          </p:cNvCxnSpPr>
          <p:nvPr/>
        </p:nvCxnSpPr>
        <p:spPr>
          <a:xfrm flipV="1">
            <a:off x="5854735" y="2392487"/>
            <a:ext cx="40534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5" name="Group 84">
            <a:extLst>
              <a:ext uri="{FF2B5EF4-FFF2-40B4-BE49-F238E27FC236}">
                <a16:creationId xmlns:a16="http://schemas.microsoft.com/office/drawing/2014/main" id="{B53642D9-907E-6C50-6994-988E8A53C65B}"/>
              </a:ext>
            </a:extLst>
          </p:cNvPr>
          <p:cNvGrpSpPr/>
          <p:nvPr/>
        </p:nvGrpSpPr>
        <p:grpSpPr>
          <a:xfrm>
            <a:off x="380218" y="3186000"/>
            <a:ext cx="985270" cy="2182556"/>
            <a:chOff x="3310772" y="3237130"/>
            <a:chExt cx="985270" cy="2182556"/>
          </a:xfrm>
        </p:grpSpPr>
        <p:sp>
          <p:nvSpPr>
            <p:cNvPr id="2" name="Flowchart: Connector 1">
              <a:extLst>
                <a:ext uri="{FF2B5EF4-FFF2-40B4-BE49-F238E27FC236}">
                  <a16:creationId xmlns:a16="http://schemas.microsoft.com/office/drawing/2014/main" id="{6A06EA16-75B3-8817-2AFA-728C54F89276}"/>
                </a:ext>
              </a:extLst>
            </p:cNvPr>
            <p:cNvSpPr/>
            <p:nvPr/>
          </p:nvSpPr>
          <p:spPr bwMode="auto">
            <a:xfrm>
              <a:off x="3310772" y="4964381"/>
              <a:ext cx="461068" cy="455305"/>
            </a:xfrm>
            <a:prstGeom prst="flowChartConnector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  <a:effectLst/>
          </p:spPr>
          <p:txBody>
            <a:bodyPr wrap="square" lIns="46800" tIns="46800" rIns="46800" bIns="468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endParaRPr>
            </a:p>
          </p:txBody>
        </p:sp>
        <p:grpSp>
          <p:nvGrpSpPr>
            <p:cNvPr id="18" name="Graphic 2">
              <a:extLst>
                <a:ext uri="{FF2B5EF4-FFF2-40B4-BE49-F238E27FC236}">
                  <a16:creationId xmlns:a16="http://schemas.microsoft.com/office/drawing/2014/main" id="{CE3F409B-6710-720E-8B04-8374E07C9815}"/>
                </a:ext>
              </a:extLst>
            </p:cNvPr>
            <p:cNvGrpSpPr/>
            <p:nvPr/>
          </p:nvGrpSpPr>
          <p:grpSpPr>
            <a:xfrm rot="10800000">
              <a:off x="3562156" y="3237130"/>
              <a:ext cx="521208" cy="493777"/>
              <a:chOff x="7297304" y="1696307"/>
              <a:chExt cx="1845445" cy="1752199"/>
            </a:xfrm>
            <a:solidFill>
              <a:srgbClr val="FA5000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AF14C9BB-C7C3-B070-D5DB-3157A4808A65}"/>
                  </a:ext>
                </a:extLst>
              </p:cNvPr>
              <p:cNvSpPr/>
              <p:nvPr/>
            </p:nvSpPr>
            <p:spPr>
              <a:xfrm>
                <a:off x="7297304" y="2516653"/>
                <a:ext cx="1773228" cy="931853"/>
              </a:xfrm>
              <a:custGeom>
                <a:avLst/>
                <a:gdLst>
                  <a:gd name="connsiteX0" fmla="*/ 1761142 w 1773228"/>
                  <a:gd name="connsiteY0" fmla="*/ 244684 h 931853"/>
                  <a:gd name="connsiteX1" fmla="*/ 1741977 w 1773228"/>
                  <a:gd name="connsiteY1" fmla="*/ 256319 h 931853"/>
                  <a:gd name="connsiteX2" fmla="*/ 721490 w 1773228"/>
                  <a:gd name="connsiteY2" fmla="*/ 875388 h 931853"/>
                  <a:gd name="connsiteX3" fmla="*/ 80521 w 1773228"/>
                  <a:gd name="connsiteY3" fmla="*/ 119775 h 931853"/>
                  <a:gd name="connsiteX4" fmla="*/ 121245 w 1773228"/>
                  <a:gd name="connsiteY4" fmla="*/ 75972 h 931853"/>
                  <a:gd name="connsiteX5" fmla="*/ 76072 w 1773228"/>
                  <a:gd name="connsiteY5" fmla="*/ 1711 h 931853"/>
                  <a:gd name="connsiteX6" fmla="*/ 61357 w 1773228"/>
                  <a:gd name="connsiteY6" fmla="*/ 0 h 931853"/>
                  <a:gd name="connsiteX7" fmla="*/ 1811 w 1773228"/>
                  <a:gd name="connsiteY7" fmla="*/ 46884 h 931853"/>
                  <a:gd name="connsiteX8" fmla="*/ 46984 w 1773228"/>
                  <a:gd name="connsiteY8" fmla="*/ 121144 h 931853"/>
                  <a:gd name="connsiteX9" fmla="*/ 48695 w 1773228"/>
                  <a:gd name="connsiteY9" fmla="*/ 121487 h 931853"/>
                  <a:gd name="connsiteX10" fmla="*/ 108925 w 1773228"/>
                  <a:gd name="connsiteY10" fmla="*/ 380886 h 931853"/>
                  <a:gd name="connsiteX11" fmla="*/ 247522 w 1773228"/>
                  <a:gd name="connsiteY11" fmla="*/ 614277 h 931853"/>
                  <a:gd name="connsiteX12" fmla="*/ 713962 w 1773228"/>
                  <a:gd name="connsiteY12" fmla="*/ 906529 h 931853"/>
                  <a:gd name="connsiteX13" fmla="*/ 922713 w 1773228"/>
                  <a:gd name="connsiteY13" fmla="*/ 931853 h 931853"/>
                  <a:gd name="connsiteX14" fmla="*/ 1061311 w 1773228"/>
                  <a:gd name="connsiteY14" fmla="*/ 920560 h 931853"/>
                  <a:gd name="connsiteX15" fmla="*/ 1376492 w 1773228"/>
                  <a:gd name="connsiteY15" fmla="*/ 804549 h 931853"/>
                  <a:gd name="connsiteX16" fmla="*/ 1624940 w 1773228"/>
                  <a:gd name="connsiteY16" fmla="*/ 578687 h 931853"/>
                  <a:gd name="connsiteX17" fmla="*/ 1772777 w 1773228"/>
                  <a:gd name="connsiteY17" fmla="*/ 263848 h 931853"/>
                  <a:gd name="connsiteX18" fmla="*/ 1761142 w 1773228"/>
                  <a:gd name="connsiteY18" fmla="*/ 244684 h 931853"/>
                  <a:gd name="connsiteX19" fmla="*/ 32610 w 1773228"/>
                  <a:gd name="connsiteY19" fmla="*/ 54412 h 931853"/>
                  <a:gd name="connsiteX20" fmla="*/ 61357 w 1773228"/>
                  <a:gd name="connsiteY20" fmla="*/ 31826 h 931853"/>
                  <a:gd name="connsiteX21" fmla="*/ 68543 w 1773228"/>
                  <a:gd name="connsiteY21" fmla="*/ 32853 h 931853"/>
                  <a:gd name="connsiteX22" fmla="*/ 90103 w 1773228"/>
                  <a:gd name="connsiteY22" fmla="*/ 68443 h 931853"/>
                  <a:gd name="connsiteX23" fmla="*/ 61357 w 1773228"/>
                  <a:gd name="connsiteY23" fmla="*/ 91029 h 931853"/>
                  <a:gd name="connsiteX24" fmla="*/ 54170 w 1773228"/>
                  <a:gd name="connsiteY24" fmla="*/ 90003 h 931853"/>
                  <a:gd name="connsiteX25" fmla="*/ 32610 w 1773228"/>
                  <a:gd name="connsiteY25" fmla="*/ 54412 h 931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773228" h="931853">
                    <a:moveTo>
                      <a:pt x="1761142" y="244684"/>
                    </a:moveTo>
                    <a:cubicBezTo>
                      <a:pt x="1752586" y="242631"/>
                      <a:pt x="1744031" y="247764"/>
                      <a:pt x="1741977" y="256319"/>
                    </a:cubicBezTo>
                    <a:cubicBezTo>
                      <a:pt x="1631442" y="708386"/>
                      <a:pt x="1173558" y="986265"/>
                      <a:pt x="721490" y="875388"/>
                    </a:cubicBezTo>
                    <a:cubicBezTo>
                      <a:pt x="364559" y="788123"/>
                      <a:pt x="108240" y="484920"/>
                      <a:pt x="80521" y="119775"/>
                    </a:cubicBezTo>
                    <a:cubicBezTo>
                      <a:pt x="100369" y="113273"/>
                      <a:pt x="116111" y="97189"/>
                      <a:pt x="121245" y="75972"/>
                    </a:cubicBezTo>
                    <a:cubicBezTo>
                      <a:pt x="129458" y="43119"/>
                      <a:pt x="108925" y="9924"/>
                      <a:pt x="76072" y="1711"/>
                    </a:cubicBezTo>
                    <a:cubicBezTo>
                      <a:pt x="71281" y="684"/>
                      <a:pt x="66490" y="0"/>
                      <a:pt x="61357" y="0"/>
                    </a:cubicBezTo>
                    <a:cubicBezTo>
                      <a:pt x="32953" y="0"/>
                      <a:pt x="8314" y="19164"/>
                      <a:pt x="1811" y="46884"/>
                    </a:cubicBezTo>
                    <a:cubicBezTo>
                      <a:pt x="-6402" y="79736"/>
                      <a:pt x="14131" y="112931"/>
                      <a:pt x="46984" y="121144"/>
                    </a:cubicBezTo>
                    <a:cubicBezTo>
                      <a:pt x="47668" y="121144"/>
                      <a:pt x="48010" y="121487"/>
                      <a:pt x="48695" y="121487"/>
                    </a:cubicBezTo>
                    <a:cubicBezTo>
                      <a:pt x="55539" y="210463"/>
                      <a:pt x="75730" y="297728"/>
                      <a:pt x="108925" y="380886"/>
                    </a:cubicBezTo>
                    <a:cubicBezTo>
                      <a:pt x="142804" y="465413"/>
                      <a:pt x="189345" y="544123"/>
                      <a:pt x="247522" y="614277"/>
                    </a:cubicBezTo>
                    <a:cubicBezTo>
                      <a:pt x="368324" y="760403"/>
                      <a:pt x="529508" y="861357"/>
                      <a:pt x="713962" y="906529"/>
                    </a:cubicBezTo>
                    <a:cubicBezTo>
                      <a:pt x="783089" y="923298"/>
                      <a:pt x="852902" y="931853"/>
                      <a:pt x="922713" y="931853"/>
                    </a:cubicBezTo>
                    <a:cubicBezTo>
                      <a:pt x="968912" y="931853"/>
                      <a:pt x="1015454" y="928089"/>
                      <a:pt x="1061311" y="920560"/>
                    </a:cubicBezTo>
                    <a:cubicBezTo>
                      <a:pt x="1173215" y="902422"/>
                      <a:pt x="1278960" y="863410"/>
                      <a:pt x="1376492" y="804549"/>
                    </a:cubicBezTo>
                    <a:cubicBezTo>
                      <a:pt x="1473680" y="745688"/>
                      <a:pt x="1557523" y="669716"/>
                      <a:pt x="1624940" y="578687"/>
                    </a:cubicBezTo>
                    <a:cubicBezTo>
                      <a:pt x="1695094" y="484577"/>
                      <a:pt x="1744715" y="378833"/>
                      <a:pt x="1772777" y="263848"/>
                    </a:cubicBezTo>
                    <a:cubicBezTo>
                      <a:pt x="1774830" y="255293"/>
                      <a:pt x="1769697" y="246737"/>
                      <a:pt x="1761142" y="244684"/>
                    </a:cubicBezTo>
                    <a:close/>
                    <a:moveTo>
                      <a:pt x="32610" y="54412"/>
                    </a:moveTo>
                    <a:cubicBezTo>
                      <a:pt x="36032" y="41066"/>
                      <a:pt x="47668" y="31826"/>
                      <a:pt x="61357" y="31826"/>
                    </a:cubicBezTo>
                    <a:cubicBezTo>
                      <a:pt x="63752" y="31826"/>
                      <a:pt x="66148" y="32168"/>
                      <a:pt x="68543" y="32853"/>
                    </a:cubicBezTo>
                    <a:cubicBezTo>
                      <a:pt x="84285" y="36617"/>
                      <a:pt x="94209" y="52701"/>
                      <a:pt x="90103" y="68443"/>
                    </a:cubicBezTo>
                    <a:cubicBezTo>
                      <a:pt x="86681" y="81790"/>
                      <a:pt x="75046" y="91029"/>
                      <a:pt x="61357" y="91029"/>
                    </a:cubicBezTo>
                    <a:cubicBezTo>
                      <a:pt x="58962" y="91029"/>
                      <a:pt x="56565" y="90687"/>
                      <a:pt x="54170" y="90003"/>
                    </a:cubicBezTo>
                    <a:cubicBezTo>
                      <a:pt x="38429" y="86238"/>
                      <a:pt x="28846" y="70154"/>
                      <a:pt x="32610" y="54412"/>
                    </a:cubicBezTo>
                    <a:close/>
                  </a:path>
                </a:pathLst>
              </a:custGeom>
              <a:solidFill>
                <a:schemeClr val="tx2"/>
              </a:solidFill>
              <a:ln w="34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y-AM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34019CF9-37C0-EEF6-0505-A68710B819C5}"/>
                  </a:ext>
                </a:extLst>
              </p:cNvPr>
              <p:cNvSpPr/>
              <p:nvPr/>
            </p:nvSpPr>
            <p:spPr>
              <a:xfrm>
                <a:off x="7367791" y="1696307"/>
                <a:ext cx="1774958" cy="945939"/>
              </a:xfrm>
              <a:custGeom>
                <a:avLst/>
                <a:gdLst>
                  <a:gd name="connsiteX0" fmla="*/ 1727955 w 1774958"/>
                  <a:gd name="connsiteY0" fmla="*/ 825137 h 945939"/>
                  <a:gd name="connsiteX1" fmla="*/ 1725903 w 1774958"/>
                  <a:gd name="connsiteY1" fmla="*/ 824795 h 945939"/>
                  <a:gd name="connsiteX2" fmla="*/ 1669437 w 1774958"/>
                  <a:gd name="connsiteY2" fmla="*/ 563000 h 945939"/>
                  <a:gd name="connsiteX3" fmla="*/ 1531524 w 1774958"/>
                  <a:gd name="connsiteY3" fmla="*/ 324134 h 945939"/>
                  <a:gd name="connsiteX4" fmla="*/ 1324484 w 1774958"/>
                  <a:gd name="connsiteY4" fmla="*/ 138653 h 945939"/>
                  <a:gd name="connsiteX5" fmla="*/ 1059609 w 1774958"/>
                  <a:gd name="connsiteY5" fmla="*/ 25379 h 945939"/>
                  <a:gd name="connsiteX6" fmla="*/ 711918 w 1774958"/>
                  <a:gd name="connsiteY6" fmla="*/ 11006 h 945939"/>
                  <a:gd name="connsiteX7" fmla="*/ 396737 w 1774958"/>
                  <a:gd name="connsiteY7" fmla="*/ 127017 h 945939"/>
                  <a:gd name="connsiteX8" fmla="*/ 148289 w 1774958"/>
                  <a:gd name="connsiteY8" fmla="*/ 352880 h 945939"/>
                  <a:gd name="connsiteX9" fmla="*/ 452 w 1774958"/>
                  <a:gd name="connsiteY9" fmla="*/ 667718 h 945939"/>
                  <a:gd name="connsiteX10" fmla="*/ 12087 w 1774958"/>
                  <a:gd name="connsiteY10" fmla="*/ 686882 h 945939"/>
                  <a:gd name="connsiteX11" fmla="*/ 15851 w 1774958"/>
                  <a:gd name="connsiteY11" fmla="*/ 687224 h 945939"/>
                  <a:gd name="connsiteX12" fmla="*/ 31251 w 1774958"/>
                  <a:gd name="connsiteY12" fmla="*/ 675247 h 945939"/>
                  <a:gd name="connsiteX13" fmla="*/ 1052080 w 1774958"/>
                  <a:gd name="connsiteY13" fmla="*/ 55837 h 945939"/>
                  <a:gd name="connsiteX14" fmla="*/ 1694076 w 1774958"/>
                  <a:gd name="connsiteY14" fmla="*/ 826164 h 945939"/>
                  <a:gd name="connsiteX15" fmla="*/ 1653695 w 1774958"/>
                  <a:gd name="connsiteY15" fmla="*/ 869967 h 945939"/>
                  <a:gd name="connsiteX16" fmla="*/ 1698867 w 1774958"/>
                  <a:gd name="connsiteY16" fmla="*/ 944228 h 945939"/>
                  <a:gd name="connsiteX17" fmla="*/ 1713582 w 1774958"/>
                  <a:gd name="connsiteY17" fmla="*/ 945939 h 945939"/>
                  <a:gd name="connsiteX18" fmla="*/ 1773128 w 1774958"/>
                  <a:gd name="connsiteY18" fmla="*/ 899056 h 945939"/>
                  <a:gd name="connsiteX19" fmla="*/ 1727955 w 1774958"/>
                  <a:gd name="connsiteY19" fmla="*/ 825137 h 945939"/>
                  <a:gd name="connsiteX20" fmla="*/ 1742329 w 1774958"/>
                  <a:gd name="connsiteY20" fmla="*/ 891869 h 945939"/>
                  <a:gd name="connsiteX21" fmla="*/ 1713582 w 1774958"/>
                  <a:gd name="connsiteY21" fmla="*/ 914455 h 945939"/>
                  <a:gd name="connsiteX22" fmla="*/ 1706396 w 1774958"/>
                  <a:gd name="connsiteY22" fmla="*/ 913429 h 945939"/>
                  <a:gd name="connsiteX23" fmla="*/ 1684837 w 1774958"/>
                  <a:gd name="connsiteY23" fmla="*/ 877838 h 945939"/>
                  <a:gd name="connsiteX24" fmla="*/ 1713582 w 1774958"/>
                  <a:gd name="connsiteY24" fmla="*/ 855252 h 945939"/>
                  <a:gd name="connsiteX25" fmla="*/ 1720769 w 1774958"/>
                  <a:gd name="connsiteY25" fmla="*/ 856279 h 945939"/>
                  <a:gd name="connsiteX26" fmla="*/ 1742329 w 1774958"/>
                  <a:gd name="connsiteY26" fmla="*/ 891869 h 945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774958" h="945939">
                    <a:moveTo>
                      <a:pt x="1727955" y="825137"/>
                    </a:moveTo>
                    <a:cubicBezTo>
                      <a:pt x="1727271" y="825137"/>
                      <a:pt x="1726587" y="824795"/>
                      <a:pt x="1725903" y="824795"/>
                    </a:cubicBezTo>
                    <a:cubicBezTo>
                      <a:pt x="1720769" y="735134"/>
                      <a:pt x="1701605" y="647185"/>
                      <a:pt x="1669437" y="563000"/>
                    </a:cubicBezTo>
                    <a:cubicBezTo>
                      <a:pt x="1636242" y="476419"/>
                      <a:pt x="1590043" y="396341"/>
                      <a:pt x="1531524" y="324134"/>
                    </a:cubicBezTo>
                    <a:cubicBezTo>
                      <a:pt x="1472663" y="251242"/>
                      <a:pt x="1402851" y="188958"/>
                      <a:pt x="1324484" y="138653"/>
                    </a:cubicBezTo>
                    <a:cubicBezTo>
                      <a:pt x="1243379" y="86636"/>
                      <a:pt x="1154060" y="48308"/>
                      <a:pt x="1059609" y="25379"/>
                    </a:cubicBezTo>
                    <a:cubicBezTo>
                      <a:pt x="944624" y="-2682"/>
                      <a:pt x="827928" y="-7473"/>
                      <a:pt x="711918" y="11006"/>
                    </a:cubicBezTo>
                    <a:cubicBezTo>
                      <a:pt x="600013" y="29144"/>
                      <a:pt x="494268" y="68156"/>
                      <a:pt x="396737" y="127017"/>
                    </a:cubicBezTo>
                    <a:cubicBezTo>
                      <a:pt x="299205" y="185878"/>
                      <a:pt x="215705" y="261850"/>
                      <a:pt x="148289" y="352880"/>
                    </a:cubicBezTo>
                    <a:cubicBezTo>
                      <a:pt x="78135" y="446989"/>
                      <a:pt x="28513" y="552734"/>
                      <a:pt x="452" y="667718"/>
                    </a:cubicBezTo>
                    <a:cubicBezTo>
                      <a:pt x="-1602" y="676273"/>
                      <a:pt x="3531" y="684829"/>
                      <a:pt x="12087" y="686882"/>
                    </a:cubicBezTo>
                    <a:cubicBezTo>
                      <a:pt x="13455" y="687224"/>
                      <a:pt x="14482" y="687224"/>
                      <a:pt x="15851" y="687224"/>
                    </a:cubicBezTo>
                    <a:cubicBezTo>
                      <a:pt x="23037" y="687224"/>
                      <a:pt x="29540" y="682433"/>
                      <a:pt x="31251" y="675247"/>
                    </a:cubicBezTo>
                    <a:cubicBezTo>
                      <a:pt x="142471" y="223180"/>
                      <a:pt x="600013" y="-54699"/>
                      <a:pt x="1052080" y="55837"/>
                    </a:cubicBezTo>
                    <a:cubicBezTo>
                      <a:pt x="1410037" y="143444"/>
                      <a:pt x="1672859" y="459309"/>
                      <a:pt x="1694076" y="826164"/>
                    </a:cubicBezTo>
                    <a:cubicBezTo>
                      <a:pt x="1674228" y="832666"/>
                      <a:pt x="1658828" y="848750"/>
                      <a:pt x="1653695" y="869967"/>
                    </a:cubicBezTo>
                    <a:cubicBezTo>
                      <a:pt x="1645482" y="902820"/>
                      <a:pt x="1666015" y="936015"/>
                      <a:pt x="1698867" y="944228"/>
                    </a:cubicBezTo>
                    <a:cubicBezTo>
                      <a:pt x="1703659" y="945255"/>
                      <a:pt x="1708449" y="945939"/>
                      <a:pt x="1713582" y="945939"/>
                    </a:cubicBezTo>
                    <a:cubicBezTo>
                      <a:pt x="1741987" y="945939"/>
                      <a:pt x="1766626" y="926775"/>
                      <a:pt x="1773128" y="899056"/>
                    </a:cubicBezTo>
                    <a:cubicBezTo>
                      <a:pt x="1781341" y="866545"/>
                      <a:pt x="1761151" y="833008"/>
                      <a:pt x="1727955" y="825137"/>
                    </a:cubicBezTo>
                    <a:close/>
                    <a:moveTo>
                      <a:pt x="1742329" y="891869"/>
                    </a:moveTo>
                    <a:cubicBezTo>
                      <a:pt x="1738907" y="905216"/>
                      <a:pt x="1727271" y="914455"/>
                      <a:pt x="1713582" y="914455"/>
                    </a:cubicBezTo>
                    <a:cubicBezTo>
                      <a:pt x="1711187" y="914455"/>
                      <a:pt x="1708792" y="914113"/>
                      <a:pt x="1706396" y="913429"/>
                    </a:cubicBezTo>
                    <a:cubicBezTo>
                      <a:pt x="1690654" y="909664"/>
                      <a:pt x="1680730" y="893580"/>
                      <a:pt x="1684837" y="877838"/>
                    </a:cubicBezTo>
                    <a:cubicBezTo>
                      <a:pt x="1688259" y="864492"/>
                      <a:pt x="1699894" y="855252"/>
                      <a:pt x="1713582" y="855252"/>
                    </a:cubicBezTo>
                    <a:cubicBezTo>
                      <a:pt x="1715978" y="855252"/>
                      <a:pt x="1718374" y="855594"/>
                      <a:pt x="1720769" y="856279"/>
                    </a:cubicBezTo>
                    <a:cubicBezTo>
                      <a:pt x="1736511" y="860043"/>
                      <a:pt x="1746093" y="875785"/>
                      <a:pt x="1742329" y="891869"/>
                    </a:cubicBezTo>
                    <a:close/>
                  </a:path>
                </a:pathLst>
              </a:custGeom>
              <a:solidFill>
                <a:schemeClr val="tx2"/>
              </a:solidFill>
              <a:ln w="34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y-AM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F82111F-B76C-48C1-9C3E-0DDF9A7C8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5893" y="3256823"/>
              <a:ext cx="457546" cy="4541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prstClr val="black">
                  <a:alpha val="10000"/>
                </a:prstClr>
              </a:outerShdw>
            </a:effectLst>
          </p:spPr>
          <p:txBody>
            <a:bodyPr wrap="square" lIns="46800" tIns="46800" rIns="46800" bIns="46800" rtlCol="0" anchor="ctr">
              <a:noAutofit/>
            </a:bodyPr>
            <a:lstStyle/>
            <a:p>
              <a:pPr algn="l">
                <a:spcBef>
                  <a:spcPts val="300"/>
                </a:spcBef>
              </a:pPr>
              <a:endParaRPr lang="en-US" sz="1600" dirty="0">
                <a:ea typeface="MS PGothic" panose="020B0600070205080204" pitchFamily="34" charset="-128"/>
              </a:endParaRPr>
            </a:p>
          </p:txBody>
        </p:sp>
        <p:pic>
          <p:nvPicPr>
            <p:cNvPr id="20" name="Graphic 19" descr="Fork In Road outline">
              <a:extLst>
                <a:ext uri="{FF2B5EF4-FFF2-40B4-BE49-F238E27FC236}">
                  <a16:creationId xmlns:a16="http://schemas.microsoft.com/office/drawing/2014/main" id="{B6DC0579-DB71-21B7-7A97-C3AA67AC691E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3655000" y="3311517"/>
              <a:ext cx="347339" cy="344759"/>
            </a:xfrm>
            <a:prstGeom prst="rect">
              <a:avLst/>
            </a:prstGeom>
          </p:spPr>
        </p:pic>
        <p:pic>
          <p:nvPicPr>
            <p:cNvPr id="51" name="Picture 2">
              <a:extLst>
                <a:ext uri="{FF2B5EF4-FFF2-40B4-BE49-F238E27FC236}">
                  <a16:creationId xmlns:a16="http://schemas.microsoft.com/office/drawing/2014/main" id="{0DB584AF-E62D-A712-A10C-809E1656AA9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3666" t="11280" r="23553" b="561"/>
            <a:stretch>
              <a:fillRect/>
            </a:stretch>
          </p:blipFill>
          <p:spPr bwMode="auto">
            <a:xfrm>
              <a:off x="3312967" y="4950310"/>
              <a:ext cx="461069" cy="461069"/>
            </a:xfrm>
            <a:prstGeom prst="flowChartConnector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1" name="Flowchart: Connector 70">
              <a:extLst>
                <a:ext uri="{FF2B5EF4-FFF2-40B4-BE49-F238E27FC236}">
                  <a16:creationId xmlns:a16="http://schemas.microsoft.com/office/drawing/2014/main" id="{1F585668-592F-91E7-1581-C26E1136A008}"/>
                </a:ext>
              </a:extLst>
            </p:cNvPr>
            <p:cNvSpPr/>
            <p:nvPr/>
          </p:nvSpPr>
          <p:spPr bwMode="auto">
            <a:xfrm>
              <a:off x="3834974" y="4962942"/>
              <a:ext cx="461068" cy="455305"/>
            </a:xfrm>
            <a:prstGeom prst="flowChartConnector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  <a:effectLst/>
          </p:spPr>
          <p:txBody>
            <a:bodyPr wrap="square" lIns="46800" tIns="46800" rIns="46800" bIns="468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endParaRPr>
            </a:p>
          </p:txBody>
        </p:sp>
        <p:pic>
          <p:nvPicPr>
            <p:cNvPr id="76" name="Picture 4">
              <a:extLst>
                <a:ext uri="{FF2B5EF4-FFF2-40B4-BE49-F238E27FC236}">
                  <a16:creationId xmlns:a16="http://schemas.microsoft.com/office/drawing/2014/main" id="{F6865725-BFE6-6B49-FC87-4C2DC33FE51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3341" t="-5903" r="-11216" b="-155"/>
            <a:stretch>
              <a:fillRect/>
            </a:stretch>
          </p:blipFill>
          <p:spPr bwMode="auto">
            <a:xfrm>
              <a:off x="3834974" y="4948580"/>
              <a:ext cx="461068" cy="461068"/>
            </a:xfrm>
            <a:prstGeom prst="flowChartConnector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1" name="Flowchart: Connector 80">
            <a:extLst>
              <a:ext uri="{FF2B5EF4-FFF2-40B4-BE49-F238E27FC236}">
                <a16:creationId xmlns:a16="http://schemas.microsoft.com/office/drawing/2014/main" id="{B70D9370-8AAC-2D7A-0B60-3B35DC1F2797}"/>
              </a:ext>
            </a:extLst>
          </p:cNvPr>
          <p:cNvSpPr/>
          <p:nvPr/>
        </p:nvSpPr>
        <p:spPr bwMode="auto">
          <a:xfrm>
            <a:off x="1450019" y="2013150"/>
            <a:ext cx="731520" cy="722377"/>
          </a:xfrm>
          <a:prstGeom prst="flowChartConnector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D2D2A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83" name="Flowchart: Connector 82">
            <a:extLst>
              <a:ext uri="{FF2B5EF4-FFF2-40B4-BE49-F238E27FC236}">
                <a16:creationId xmlns:a16="http://schemas.microsoft.com/office/drawing/2014/main" id="{EBA33C37-B095-CB11-43FD-45D682DDD1FF}"/>
              </a:ext>
            </a:extLst>
          </p:cNvPr>
          <p:cNvSpPr/>
          <p:nvPr/>
        </p:nvSpPr>
        <p:spPr bwMode="auto">
          <a:xfrm>
            <a:off x="2772264" y="2005632"/>
            <a:ext cx="731520" cy="722377"/>
          </a:xfrm>
          <a:prstGeom prst="flowChartConnector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D2D2A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84" name="Flowchart: Connector 83">
            <a:extLst>
              <a:ext uri="{FF2B5EF4-FFF2-40B4-BE49-F238E27FC236}">
                <a16:creationId xmlns:a16="http://schemas.microsoft.com/office/drawing/2014/main" id="{FA01390C-C076-13A8-E4F6-09F62F481286}"/>
              </a:ext>
            </a:extLst>
          </p:cNvPr>
          <p:cNvSpPr/>
          <p:nvPr/>
        </p:nvSpPr>
        <p:spPr bwMode="auto">
          <a:xfrm>
            <a:off x="4101029" y="2014879"/>
            <a:ext cx="731520" cy="722377"/>
          </a:xfrm>
          <a:prstGeom prst="flowChartConnector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D2D2A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pic>
        <p:nvPicPr>
          <p:cNvPr id="88" name="Picture 2">
            <a:extLst>
              <a:ext uri="{FF2B5EF4-FFF2-40B4-BE49-F238E27FC236}">
                <a16:creationId xmlns:a16="http://schemas.microsoft.com/office/drawing/2014/main" id="{1FE77459-B845-836D-624A-6EBF01D2777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15" t="589" r="10727" b="21651"/>
          <a:stretch>
            <a:fillRect/>
          </a:stretch>
        </p:blipFill>
        <p:spPr bwMode="auto">
          <a:xfrm>
            <a:off x="1458035" y="2009784"/>
            <a:ext cx="721893" cy="721893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4" descr="Profile photo of Anang B Singh">
            <a:extLst>
              <a:ext uri="{FF2B5EF4-FFF2-40B4-BE49-F238E27FC236}">
                <a16:creationId xmlns:a16="http://schemas.microsoft.com/office/drawing/2014/main" id="{A4E417D7-B37E-3300-0D43-05735E5FE5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54" t="296" r="21185" b="46624"/>
          <a:stretch>
            <a:fillRect/>
          </a:stretch>
        </p:blipFill>
        <p:spPr bwMode="auto">
          <a:xfrm>
            <a:off x="2754046" y="1971084"/>
            <a:ext cx="779742" cy="743595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97">
            <a:extLst>
              <a:ext uri="{FF2B5EF4-FFF2-40B4-BE49-F238E27FC236}">
                <a16:creationId xmlns:a16="http://schemas.microsoft.com/office/drawing/2014/main" id="{D5CDD56F-A875-68A4-77BE-3147512A33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9" t="714" r="17004" b="41301"/>
          <a:stretch>
            <a:fillRect/>
          </a:stretch>
        </p:blipFill>
        <p:spPr bwMode="auto">
          <a:xfrm>
            <a:off x="4090354" y="1955400"/>
            <a:ext cx="762913" cy="762913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lowchart: Connector 3">
            <a:extLst>
              <a:ext uri="{FF2B5EF4-FFF2-40B4-BE49-F238E27FC236}">
                <a16:creationId xmlns:a16="http://schemas.microsoft.com/office/drawing/2014/main" id="{DD92A679-AD2E-33F8-ACE8-B9CF732A0EDA}"/>
              </a:ext>
            </a:extLst>
          </p:cNvPr>
          <p:cNvSpPr/>
          <p:nvPr/>
        </p:nvSpPr>
        <p:spPr bwMode="auto">
          <a:xfrm>
            <a:off x="2373568" y="4963433"/>
            <a:ext cx="457200" cy="457200"/>
          </a:xfrm>
          <a:prstGeom prst="flowChartConnector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D2D2A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2E03135-DDA0-FC56-8CDF-B4C4958D6F4F}"/>
              </a:ext>
            </a:extLst>
          </p:cNvPr>
          <p:cNvPicPr>
            <a:picLocks noChangeAspect="1"/>
          </p:cNvPicPr>
          <p:nvPr/>
        </p:nvPicPr>
        <p:blipFill>
          <a:blip r:embed="rId41"/>
          <a:srcRect l="-22444" r="-24448"/>
          <a:stretch>
            <a:fillRect/>
          </a:stretch>
        </p:blipFill>
        <p:spPr>
          <a:xfrm>
            <a:off x="2379706" y="4935241"/>
            <a:ext cx="451061" cy="477664"/>
          </a:xfrm>
          <a:prstGeom prst="flowChartConnector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0C083C3-A726-7DDD-DF15-3E75AA701A10}"/>
              </a:ext>
            </a:extLst>
          </p:cNvPr>
          <p:cNvPicPr>
            <a:picLocks noChangeAspect="1"/>
          </p:cNvPicPr>
          <p:nvPr/>
        </p:nvPicPr>
        <p:blipFill rotWithShape="1">
          <a:blip r:embed="rId42" cstate="print">
            <a:extLst>
              <a:ext uri="{BEBA8EAE-BF5A-486C-A8C5-ECC9F3942E4B}">
                <a14:imgProps xmlns:a14="http://schemas.microsoft.com/office/drawing/2010/main">
                  <a14:imgLayer r:embed="rId43">
                    <a14:imgEffect>
                      <a14:backgroundRemoval t="1010" b="100000" l="0" r="100000">
                        <a14:foregroundMark x1="19355" y1="9596" x2="25806" y2="4545"/>
                        <a14:foregroundMark x1="50080" y1="1010" x2="53548" y2="505"/>
                        <a14:foregroundMark x1="43145" y1="2020" x2="50080" y2="1010"/>
                        <a14:foregroundMark x1="39677" y1="2525" x2="43145" y2="2020"/>
                        <a14:foregroundMark x1="36209" y1="3030" x2="39677" y2="2525"/>
                        <a14:foregroundMark x1="25806" y1="4545" x2="36209" y2="3030"/>
                        <a14:foregroundMark x1="56774" y1="1010" x2="63226" y2="2020"/>
                        <a14:foregroundMark x1="53548" y1="505" x2="56774" y2="1010"/>
                        <a14:foregroundMark x1="63226" y1="2020" x2="78710" y2="10606"/>
                        <a14:foregroundMark x1="78710" y1="10606" x2="85161" y2="16667"/>
                        <a14:foregroundMark x1="85161" y1="16667" x2="75484" y2="18182"/>
                        <a14:foregroundMark x1="75484" y1="18182" x2="70323" y2="12121"/>
                        <a14:foregroundMark x1="70323" y1="12121" x2="60645" y2="10101"/>
                        <a14:foregroundMark x1="60645" y1="10101" x2="40645" y2="12121"/>
                        <a14:foregroundMark x1="40645" y1="12121" x2="31613" y2="9596"/>
                        <a14:foregroundMark x1="31613" y1="9596" x2="19355" y2="10101"/>
                        <a14:foregroundMark x1="70968" y1="6061" x2="62581" y2="2525"/>
                        <a14:foregroundMark x1="47097" y1="1010" x2="41935" y2="505"/>
                        <a14:foregroundMark x1="62581" y1="2525" x2="47097" y2="1010"/>
                        <a14:foregroundMark x1="34408" y1="3030" x2="32903" y2="3535"/>
                        <a14:foregroundMark x1="35914" y1="2525" x2="34408" y2="3030"/>
                        <a14:foregroundMark x1="37419" y1="2020" x2="35914" y2="2525"/>
                        <a14:foregroundMark x1="40430" y1="1010" x2="37419" y2="2020"/>
                        <a14:foregroundMark x1="41935" y1="505" x2="40430" y2="1010"/>
                        <a14:foregroundMark x1="32903" y1="3535" x2="42581" y2="6566"/>
                        <a14:foregroundMark x1="42581" y1="6566" x2="69032" y2="5556"/>
                        <a14:foregroundMark x1="41935" y1="1515" x2="55484" y2="1010"/>
                        <a14:foregroundMark x1="43226" y1="67172" x2="52258" y2="67172"/>
                        <a14:foregroundMark x1="52258" y1="67172" x2="42581" y2="67677"/>
                        <a14:foregroundMark x1="42581" y1="67677" x2="45161" y2="67172"/>
                        <a14:foregroundMark x1="80645" y1="99495" x2="80645" y2="99495"/>
                        <a14:foregroundMark x1="97419" y1="95455" x2="99355" y2="95960"/>
                        <a14:foregroundMark x1="96774" y1="95455" x2="81935" y2="98990"/>
                        <a14:foregroundMark x1="99355" y1="96970" x2="84516" y2="99495"/>
                        <a14:foregroundMark x1="21935" y1="70707" x2="19355" y2="71717"/>
                        <a14:foregroundMark x1="20645" y1="71717" x2="5806" y2="82323"/>
                        <a14:foregroundMark x1="0" y1="84848" x2="5161" y2="82323"/>
                        <a14:foregroundMark x1="20000" y1="84343" x2="29032" y2="99495"/>
                        <a14:foregroundMark x1="20000" y1="84343" x2="18710" y2="76768"/>
                        <a14:foregroundMark x1="18710" y1="76768" x2="21290" y2="71212"/>
                        <a14:foregroundMark x1="19355" y1="80808" x2="66452" y2="97980"/>
                        <a14:foregroundMark x1="66452" y1="97980" x2="67742" y2="83333"/>
                        <a14:foregroundMark x1="64516" y1="95455" x2="64516" y2="95455"/>
                        <a14:foregroundMark x1="33548" y1="92929" x2="33548" y2="92929"/>
                        <a14:foregroundMark x1="33548" y1="92929" x2="39355" y2="95960"/>
                        <a14:foregroundMark x1="15484" y1="87374" x2="15484" y2="87374"/>
                        <a14:foregroundMark x1="78710" y1="92929" x2="78710" y2="92929"/>
                        <a14:foregroundMark x1="67097" y1="97475" x2="67097" y2="97475"/>
                        <a14:foregroundMark x1="70968" y1="90909" x2="70968" y2="90909"/>
                        <a14:foregroundMark x1="76129" y1="95960" x2="76129" y2="95960"/>
                        <a14:backgroundMark x1="23871" y1="2020" x2="23871" y2="2020"/>
                        <a14:backgroundMark x1="27742" y1="3030" x2="27742" y2="3030"/>
                        <a14:backgroundMark x1="30968" y1="3030" x2="30968" y2="3030"/>
                        <a14:backgroundMark x1="34194" y1="3030" x2="34194" y2="3030"/>
                        <a14:backgroundMark x1="36129" y1="2525" x2="36129" y2="2525"/>
                        <a14:backgroundMark x1="64516" y1="1010" x2="64516" y2="1010"/>
                        <a14:backgroundMark x1="38710" y1="0" x2="38710" y2="0"/>
                        <a14:backgroundMark x1="38710" y1="1010" x2="38710" y2="1010"/>
                        <a14:backgroundMark x1="37419" y1="2020" x2="37419" y2="202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7828" t="-7962" r="-18236"/>
          <a:stretch>
            <a:fillRect/>
          </a:stretch>
        </p:blipFill>
        <p:spPr>
          <a:xfrm>
            <a:off x="7223878" y="2049127"/>
            <a:ext cx="666890" cy="674142"/>
          </a:xfrm>
          <a:prstGeom prst="flowChartConnector">
            <a:avLst/>
          </a:prstGeom>
        </p:spPr>
      </p:pic>
      <p:pic>
        <p:nvPicPr>
          <p:cNvPr id="14" name="Picture 13" descr="A person in a suit and tie&#10;&#10;Description automatically generated with medium confidence">
            <a:extLst>
              <a:ext uri="{FF2B5EF4-FFF2-40B4-BE49-F238E27FC236}">
                <a16:creationId xmlns:a16="http://schemas.microsoft.com/office/drawing/2014/main" id="{45D0611C-6FEF-E956-884E-4A430CD0BA12}"/>
              </a:ext>
            </a:extLst>
          </p:cNvPr>
          <p:cNvPicPr>
            <a:picLocks noChangeAspect="1"/>
          </p:cNvPicPr>
          <p:nvPr/>
        </p:nvPicPr>
        <p:blipFill rotWithShape="1">
          <a:blip r:embed="rId44"/>
          <a:srcRect l="2318" t="4394" r="2331" b="272"/>
          <a:stretch>
            <a:fillRect/>
          </a:stretch>
        </p:blipFill>
        <p:spPr>
          <a:xfrm>
            <a:off x="8581879" y="2075669"/>
            <a:ext cx="657687" cy="657564"/>
          </a:xfrm>
          <a:prstGeom prst="flowChartConnector">
            <a:avLst/>
          </a:prstGeom>
        </p:spPr>
      </p:pic>
      <p:pic>
        <p:nvPicPr>
          <p:cNvPr id="16" name="Picture 4">
            <a:extLst>
              <a:ext uri="{FF2B5EF4-FFF2-40B4-BE49-F238E27FC236}">
                <a16:creationId xmlns:a16="http://schemas.microsoft.com/office/drawing/2014/main" id="{22543CD8-75D0-802C-0352-E085D9CD71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262" t="1" r="-4601" b="11951"/>
          <a:stretch>
            <a:fillRect/>
          </a:stretch>
        </p:blipFill>
        <p:spPr bwMode="auto">
          <a:xfrm>
            <a:off x="9897660" y="2060852"/>
            <a:ext cx="646500" cy="655014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81827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267936-DF25-CA5E-6261-546FE1125C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A5A686A-B7F2-0B76-FB74-632A444D5E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2384582"/>
              </p:ext>
            </p:extLst>
          </p:nvPr>
        </p:nvGraphicFramePr>
        <p:xfrm>
          <a:off x="293554" y="865909"/>
          <a:ext cx="11635977" cy="526875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26186">
                  <a:extLst>
                    <a:ext uri="{9D8B030D-6E8A-4147-A177-3AD203B41FA5}">
                      <a16:colId xmlns:a16="http://schemas.microsoft.com/office/drawing/2014/main" val="2698446083"/>
                    </a:ext>
                  </a:extLst>
                </a:gridCol>
                <a:gridCol w="4858063">
                  <a:extLst>
                    <a:ext uri="{9D8B030D-6E8A-4147-A177-3AD203B41FA5}">
                      <a16:colId xmlns:a16="http://schemas.microsoft.com/office/drawing/2014/main" val="923585374"/>
                    </a:ext>
                  </a:extLst>
                </a:gridCol>
                <a:gridCol w="5951728">
                  <a:extLst>
                    <a:ext uri="{9D8B030D-6E8A-4147-A177-3AD203B41FA5}">
                      <a16:colId xmlns:a16="http://schemas.microsoft.com/office/drawing/2014/main" val="3933351902"/>
                    </a:ext>
                  </a:extLst>
                </a:gridCol>
              </a:tblGrid>
              <a:tr h="368141">
                <a:tc>
                  <a:txBody>
                    <a:bodyPr/>
                    <a:lstStyle/>
                    <a:p>
                      <a:pPr marL="91440" marR="0" lvl="0" indent="-9144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 sz="1200">
                          <a:latin typeface="Effra"/>
                          <a:ea typeface="Effra"/>
                          <a:cs typeface="Effra"/>
                          <a:sym typeface="Effra"/>
                        </a:defRPr>
                      </a:pPr>
                      <a:endParaRPr kumimoji="0" lang="en-US" sz="1000" b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sym typeface="Effra"/>
                      </a:endParaRPr>
                    </a:p>
                  </a:txBody>
                  <a:tcPr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 sz="1200">
                          <a:latin typeface="Effra"/>
                          <a:ea typeface="Effra"/>
                          <a:cs typeface="Effra"/>
                          <a:sym typeface="Effra"/>
                        </a:defRPr>
                      </a:pPr>
                      <a:endParaRPr kumimoji="0" lang="en-US" alt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Experience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8754623"/>
                  </a:ext>
                </a:extLst>
              </a:tr>
              <a:tr h="1582224">
                <a:tc>
                  <a:txBody>
                    <a:bodyPr/>
                    <a:lstStyle/>
                    <a:p>
                      <a:pPr marL="91440" marR="0" lvl="0" indent="-9144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 sz="1200">
                          <a:latin typeface="Effra"/>
                          <a:ea typeface="Effra"/>
                          <a:cs typeface="Effra"/>
                          <a:sym typeface="Effra"/>
                        </a:defRPr>
                      </a:pPr>
                      <a:endParaRPr kumimoji="0" lang="en-US" sz="1000" b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sym typeface="Effra"/>
                      </a:endParaRPr>
                    </a:p>
                  </a:txBody>
                  <a:tcP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 sz="1200">
                          <a:latin typeface="Effra"/>
                          <a:ea typeface="Effra"/>
                          <a:cs typeface="Effra"/>
                          <a:sym typeface="Effra"/>
                        </a:defRPr>
                      </a:pPr>
                      <a:endParaRPr kumimoji="0" lang="en-US" sz="1100" b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sym typeface="Effra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lnSpc>
                          <a:spcPct val="12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baseline="0" dirty="0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Served as IMO and Finance lead across pre-acquisition integration planning and post-close execution</a:t>
                      </a: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; built Day-1/Day-100 plans, TSAs, and synergy models, and </a:t>
                      </a:r>
                      <a:r>
                        <a:rPr lang="en-US" sz="1100" b="1" i="0" u="none" strike="noStrike" kern="1200" baseline="0" dirty="0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led market integration </a:t>
                      </a: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across 17 countries</a:t>
                      </a:r>
                    </a:p>
                    <a:p>
                      <a:pPr marL="182880" indent="-182880">
                        <a:lnSpc>
                          <a:spcPct val="12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Coordinated the post-acquisition </a:t>
                      </a:r>
                      <a:r>
                        <a:rPr lang="en-US" sz="1100" b="1" i="0" u="none" strike="noStrike" kern="1200" baseline="0" dirty="0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global synergy identification</a:t>
                      </a: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100" b="1" i="0" u="none" strike="noStrike" kern="1200" baseline="0" dirty="0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integration planning</a:t>
                      </a: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, and </a:t>
                      </a:r>
                      <a:r>
                        <a:rPr lang="en-US" sz="1100" b="1" i="0" u="none" strike="noStrike" kern="1200" baseline="0" dirty="0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integration management office </a:t>
                      </a: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for US-based auto parts </a:t>
                      </a:r>
                      <a:r>
                        <a:rPr lang="en-US" sz="1100" b="1" i="0" u="none" strike="noStrike" kern="1200" baseline="0" dirty="0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manufacturer </a:t>
                      </a:r>
                    </a:p>
                    <a:p>
                      <a:pPr marL="182880" indent="-182880">
                        <a:lnSpc>
                          <a:spcPct val="12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baseline="0" dirty="0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Led the pre-acquisition process and functional integratio</a:t>
                      </a: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n (3 functions) to support the formation of a top global salt mining and consumables company 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4584564"/>
                  </a:ext>
                </a:extLst>
              </a:tr>
              <a:tr h="1582224">
                <a:tc>
                  <a:txBody>
                    <a:bodyPr/>
                    <a:lstStyle/>
                    <a:p>
                      <a:pPr marL="0" indent="0" defTabSz="410751" hangingPunct="0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  <a:defRPr sz="1200">
                          <a:latin typeface="Effra"/>
                          <a:ea typeface="Effra"/>
                          <a:cs typeface="Effra"/>
                          <a:sym typeface="Effra"/>
                        </a:defRPr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cs typeface="Arial" panose="020B0604020202020204" pitchFamily="34" charset="0"/>
                        <a:sym typeface="Effra"/>
                      </a:endParaRPr>
                    </a:p>
                  </a:txBody>
                  <a:tcP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defTabSz="410751" hangingPunct="0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  <a:defRPr sz="1200">
                          <a:latin typeface="Effra"/>
                          <a:ea typeface="Effra"/>
                          <a:cs typeface="Effra"/>
                          <a:sym typeface="Effra"/>
                        </a:defRPr>
                      </a:pPr>
                      <a:endParaRPr lang="en-US" sz="1100" b="0" dirty="0">
                        <a:solidFill>
                          <a:srgbClr val="000000"/>
                        </a:solidFill>
                        <a:latin typeface="+mj-lt"/>
                        <a:sym typeface="Effra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2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AU" sz="1100" b="1" dirty="0">
                          <a:solidFill>
                            <a:srgbClr val="000000"/>
                          </a:solidFill>
                        </a:rPr>
                        <a:t>Captured $200M in synergies through operations optimization </a:t>
                      </a:r>
                      <a:r>
                        <a:rPr lang="en-AU" sz="1100" dirty="0">
                          <a:solidFill>
                            <a:srgbClr val="000000"/>
                          </a:solidFill>
                        </a:rPr>
                        <a:t>(fleet &amp; network management) and </a:t>
                      </a:r>
                      <a:r>
                        <a:rPr lang="en-AU" sz="1100" b="1" dirty="0">
                          <a:solidFill>
                            <a:srgbClr val="000000"/>
                          </a:solidFill>
                        </a:rPr>
                        <a:t>commercial </a:t>
                      </a:r>
                      <a:r>
                        <a:rPr lang="en-AU" sz="1100" dirty="0">
                          <a:solidFill>
                            <a:srgbClr val="000000"/>
                          </a:solidFill>
                        </a:rPr>
                        <a:t>workstreams (cross-selling and co-selling for 2 airlines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100" b="1" dirty="0">
                          <a:solidFill>
                            <a:srgbClr val="000000"/>
                          </a:solidFill>
                        </a:rPr>
                        <a:t>Led $100M cross-border eCommerce supply chain player buyout and integration; p</a:t>
                      </a:r>
                      <a:r>
                        <a:rPr lang="en-AU" sz="1100" dirty="0">
                          <a:solidFill>
                            <a:srgbClr val="000000"/>
                          </a:solidFill>
                        </a:rPr>
                        <a:t>ost-integration, the asset drove 80% of the vertical’s revenue</a:t>
                      </a:r>
                      <a:endParaRPr lang="en-US" sz="1100" dirty="0">
                        <a:solidFill>
                          <a:srgbClr val="000000"/>
                        </a:solidFill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100" b="1" dirty="0">
                          <a:solidFill>
                            <a:srgbClr val="000000"/>
                          </a:solidFill>
                        </a:rPr>
                        <a:t>Captured $25M in synergies across a pharmaceuticals &amp; nutrition business</a:t>
                      </a:r>
                      <a:r>
                        <a:rPr lang="en-AU" sz="1100" dirty="0">
                          <a:solidFill>
                            <a:srgbClr val="000000"/>
                          </a:solidFill>
                        </a:rPr>
                        <a:t>. Sourced 100+ ideas from 20 GMs; prioritized joint GTM, retail partnerships, distribution, sales productivity levers; piloted in 4 countries; instituted value tracking &amp; global rollout playbook</a:t>
                      </a:r>
                      <a:endParaRPr lang="en-US" sz="110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70559"/>
                  </a:ext>
                </a:extLst>
              </a:tr>
              <a:tr h="15822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dirty="0">
                        <a:latin typeface="+mj-lt"/>
                      </a:endParaRPr>
                    </a:p>
                  </a:txBody>
                  <a:tcP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dirty="0">
                        <a:latin typeface="+mj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Designed </a:t>
                      </a:r>
                      <a:r>
                        <a:rPr lang="en-US" sz="11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future organizational structure</a:t>
                      </a:r>
                      <a:r>
                        <a:rPr lang="en-US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, created the </a:t>
                      </a:r>
                      <a:r>
                        <a:rPr lang="en-US" sz="11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Day-1 readiness plan </a:t>
                      </a:r>
                      <a:r>
                        <a:rPr lang="en-US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(critical to close items, communications, transition plan) and </a:t>
                      </a:r>
                      <a:r>
                        <a:rPr lang="en-US" sz="11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stablished/executed the 100-Day implementation</a:t>
                      </a:r>
                      <a:r>
                        <a:rPr lang="en-US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plan for 2 PE-backed organizations as they underwent a merger</a:t>
                      </a:r>
                    </a:p>
                    <a:p>
                      <a:pPr marL="182880" indent="-18288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Led IMO</a:t>
                      </a:r>
                      <a:r>
                        <a:rPr lang="en-US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for industry-consolidating merger of equals, including management of 3rd party resources, functional teams, and executive reporting to </a:t>
                      </a:r>
                      <a:r>
                        <a:rPr lang="en-US" sz="11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facilitate</a:t>
                      </a:r>
                      <a:r>
                        <a:rPr lang="en-US" sz="11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post-close activities</a:t>
                      </a:r>
                    </a:p>
                    <a:p>
                      <a:pPr marL="182880" indent="-18288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Managed post-merger integration activities </a:t>
                      </a:r>
                      <a:r>
                        <a:rPr lang="en-US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for supply chain, distribution, finance, sales, and customer service for the combination of two B2C businesses 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8133837"/>
                  </a:ext>
                </a:extLst>
              </a:tr>
            </a:tbl>
          </a:graphicData>
        </a:graphic>
      </p:graphicFrame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010CD95-90E1-3567-1579-D68ED13796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0328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10CD95-90E1-3567-1579-D68ED13796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E27EFF-BE24-9588-6102-0AC095BBF5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286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r </a:t>
            </a:r>
            <a:r>
              <a:rPr lang="en-US" b="1" dirty="0">
                <a:solidFill>
                  <a:srgbClr val="1E2867"/>
                </a:solidFill>
                <a:latin typeface="Arial" panose="020B0604020202020204" pitchFamily="34" charset="0"/>
              </a:rPr>
              <a:t>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E286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tegration</a:t>
            </a:r>
            <a:r>
              <a:rPr lang="en-US" b="1" dirty="0">
                <a:solidFill>
                  <a:srgbClr val="1E2867"/>
                </a:solidFill>
                <a:latin typeface="Arial" panose="020B0604020202020204" pitchFamily="34" charset="0"/>
              </a:rPr>
              <a:t> project leaders </a:t>
            </a:r>
            <a:r>
              <a:rPr lang="en-US" dirty="0">
                <a:solidFill>
                  <a:srgbClr val="1E2867"/>
                </a:solidFill>
                <a:latin typeface="Arial" panose="020B0604020202020204" pitchFamily="34" charset="0"/>
              </a:rPr>
              <a:t>have extensive ‘in-seat’ experienc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2867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2B588B0E-2C9C-1622-BD6E-4A51614C57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43961"/>
            <a:ext cx="22313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0" rIns="9144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  <a:endParaRPr kumimoji="0" lang="en-US" altLang="en-US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7" name="Jim Bennett…">
            <a:extLst>
              <a:ext uri="{FF2B5EF4-FFF2-40B4-BE49-F238E27FC236}">
                <a16:creationId xmlns:a16="http://schemas.microsoft.com/office/drawing/2014/main" id="{F0438AC3-0F6D-6762-55C0-D3742F600E5E}"/>
              </a:ext>
            </a:extLst>
          </p:cNvPr>
          <p:cNvSpPr txBox="1"/>
          <p:nvPr/>
        </p:nvSpPr>
        <p:spPr>
          <a:xfrm>
            <a:off x="1193794" y="4611350"/>
            <a:ext cx="4439662" cy="14032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0751" hangingPunct="0">
              <a:lnSpc>
                <a:spcPct val="120000"/>
              </a:lnSpc>
              <a:defRPr sz="1500" b="1">
                <a:solidFill>
                  <a:srgbClr val="002060"/>
                </a:solidFill>
                <a:latin typeface="Effra"/>
                <a:ea typeface="Effra"/>
                <a:cs typeface="Effra"/>
                <a:sym typeface="Effra"/>
              </a:defRPr>
            </a:pPr>
            <a:r>
              <a:rPr lang="en-US" sz="1100" b="1" kern="0" dirty="0">
                <a:solidFill>
                  <a:srgbClr val="002060"/>
                </a:solidFill>
                <a:latin typeface="+mj-lt"/>
                <a:ea typeface="Effra"/>
                <a:cs typeface="Arial"/>
                <a:sym typeface="Effra"/>
              </a:rPr>
              <a:t>Chris Huss</a:t>
            </a:r>
          </a:p>
          <a:p>
            <a:pPr defTabSz="410751" hangingPunct="0">
              <a:lnSpc>
                <a:spcPct val="120000"/>
              </a:lnSpc>
              <a:defRPr sz="1200">
                <a:latin typeface="Effra"/>
                <a:ea typeface="Effra"/>
                <a:cs typeface="Effra"/>
                <a:sym typeface="Effra"/>
              </a:defRPr>
            </a:pPr>
            <a:r>
              <a:rPr lang="en-US" sz="1100" b="1" dirty="0">
                <a:solidFill>
                  <a:srgbClr val="000000"/>
                </a:solidFill>
                <a:latin typeface="+mj-lt"/>
                <a:ea typeface="Effra"/>
                <a:cs typeface="Effra"/>
                <a:sym typeface="Effra"/>
              </a:rPr>
              <a:t>Integration and transformation SME </a:t>
            </a:r>
            <a:r>
              <a:rPr lang="en-US" sz="1100" dirty="0">
                <a:solidFill>
                  <a:srgbClr val="000000"/>
                </a:solidFill>
                <a:latin typeface="+mj-lt"/>
                <a:ea typeface="Effra"/>
                <a:cs typeface="Effra"/>
                <a:sym typeface="Effra"/>
              </a:rPr>
              <a:t>who has decades of experience in operations and transactions spanning consulting and PE. Held numerous consulting roles at Alvarez &amp; Marsal and EY in their </a:t>
            </a:r>
            <a:r>
              <a:rPr lang="en-US" sz="1100" b="1" dirty="0">
                <a:solidFill>
                  <a:srgbClr val="000000"/>
                </a:solidFill>
                <a:latin typeface="+mj-lt"/>
                <a:ea typeface="Effra"/>
                <a:cs typeface="Effra"/>
                <a:sym typeface="Effra"/>
              </a:rPr>
              <a:t>M&amp;A and Performance Improvement </a:t>
            </a:r>
            <a:r>
              <a:rPr lang="en-US" sz="1100" dirty="0">
                <a:solidFill>
                  <a:srgbClr val="000000"/>
                </a:solidFill>
                <a:latin typeface="+mj-lt"/>
                <a:ea typeface="Effra"/>
                <a:cs typeface="Effra"/>
                <a:sym typeface="Effra"/>
              </a:rPr>
              <a:t>Practices.</a:t>
            </a:r>
            <a:r>
              <a:rPr lang="en-US" sz="1100" b="1" dirty="0">
                <a:solidFill>
                  <a:srgbClr val="000000"/>
                </a:solidFill>
                <a:latin typeface="+mj-lt"/>
                <a:ea typeface="Effra"/>
                <a:cs typeface="Effra"/>
                <a:sym typeface="Effra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+mj-lt"/>
                <a:ea typeface="Effra"/>
                <a:cs typeface="Effra"/>
                <a:sym typeface="Effra"/>
              </a:rPr>
              <a:t>Most recently, held senior roles in PE at Platinum Equity and Waud Capital, guiding complex transactions, stand-ups, and </a:t>
            </a:r>
            <a:r>
              <a:rPr lang="en-US" sz="1100" b="1" dirty="0">
                <a:solidFill>
                  <a:srgbClr val="000000"/>
                </a:solidFill>
                <a:latin typeface="+mj-lt"/>
                <a:ea typeface="Effra"/>
                <a:cs typeface="Effra"/>
                <a:sym typeface="Effra"/>
              </a:rPr>
              <a:t>merger integrations</a:t>
            </a:r>
            <a:r>
              <a:rPr lang="en-US" sz="1100" dirty="0">
                <a:solidFill>
                  <a:srgbClr val="000000"/>
                </a:solidFill>
                <a:latin typeface="+mj-lt"/>
                <a:ea typeface="Effra"/>
                <a:cs typeface="Effra"/>
                <a:sym typeface="Effra"/>
              </a:rPr>
              <a:t>. </a:t>
            </a:r>
          </a:p>
        </p:txBody>
      </p:sp>
      <p:sp>
        <p:nvSpPr>
          <p:cNvPr id="14" name="Alex Nesbit…">
            <a:extLst>
              <a:ext uri="{FF2B5EF4-FFF2-40B4-BE49-F238E27FC236}">
                <a16:creationId xmlns:a16="http://schemas.microsoft.com/office/drawing/2014/main" id="{CFD5D117-F1B6-4541-3F09-43FF65B02B8E}"/>
              </a:ext>
            </a:extLst>
          </p:cNvPr>
          <p:cNvSpPr txBox="1"/>
          <p:nvPr/>
        </p:nvSpPr>
        <p:spPr>
          <a:xfrm>
            <a:off x="1193794" y="1333607"/>
            <a:ext cx="4439662" cy="14032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/>
          <a:p>
            <a:pPr defTabSz="410751" hangingPunct="0">
              <a:lnSpc>
                <a:spcPct val="120000"/>
              </a:lnSpc>
              <a:defRPr sz="1500" b="1">
                <a:solidFill>
                  <a:srgbClr val="002060"/>
                </a:solidFill>
                <a:latin typeface="Effra"/>
                <a:ea typeface="Effra"/>
                <a:cs typeface="Effra"/>
                <a:sym typeface="Effra"/>
              </a:defRPr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cs typeface="Arial"/>
                <a:sym typeface="Effra"/>
              </a:rPr>
              <a:t>Chris Bauer  </a:t>
            </a: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cs typeface="Arial"/>
              <a:sym typeface="Effra"/>
            </a:endParaRPr>
          </a:p>
          <a:p>
            <a:pPr defTabSz="584140">
              <a:lnSpc>
                <a:spcPct val="120000"/>
              </a:lnSpc>
              <a:spcAft>
                <a:spcPts val="60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+mj-lt"/>
                <a:cs typeface="Arial"/>
              </a:rPr>
              <a:t>Former Alvaraz &amp; Marsal Manager with deep experience in </a:t>
            </a:r>
            <a:r>
              <a:rPr lang="en-US" sz="1100" b="1" dirty="0">
                <a:solidFill>
                  <a:srgbClr val="000000"/>
                </a:solidFill>
                <a:latin typeface="+mj-lt"/>
                <a:cs typeface="Arial"/>
              </a:rPr>
              <a:t>M&amp;A</a:t>
            </a:r>
            <a:r>
              <a:rPr lang="en-US" sz="1100" dirty="0">
                <a:solidFill>
                  <a:srgbClr val="000000"/>
                </a:solidFill>
                <a:latin typeface="+mj-lt"/>
                <a:cs typeface="Arial"/>
              </a:rPr>
              <a:t>, </a:t>
            </a:r>
            <a:r>
              <a:rPr lang="en-US" sz="1100" b="1" dirty="0">
                <a:solidFill>
                  <a:srgbClr val="000000"/>
                </a:solidFill>
                <a:latin typeface="+mj-lt"/>
                <a:cs typeface="Arial"/>
              </a:rPr>
              <a:t>integration</a:t>
            </a:r>
            <a:r>
              <a:rPr lang="en-US" sz="1100" dirty="0">
                <a:solidFill>
                  <a:srgbClr val="000000"/>
                </a:solidFill>
                <a:latin typeface="+mj-lt"/>
                <a:cs typeface="Arial"/>
              </a:rPr>
              <a:t>, cost savings, synergy identification and execution, performance improvement, transformation, and restructuring for</a:t>
            </a:r>
            <a:r>
              <a:rPr lang="en-US" sz="1100" b="1" dirty="0">
                <a:solidFill>
                  <a:srgbClr val="000000"/>
                </a:solidFill>
                <a:cs typeface="Arial"/>
              </a:rPr>
              <a:t> private equity portfolio</a:t>
            </a:r>
            <a:r>
              <a:rPr lang="en-US" sz="1100" dirty="0">
                <a:solidFill>
                  <a:srgbClr val="000000"/>
                </a:solidFill>
                <a:latin typeface="+mj-lt"/>
                <a:cs typeface="Arial"/>
              </a:rPr>
              <a:t> clients across industries. Held an additional role as </a:t>
            </a:r>
            <a:r>
              <a:rPr lang="en-US" sz="1100" b="1" dirty="0">
                <a:solidFill>
                  <a:srgbClr val="000000"/>
                </a:solidFill>
                <a:latin typeface="+mj-lt"/>
                <a:cs typeface="Arial"/>
              </a:rPr>
              <a:t>Lead M&amp;A Analyst</a:t>
            </a:r>
            <a:r>
              <a:rPr lang="en-US" sz="1100" dirty="0">
                <a:solidFill>
                  <a:srgbClr val="000000"/>
                </a:solidFill>
                <a:latin typeface="+mj-lt"/>
                <a:cs typeface="Arial"/>
              </a:rPr>
              <a:t> at Colorado National Bancorp, where he focused on acquisitions and due diligence.</a:t>
            </a:r>
          </a:p>
        </p:txBody>
      </p:sp>
      <p:sp>
        <p:nvSpPr>
          <p:cNvPr id="10" name="Alex Nesbit…">
            <a:extLst>
              <a:ext uri="{FF2B5EF4-FFF2-40B4-BE49-F238E27FC236}">
                <a16:creationId xmlns:a16="http://schemas.microsoft.com/office/drawing/2014/main" id="{9E8785E6-B3CA-644E-63B6-F37175184E48}"/>
              </a:ext>
            </a:extLst>
          </p:cNvPr>
          <p:cNvSpPr txBox="1"/>
          <p:nvPr/>
        </p:nvSpPr>
        <p:spPr>
          <a:xfrm>
            <a:off x="1193793" y="2989413"/>
            <a:ext cx="4439663" cy="14032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/>
          <a:p>
            <a:pPr defTabSz="410751" hangingPunct="0">
              <a:lnSpc>
                <a:spcPct val="120000"/>
              </a:lnSpc>
              <a:defRPr sz="1500" b="1">
                <a:solidFill>
                  <a:srgbClr val="002060"/>
                </a:solidFill>
                <a:latin typeface="Effra"/>
                <a:ea typeface="Effra"/>
                <a:cs typeface="Effra"/>
                <a:sym typeface="Effra"/>
              </a:defRPr>
            </a:pPr>
            <a:r>
              <a:rPr lang="en-US" sz="1100" b="1" kern="0" dirty="0">
                <a:solidFill>
                  <a:srgbClr val="002060"/>
                </a:solidFill>
                <a:latin typeface="+mj-lt"/>
                <a:ea typeface="Effra"/>
                <a:cs typeface="Arial"/>
                <a:sym typeface="Effra"/>
              </a:rPr>
              <a:t>Anang Singh </a:t>
            </a:r>
          </a:p>
          <a:p>
            <a:pPr defTabSz="584140">
              <a:lnSpc>
                <a:spcPct val="120000"/>
              </a:lnSpc>
              <a:defRPr/>
            </a:pPr>
            <a:r>
              <a:rPr lang="en-US" sz="1100" dirty="0">
                <a:solidFill>
                  <a:srgbClr val="000000"/>
                </a:solidFill>
                <a:latin typeface="+mj-lt"/>
                <a:cs typeface="Arial"/>
              </a:rPr>
              <a:t>Former McKinsey Engagement Manager and Kearney Senior Manager who brings </a:t>
            </a:r>
            <a:r>
              <a:rPr lang="en-US" sz="1100" b="1" dirty="0">
                <a:solidFill>
                  <a:srgbClr val="000000"/>
                </a:solidFill>
                <a:latin typeface="+mj-lt"/>
                <a:cs typeface="Arial"/>
              </a:rPr>
              <a:t>M&amp;A strategy and integration </a:t>
            </a:r>
            <a:r>
              <a:rPr lang="en-US" sz="1100" dirty="0">
                <a:solidFill>
                  <a:srgbClr val="000000"/>
                </a:solidFill>
                <a:latin typeface="+mj-lt"/>
                <a:cs typeface="Arial"/>
              </a:rPr>
              <a:t>experience </a:t>
            </a:r>
            <a:r>
              <a:rPr lang="en-US" sz="1100" dirty="0">
                <a:solidFill>
                  <a:srgbClr val="000000"/>
                </a:solidFill>
                <a:latin typeface="+mj-lt"/>
              </a:rPr>
              <a:t>spanning pre-close planning, </a:t>
            </a:r>
            <a:r>
              <a:rPr lang="en-US" sz="1100" b="1" dirty="0">
                <a:solidFill>
                  <a:srgbClr val="000000"/>
                </a:solidFill>
                <a:latin typeface="+mj-lt"/>
              </a:rPr>
              <a:t>post-merger integration </a:t>
            </a:r>
            <a:r>
              <a:rPr lang="en-US" sz="1100" dirty="0">
                <a:solidFill>
                  <a:srgbClr val="000000"/>
                </a:solidFill>
                <a:latin typeface="+mj-lt"/>
              </a:rPr>
              <a:t>(PMI), transformation, strategic planning &amp; execution, </a:t>
            </a:r>
            <a:r>
              <a:rPr lang="de-DE" sz="1100" dirty="0">
                <a:solidFill>
                  <a:srgbClr val="000000"/>
                </a:solidFill>
                <a:latin typeface="+mj-lt"/>
              </a:rPr>
              <a:t>and digital innovation (GenAI/ML)</a:t>
            </a:r>
            <a:r>
              <a:rPr lang="en-US" sz="1100" dirty="0">
                <a:solidFill>
                  <a:srgbClr val="000000"/>
                </a:solidFill>
                <a:latin typeface="+mj-lt"/>
                <a:ea typeface="+mn-lt"/>
                <a:cs typeface="+mn-lt"/>
              </a:rPr>
              <a:t>. </a:t>
            </a:r>
            <a:r>
              <a:rPr lang="en-US" sz="1100" dirty="0">
                <a:solidFill>
                  <a:srgbClr val="000000"/>
                </a:solidFill>
                <a:latin typeface="+mj-lt"/>
                <a:cs typeface="Arial"/>
              </a:rPr>
              <a:t>Most recently, served as Director of Strategy, Strategic Planning, &amp; Execution and Chief of Staff for Abbott’s Nutrition business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2D8E083-F076-9F85-A81E-D51938C5D1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32" t="-3164" r="27529" b="38366"/>
          <a:stretch>
            <a:fillRect/>
          </a:stretch>
        </p:blipFill>
        <p:spPr bwMode="auto">
          <a:xfrm>
            <a:off x="293555" y="4595200"/>
            <a:ext cx="762913" cy="1213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Profile photo of Anang B Singh">
            <a:extLst>
              <a:ext uri="{FF2B5EF4-FFF2-40B4-BE49-F238E27FC236}">
                <a16:creationId xmlns:a16="http://schemas.microsoft.com/office/drawing/2014/main" id="{8106D37A-290F-9C7F-51F4-D514D5A42E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11" t="1418" r="32310" b="49249"/>
          <a:stretch>
            <a:fillRect/>
          </a:stretch>
        </p:blipFill>
        <p:spPr bwMode="auto">
          <a:xfrm>
            <a:off x="293555" y="3150498"/>
            <a:ext cx="762913" cy="1057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3D2E84A-0C4B-6F17-8D23-829E6914D8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94" r="22494" b="24105"/>
          <a:stretch>
            <a:fillRect/>
          </a:stretch>
        </p:blipFill>
        <p:spPr bwMode="auto">
          <a:xfrm>
            <a:off x="293555" y="1460785"/>
            <a:ext cx="762913" cy="1052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6101714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6ED47D-7160-42D5-23A4-E182D907E1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5B9B1739-488E-B607-6EB9-326E2089FE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1494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9B1739-488E-B607-6EB9-326E2089FE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35A2434-2F0B-438A-B981-EBD11211B7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550" y="454008"/>
            <a:ext cx="11247120" cy="332399"/>
          </a:xfrm>
        </p:spPr>
        <p:txBody>
          <a:bodyPr vert="horz"/>
          <a:lstStyle/>
          <a:p>
            <a:r>
              <a:rPr lang="en-US" dirty="0">
                <a:solidFill>
                  <a:srgbClr val="11236D"/>
                </a:solidFill>
              </a:rPr>
              <a:t>Recently completed integration engagements span various industries and functions</a:t>
            </a:r>
            <a:endParaRPr lang="en-US" b="1" dirty="0">
              <a:solidFill>
                <a:srgbClr val="11236D"/>
              </a:solidFill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FE5406E-FCE2-FD23-BEC7-AF48E84A19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1650502"/>
              </p:ext>
            </p:extLst>
          </p:nvPr>
        </p:nvGraphicFramePr>
        <p:xfrm>
          <a:off x="2251886" y="847795"/>
          <a:ext cx="9282223" cy="542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39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429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14982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1D2766"/>
                          </a:solidFill>
                        </a:rPr>
                        <a:t>Client Need</a:t>
                      </a:r>
                    </a:p>
                  </a:txBody>
                  <a:tcPr marL="0" anchor="ctr"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E0E0E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1D2766"/>
                          </a:solidFill>
                        </a:rPr>
                        <a:t>Engagement Outcome</a:t>
                      </a:r>
                    </a:p>
                  </a:txBody>
                  <a:tcPr marL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3936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lobal CPG company had completed a growth acquisition of a 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echnology product firm and needed support </a:t>
                      </a: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developing and implementing an integration management structure to drive internal decision-making 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1440" marB="91440"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 algn="l" defTabSz="914400" rtl="0" eaLnBrk="1" fontAlgn="t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tegration Framework &amp; Governance: </a:t>
                      </a:r>
                      <a:r>
                        <a:rPr lang="en-US" sz="1100" b="0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signed integration framework to hit revenue targets, ensure holiday-season production, stabilize operations, and establish roles, accountability, and fact-based decision-making</a:t>
                      </a:r>
                    </a:p>
                    <a:p>
                      <a:pPr marL="182880" indent="-182880" algn="l" defTabSz="914400" rtl="0" eaLnBrk="1" fontAlgn="t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ransition &amp; Execution: </a:t>
                      </a:r>
                      <a:r>
                        <a:rPr lang="en-US" sz="1100" b="0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ddressed key priorities and transitioned integration process to internal client stakeholders </a:t>
                      </a:r>
                    </a:p>
                  </a:txBody>
                  <a:tcPr marT="91440" marB="91440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8709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</a:rPr>
                        <a:t>Two industry-leading financial service companies 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merged and required support </a:t>
                      </a: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o establish and manage an Integration Management Office (IMO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) </a:t>
                      </a: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without business disruption</a:t>
                      </a:r>
                    </a:p>
                  </a:txBody>
                  <a:tcPr marT="91440" marB="91440"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 algn="l" defTabSz="914400" rtl="0" eaLnBrk="1" fontAlgn="t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tegration Leadership: </a:t>
                      </a:r>
                      <a:r>
                        <a:rPr lang="en-US" sz="1100" b="0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stablished IMO and led integration, merging branch networks and consolidating back-office operations across countries while maintaining business continuity</a:t>
                      </a:r>
                    </a:p>
                    <a:p>
                      <a:pPr marL="182880" indent="-182880" algn="l" defTabSz="914400" rtl="0" eaLnBrk="1" fontAlgn="t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ynergy Realization: </a:t>
                      </a:r>
                      <a:r>
                        <a:rPr lang="en-US" sz="1100" b="0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livered ~80% of first-year synergies in 100 days and doubled projections by year-end, under budget</a:t>
                      </a:r>
                    </a:p>
                    <a:p>
                      <a:pPr marL="182880" indent="-182880" algn="l" defTabSz="914400" rtl="0" eaLnBrk="1" fontAlgn="t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ultural &amp; Operational Alignment: </a:t>
                      </a:r>
                      <a:r>
                        <a:rPr lang="en-US" sz="1100" b="0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naged cultural integration and stakeholder alignment, improving operational efficiency, systems, corporate culture, and strategic positioning</a:t>
                      </a:r>
                    </a:p>
                  </a:txBody>
                  <a:tcPr marT="91440" marB="91440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08181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ustry-leading gaming technology 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rovider merged with a complementary player of equal size and needed </a:t>
                      </a: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ssistance integrating operations between the two organizations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1440" marB="91440"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 algn="l" defTabSz="914400" rtl="0" eaLnBrk="1" fontAlgn="t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tegration Planning &amp; Execution: </a:t>
                      </a:r>
                      <a:r>
                        <a:rPr lang="en-US" sz="1100" b="0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rove pre-close planning and supported integration in major functional areas throughout the company in two stages</a:t>
                      </a:r>
                    </a:p>
                    <a:p>
                      <a:pPr marL="182880" indent="-182880" algn="l" defTabSz="914400" rtl="0" eaLnBrk="1" fontAlgn="t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ynergy Identification and Planning: </a:t>
                      </a:r>
                      <a:r>
                        <a:rPr lang="en-US" sz="1100" b="0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dentified synergies and developed integration plans across IT, supply chain, product teams, and other functions</a:t>
                      </a:r>
                    </a:p>
                    <a:p>
                      <a:pPr marL="182880" indent="-182880" algn="l" defTabSz="914400" rtl="0" eaLnBrk="1" fontAlgn="t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eadership &amp; Governance: </a:t>
                      </a:r>
                      <a:r>
                        <a:rPr lang="en-US" sz="1100" b="0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Worked directly with the CFO to prepare for management meetings, led staff integration efforts, and track synergies corporate-wide</a:t>
                      </a:r>
                    </a:p>
                  </a:txBody>
                  <a:tcPr marT="91440" marB="91440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64162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eading industrial equipment manufacturer had recently undertaken a complicated international acquisition (the largest the company had ever undertaken) and needed a resource </a:t>
                      </a: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o lead integration planning and execution</a:t>
                      </a:r>
                    </a:p>
                    <a:p>
                      <a:pPr algn="l" fontAlgn="t">
                        <a:buNone/>
                      </a:pP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1440" marB="91440"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 algn="l" defTabSz="914400" rtl="0" eaLnBrk="1" fontAlgn="t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MI Design: </a:t>
                      </a:r>
                      <a:r>
                        <a:rPr lang="en-US" sz="1100" b="0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uilt comprehensive PMI playbook and roadmap outlining timing, expected results, savings, and roles/responsibilities to guide the team through the full integration effort</a:t>
                      </a:r>
                    </a:p>
                    <a:p>
                      <a:pPr marL="182880" indent="-182880" algn="l" defTabSz="914400" rtl="0" eaLnBrk="1" fontAlgn="t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arly Implementation: </a:t>
                      </a:r>
                      <a:r>
                        <a:rPr lang="en-US" sz="1100" b="0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erved as integration lead, spearheading initial execution against the playbook and ensuring momentum across early workstreams</a:t>
                      </a:r>
                    </a:p>
                    <a:p>
                      <a:pPr marL="182880" indent="-182880" algn="l" defTabSz="914400" rtl="0" eaLnBrk="1" fontAlgn="t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eadership Enablement &amp; Transition: </a:t>
                      </a:r>
                      <a:r>
                        <a:rPr lang="en-US" sz="1100" b="0" i="0" u="none" strike="noStrike" kern="120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dentified and trained internal leaders, established tracking mechanisms, and seamlessly transitioned ownership back to client executive</a:t>
                      </a:r>
                    </a:p>
                  </a:txBody>
                  <a:tcPr marT="91440" marB="91440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0221441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C86930B-7C3E-455B-87B4-77FA5096AC3C}"/>
              </a:ext>
            </a:extLst>
          </p:cNvPr>
          <p:cNvSpPr txBox="1"/>
          <p:nvPr/>
        </p:nvSpPr>
        <p:spPr>
          <a:xfrm>
            <a:off x="420188" y="1153526"/>
            <a:ext cx="1744825" cy="88640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IMO Structure Developme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EAF664A-CE04-977E-613A-4299BD3B80DC}"/>
              </a:ext>
            </a:extLst>
          </p:cNvPr>
          <p:cNvSpPr txBox="1"/>
          <p:nvPr/>
        </p:nvSpPr>
        <p:spPr>
          <a:xfrm>
            <a:off x="420188" y="3608753"/>
            <a:ext cx="1744825" cy="886408"/>
          </a:xfrm>
          <a:prstGeom prst="rect">
            <a:avLst/>
          </a:prstGeom>
          <a:solidFill>
            <a:srgbClr val="1D2766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PMI Operational/  Functional Efficienc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437B8E-BF23-187F-C31D-EBC9D8807A40}"/>
              </a:ext>
            </a:extLst>
          </p:cNvPr>
          <p:cNvSpPr txBox="1"/>
          <p:nvPr/>
        </p:nvSpPr>
        <p:spPr>
          <a:xfrm>
            <a:off x="420188" y="4938364"/>
            <a:ext cx="1744825" cy="886408"/>
          </a:xfrm>
          <a:prstGeom prst="rect">
            <a:avLst/>
          </a:prstGeom>
          <a:solidFill>
            <a:srgbClr val="1D2766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Integration Planning &amp; Execu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BF45389-4630-0358-487C-C10896DA41EC}"/>
              </a:ext>
            </a:extLst>
          </p:cNvPr>
          <p:cNvSpPr txBox="1"/>
          <p:nvPr/>
        </p:nvSpPr>
        <p:spPr>
          <a:xfrm>
            <a:off x="420188" y="2243694"/>
            <a:ext cx="1744825" cy="88640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IMO/PMO Establishment and Synergi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101C2FE-74C6-C6A7-00E1-DB180E253D29}"/>
              </a:ext>
            </a:extLst>
          </p:cNvPr>
          <p:cNvSpPr/>
          <p:nvPr/>
        </p:nvSpPr>
        <p:spPr bwMode="auto">
          <a:xfrm>
            <a:off x="12244374" y="1141937"/>
            <a:ext cx="3168079" cy="3603167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r>
              <a:rPr lang="fr-FR" sz="1200" dirty="0">
                <a:ea typeface="MS PGothic" panose="020B0600070205080204" pitchFamily="34" charset="-128"/>
              </a:rPr>
              <a:t>Client: Mattel</a:t>
            </a:r>
          </a:p>
          <a:p>
            <a:r>
              <a:rPr lang="fr-FR" sz="1200" dirty="0">
                <a:ea typeface="MS PGothic" panose="020B0600070205080204" pitchFamily="34" charset="-128"/>
              </a:rPr>
              <a:t>Consultants: Michael Bouhadana</a:t>
            </a:r>
          </a:p>
          <a:p>
            <a:r>
              <a:rPr lang="fr-FR" sz="1200" dirty="0">
                <a:ea typeface="MS PGothic" panose="020B0600070205080204" pitchFamily="34" charset="-128"/>
              </a:rPr>
              <a:t>Timeline: 2/9/2016 - 4/15/2016</a:t>
            </a:r>
          </a:p>
          <a:p>
            <a:endParaRPr lang="fr-FR" sz="1200" dirty="0">
              <a:ea typeface="MS PGothic" panose="020B0600070205080204" pitchFamily="34" charset="-128"/>
            </a:endParaRPr>
          </a:p>
          <a:p>
            <a:r>
              <a:rPr lang="fr-FR" sz="1200" dirty="0">
                <a:ea typeface="MS PGothic" panose="020B0600070205080204" pitchFamily="34" charset="-128"/>
              </a:rPr>
              <a:t>Client: MTAI</a:t>
            </a:r>
          </a:p>
          <a:p>
            <a:r>
              <a:rPr lang="fr-FR" sz="1200" dirty="0">
                <a:ea typeface="MS PGothic" panose="020B0600070205080204" pitchFamily="34" charset="-128"/>
              </a:rPr>
              <a:t>Consultants: Ricardo Berner, Michael Bouhadana</a:t>
            </a:r>
          </a:p>
          <a:p>
            <a:r>
              <a:rPr lang="fr-FR" sz="1200" dirty="0">
                <a:ea typeface="MS PGothic" panose="020B0600070205080204" pitchFamily="34" charset="-128"/>
              </a:rPr>
              <a:t>Timeline: 6/27/22 - 3/31/23</a:t>
            </a:r>
          </a:p>
          <a:p>
            <a:endParaRPr lang="fr-FR" sz="1200" dirty="0">
              <a:ea typeface="MS PGothic" panose="020B0600070205080204" pitchFamily="34" charset="-128"/>
            </a:endParaRPr>
          </a:p>
          <a:p>
            <a:r>
              <a:rPr lang="fr-FR" sz="1200" dirty="0">
                <a:ea typeface="MS PGothic" panose="020B0600070205080204" pitchFamily="34" charset="-128"/>
              </a:rPr>
              <a:t>Client: Light &amp; Wonder (formerly Scientific Games)</a:t>
            </a:r>
          </a:p>
          <a:p>
            <a:r>
              <a:rPr lang="fr-FR" sz="1200" dirty="0">
                <a:ea typeface="MS PGothic" panose="020B0600070205080204" pitchFamily="34" charset="-128"/>
              </a:rPr>
              <a:t>Consultants: Bob Kaplan, Gui Karyo, David Byer, Nats Vaidyanathan, Mike Su, George Peng, Dino Mauricio</a:t>
            </a:r>
          </a:p>
          <a:p>
            <a:r>
              <a:rPr lang="fr-FR" sz="1200" dirty="0">
                <a:ea typeface="MS PGothic" panose="020B0600070205080204" pitchFamily="34" charset="-128"/>
              </a:rPr>
              <a:t>Timeline: 08/2013 – 04/2014</a:t>
            </a:r>
          </a:p>
          <a:p>
            <a:endParaRPr lang="fr-FR" sz="1200" dirty="0">
              <a:ea typeface="MS PGothic" panose="020B0600070205080204" pitchFamily="34" charset="-128"/>
            </a:endParaRPr>
          </a:p>
          <a:p>
            <a:r>
              <a:rPr lang="fr-FR" sz="1200" dirty="0">
                <a:ea typeface="MS PGothic" panose="020B0600070205080204" pitchFamily="34" charset="-128"/>
              </a:rPr>
              <a:t>Client: Husky Injection Molding</a:t>
            </a:r>
          </a:p>
          <a:p>
            <a:r>
              <a:rPr lang="fr-FR" sz="1200" dirty="0">
                <a:ea typeface="MS PGothic" panose="020B0600070205080204" pitchFamily="34" charset="-128"/>
              </a:rPr>
              <a:t>Consultants: Luiz Zorzella</a:t>
            </a:r>
          </a:p>
          <a:p>
            <a:r>
              <a:rPr lang="fr-FR" sz="1200" dirty="0">
                <a:ea typeface="MS PGothic" panose="020B0600070205080204" pitchFamily="34" charset="-128"/>
              </a:rPr>
              <a:t>Timeline: 12/9/2013 – 03/31/201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477684-D2A3-37D2-142E-8B80ADA59406}"/>
              </a:ext>
            </a:extLst>
          </p:cNvPr>
          <p:cNvSpPr txBox="1"/>
          <p:nvPr/>
        </p:nvSpPr>
        <p:spPr>
          <a:xfrm>
            <a:off x="9057515" y="0"/>
            <a:ext cx="1688496" cy="276999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 Medium"/>
              </a:rPr>
              <a:t>PMI EXECU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F6E4F2-614D-F977-5413-45623795E79F}"/>
              </a:ext>
            </a:extLst>
          </p:cNvPr>
          <p:cNvSpPr txBox="1"/>
          <p:nvPr/>
        </p:nvSpPr>
        <p:spPr>
          <a:xfrm>
            <a:off x="7260613" y="0"/>
            <a:ext cx="1688496" cy="276999"/>
          </a:xfrm>
          <a:prstGeom prst="rect">
            <a:avLst/>
          </a:prstGeom>
          <a:solidFill>
            <a:srgbClr val="8A96DD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 Medium"/>
              </a:rPr>
              <a:t>IMO PLANNING</a:t>
            </a:r>
          </a:p>
        </p:txBody>
      </p:sp>
    </p:spTree>
    <p:extLst>
      <p:ext uri="{BB962C8B-B14F-4D97-AF65-F5344CB8AC3E}">
        <p14:creationId xmlns:p14="http://schemas.microsoft.com/office/powerpoint/2010/main" val="3188533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EE9B50-1601-8762-DEDA-B600FE8725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C7551CF-B406-648B-1E06-398A4898E3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7551CF-B406-648B-1E06-398A4898E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1C41436-EDDC-69E4-49F5-0778466E68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86" y="454014"/>
            <a:ext cx="11363327" cy="332399"/>
          </a:xfrm>
        </p:spPr>
        <p:txBody>
          <a:bodyPr vert="horz" lIns="0" tIns="0" rIns="0" bIns="0" rtlCol="0" anchor="t"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en-US" b="1" dirty="0"/>
              <a:t>IMO: </a:t>
            </a:r>
            <a:r>
              <a:rPr lang="en-US" dirty="0"/>
              <a:t>Initial</a:t>
            </a:r>
            <a:r>
              <a:rPr lang="en-US" b="1" dirty="0"/>
              <a:t> </a:t>
            </a:r>
            <a:r>
              <a:rPr lang="en-US" dirty="0"/>
              <a:t>questions to align strategy, governance, and communication </a:t>
            </a:r>
            <a:endParaRPr lang="en-US" sz="2400" dirty="0">
              <a:solidFill>
                <a:schemeClr val="tx2"/>
              </a:solidFill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5487CCB-2AB1-0B98-9B26-2E7670E562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0116155"/>
              </p:ext>
            </p:extLst>
          </p:nvPr>
        </p:nvGraphicFramePr>
        <p:xfrm>
          <a:off x="420686" y="854771"/>
          <a:ext cx="11363327" cy="51484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8282">
                  <a:extLst>
                    <a:ext uri="{9D8B030D-6E8A-4147-A177-3AD203B41FA5}">
                      <a16:colId xmlns:a16="http://schemas.microsoft.com/office/drawing/2014/main" val="255961866"/>
                    </a:ext>
                  </a:extLst>
                </a:gridCol>
                <a:gridCol w="9995045">
                  <a:extLst>
                    <a:ext uri="{9D8B030D-6E8A-4147-A177-3AD203B41FA5}">
                      <a16:colId xmlns:a16="http://schemas.microsoft.com/office/drawing/2014/main" val="1996484872"/>
                    </a:ext>
                  </a:extLst>
                </a:gridCol>
              </a:tblGrid>
              <a:tr h="317247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Areas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a typeface="MS PGothic" panose="020B0600070205080204" pitchFamily="34" charset="-128"/>
                        </a:rPr>
                        <a:t>Pre-close questions to answer now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683702"/>
                  </a:ext>
                </a:extLst>
              </a:tr>
              <a:tr h="758635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Guiding Principles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A96DD"/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What is the </a:t>
                      </a:r>
                      <a:r>
                        <a:rPr lang="en-US" sz="1100" b="1" dirty="0"/>
                        <a:t>investment thesis </a:t>
                      </a:r>
                      <a:r>
                        <a:rPr lang="en-US" sz="1100" dirty="0"/>
                        <a:t>and the key sources of </a:t>
                      </a:r>
                      <a:r>
                        <a:rPr lang="en-US" sz="1100" b="1" dirty="0"/>
                        <a:t>value</a:t>
                      </a:r>
                      <a:r>
                        <a:rPr lang="en-US" sz="1100" dirty="0"/>
                        <a:t>?</a:t>
                      </a:r>
                    </a:p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What does </a:t>
                      </a:r>
                      <a:r>
                        <a:rPr lang="en-US" sz="1100" b="1" dirty="0"/>
                        <a:t>success</a:t>
                      </a:r>
                      <a:r>
                        <a:rPr lang="en-US" sz="1100" dirty="0"/>
                        <a:t> look like, and what decisions have been made about the </a:t>
                      </a:r>
                      <a:r>
                        <a:rPr lang="en-US" sz="1100" b="1" dirty="0"/>
                        <a:t>end state/blueprint</a:t>
                      </a:r>
                      <a:r>
                        <a:rPr lang="en-US" sz="1100" dirty="0"/>
                        <a:t>?</a:t>
                      </a:r>
                    </a:p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What </a:t>
                      </a:r>
                      <a:r>
                        <a:rPr lang="en-US" sz="1100" b="1" dirty="0"/>
                        <a:t>guiding principles </a:t>
                      </a:r>
                      <a:r>
                        <a:rPr lang="en-US" sz="1100" dirty="0"/>
                        <a:t>will govern how we treat people during integration?</a:t>
                      </a:r>
                    </a:p>
                  </a:txBody>
                  <a:tcPr marT="91440" marB="9144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8294850"/>
                  </a:ext>
                </a:extLst>
              </a:tr>
              <a:tr h="758635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Governance &amp; Structure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A96DD"/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How/who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will make integration decisions?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What is the integration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governance structure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(escalation path, cadence)?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What workstreams and cross-functional dependencies need to be defined and sequenced?</a:t>
                      </a:r>
                    </a:p>
                  </a:txBody>
                  <a:tcPr marT="91440" marB="9144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8755967"/>
                  </a:ext>
                </a:extLst>
              </a:tr>
              <a:tr h="758635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Synergies &amp; Risks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A96DD"/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What </a:t>
                      </a:r>
                      <a:r>
                        <a:rPr lang="en-US" sz="1100" b="1" dirty="0"/>
                        <a:t>synergies</a:t>
                      </a:r>
                      <a:r>
                        <a:rPr lang="en-US" sz="1100" dirty="0"/>
                        <a:t> have been identified, how rigorous is the </a:t>
                      </a:r>
                      <a:r>
                        <a:rPr lang="en-US" sz="1100" b="1" dirty="0"/>
                        <a:t>analysis</a:t>
                      </a:r>
                      <a:r>
                        <a:rPr lang="en-US" sz="1100" dirty="0"/>
                        <a:t>, and where are the </a:t>
                      </a:r>
                      <a:r>
                        <a:rPr lang="en-US" sz="1100" b="1" dirty="0"/>
                        <a:t>gaps</a:t>
                      </a:r>
                      <a:r>
                        <a:rPr lang="en-US" sz="1100" dirty="0"/>
                        <a:t>?</a:t>
                      </a:r>
                    </a:p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Which initiatives are planned </a:t>
                      </a:r>
                      <a:r>
                        <a:rPr lang="en-US" sz="1100" b="0" dirty="0"/>
                        <a:t>to</a:t>
                      </a:r>
                      <a:r>
                        <a:rPr lang="en-US" sz="1100" b="1" dirty="0"/>
                        <a:t> capture these synergies </a:t>
                      </a:r>
                      <a:r>
                        <a:rPr lang="en-US" sz="1100" dirty="0"/>
                        <a:t>(workplans, objectives, dates, milestones, resources), and what changes/decisions are required?</a:t>
                      </a:r>
                    </a:p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What are the </a:t>
                      </a:r>
                      <a:r>
                        <a:rPr lang="en-US" sz="1100" b="1" dirty="0"/>
                        <a:t>major risks </a:t>
                      </a:r>
                      <a:r>
                        <a:rPr lang="en-US" sz="1100" dirty="0"/>
                        <a:t>(commercial, regulatory, operational), and how will we </a:t>
                      </a:r>
                      <a:r>
                        <a:rPr lang="en-US" sz="1100" b="1" dirty="0"/>
                        <a:t>mitigate</a:t>
                      </a:r>
                      <a:r>
                        <a:rPr lang="en-US" sz="1100" dirty="0"/>
                        <a:t> them?</a:t>
                      </a:r>
                    </a:p>
                  </a:txBody>
                  <a:tcPr marT="91440" marB="9144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9247700"/>
                  </a:ext>
                </a:extLst>
              </a:tr>
              <a:tr h="758635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Integration Plan &amp; Readiness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A96DD"/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What does the </a:t>
                      </a:r>
                      <a:r>
                        <a:rPr lang="en-US" sz="1100" b="1" dirty="0"/>
                        <a:t>100-day plan include</a:t>
                      </a:r>
                      <a:r>
                        <a:rPr lang="en-US" sz="1100" dirty="0"/>
                        <a:t>, and what are the </a:t>
                      </a:r>
                      <a:r>
                        <a:rPr lang="en-US" sz="1100" b="1" dirty="0"/>
                        <a:t>must-haves prior to close</a:t>
                      </a:r>
                      <a:r>
                        <a:rPr lang="en-US" sz="1100" dirty="0"/>
                        <a:t>?</a:t>
                      </a:r>
                    </a:p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What is the </a:t>
                      </a:r>
                      <a:r>
                        <a:rPr lang="en-US" sz="1100" b="1" dirty="0"/>
                        <a:t>expected timing/sequence </a:t>
                      </a:r>
                      <a:r>
                        <a:rPr lang="en-US" sz="1100" dirty="0"/>
                        <a:t>of initiatives, and what are the key </a:t>
                      </a:r>
                      <a:r>
                        <a:rPr lang="en-US" sz="1100" b="1" dirty="0"/>
                        <a:t>interdependencies</a:t>
                      </a:r>
                      <a:r>
                        <a:rPr lang="en-US" sz="1100" dirty="0"/>
                        <a:t> and </a:t>
                      </a:r>
                      <a:r>
                        <a:rPr lang="en-US" sz="1100" b="1" dirty="0"/>
                        <a:t>constraints</a:t>
                      </a:r>
                      <a:r>
                        <a:rPr lang="en-US" sz="1100" dirty="0"/>
                        <a:t>?</a:t>
                      </a:r>
                    </a:p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What </a:t>
                      </a:r>
                      <a:r>
                        <a:rPr lang="en-US" sz="1100" b="1" dirty="0"/>
                        <a:t>teams</a:t>
                      </a:r>
                      <a:r>
                        <a:rPr lang="en-US" sz="1100" dirty="0"/>
                        <a:t> do we need, what </a:t>
                      </a:r>
                      <a:r>
                        <a:rPr lang="en-US" sz="1100" b="1" dirty="0"/>
                        <a:t>resource constraints </a:t>
                      </a:r>
                      <a:r>
                        <a:rPr lang="en-US" sz="1100" dirty="0"/>
                        <a:t>could limit progress, and what is required to </a:t>
                      </a:r>
                      <a:r>
                        <a:rPr lang="en-US" sz="1100" b="1" dirty="0"/>
                        <a:t>retain key customer/business </a:t>
                      </a:r>
                      <a:r>
                        <a:rPr lang="en-US" sz="1100" b="0" dirty="0"/>
                        <a:t>relationships</a:t>
                      </a:r>
                      <a:r>
                        <a:rPr lang="en-US" sz="1100" b="1" dirty="0"/>
                        <a:t> </a:t>
                      </a:r>
                      <a:r>
                        <a:rPr lang="en-US" sz="1100" dirty="0"/>
                        <a:t>and talent?</a:t>
                      </a:r>
                    </a:p>
                  </a:txBody>
                  <a:tcPr marT="91440" marB="9144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4165508"/>
                  </a:ext>
                </a:extLst>
              </a:tr>
              <a:tr h="606937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Day-1 / Week-1 Stabilization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A96DD"/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What </a:t>
                      </a:r>
                      <a:r>
                        <a:rPr lang="en-US" sz="1100" b="1" dirty="0"/>
                        <a:t>Day-1 readiness </a:t>
                      </a:r>
                      <a:r>
                        <a:rPr lang="en-US" sz="1100" dirty="0"/>
                        <a:t>activities must be completed before close?</a:t>
                      </a:r>
                    </a:p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What is the scope and plan for </a:t>
                      </a:r>
                      <a:r>
                        <a:rPr lang="en-US" sz="1100" b="1" dirty="0"/>
                        <a:t>Day-1/Week-1 stabilization</a:t>
                      </a:r>
                      <a:r>
                        <a:rPr lang="en-US" sz="1100" dirty="0"/>
                        <a:t>? Who are the </a:t>
                      </a:r>
                      <a:r>
                        <a:rPr lang="en-US" sz="1100" b="1" dirty="0"/>
                        <a:t>owners</a:t>
                      </a:r>
                      <a:r>
                        <a:rPr lang="en-US" sz="1100" dirty="0"/>
                        <a:t> and </a:t>
                      </a:r>
                      <a:r>
                        <a:rPr lang="en-US" sz="1100" b="1" dirty="0"/>
                        <a:t>team</a:t>
                      </a:r>
                      <a:r>
                        <a:rPr lang="en-US" sz="1100" dirty="0"/>
                        <a:t> required to execute stabilization?</a:t>
                      </a:r>
                    </a:p>
                  </a:txBody>
                  <a:tcPr marT="91440" marB="9144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375057"/>
                  </a:ext>
                </a:extLst>
              </a:tr>
              <a:tr h="758635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Communications, Tracking, &amp; Back Office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A96DD"/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What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Day-1 continuity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activities must be in place across each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function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 (e.g., payroll, system access, compliance approvals, contract obligations)?</a:t>
                      </a:r>
                    </a:p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What critical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risks, dependencies, or regulatory requiremen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exist before close, and how are they being mitigated?</a:t>
                      </a:r>
                    </a:p>
                    <a:p>
                      <a:pPr marL="182880" indent="-18288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What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baseline data, system inventories,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and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 contract/people information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a typeface="MS PGothic" panose="020B0600070205080204" pitchFamily="34" charset="-128"/>
                        </a:rPr>
                        <a:t>must be gathered to enable Day-1 readiness and integration planning?</a:t>
                      </a:r>
                    </a:p>
                  </a:txBody>
                  <a:tcPr marT="91440" marB="9144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416246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998B752E-C1B8-192B-C4E2-B813A5DD1C5A}"/>
              </a:ext>
            </a:extLst>
          </p:cNvPr>
          <p:cNvSpPr txBox="1"/>
          <p:nvPr/>
        </p:nvSpPr>
        <p:spPr>
          <a:xfrm>
            <a:off x="9057515" y="0"/>
            <a:ext cx="1688496" cy="27699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 Medium"/>
              </a:rPr>
              <a:t>NON-EXHAUSTIV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68BE0B4-0E34-AC9B-50FC-45D77DA572B6}"/>
              </a:ext>
            </a:extLst>
          </p:cNvPr>
          <p:cNvSpPr txBox="1"/>
          <p:nvPr/>
        </p:nvSpPr>
        <p:spPr>
          <a:xfrm>
            <a:off x="7260613" y="0"/>
            <a:ext cx="1688496" cy="276999"/>
          </a:xfrm>
          <a:prstGeom prst="rect">
            <a:avLst/>
          </a:prstGeom>
          <a:solidFill>
            <a:srgbClr val="8A96DD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Neue Medium"/>
              </a:rPr>
              <a:t>IMO PLANNING</a:t>
            </a:r>
          </a:p>
        </p:txBody>
      </p:sp>
    </p:spTree>
    <p:extLst>
      <p:ext uri="{BB962C8B-B14F-4D97-AF65-F5344CB8AC3E}">
        <p14:creationId xmlns:p14="http://schemas.microsoft.com/office/powerpoint/2010/main" val="1440607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GQUALITY" val="95"/>
  <p:tag name="BASENAME" val=""/>
  <p:tag name="SAVETOFOLDER" val="C:\Users\Dan\Desktop\poop\"/>
  <p:tag name="IMAGEWIDTH" val="960"/>
  <p:tag name="IMAGEHEIGHT" val="720"/>
  <p:tag name="EXPORTRANGE" val="EntirePresentation"/>
  <p:tag name="SIZEBY" val="DPI"/>
  <p:tag name="OUTPUTDPI" val="96"/>
  <p:tag name="EXPORTAS" val="JPG"/>
  <p:tag name="NUMBERFORMAT" val="0000"/>
  <p:tag name="ARTICULATE_DESIGN_ID_DUARTE_SLIDEDOCS" val="BZe3Zoub"/>
  <p:tag name="ARTICULATE_SLIDE_THUMBNAIL_REFRESH" val="1"/>
  <p:tag name="ARTICULATE_SLIDE_COUNT" val="16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HPA_ProposalSlides">
  <a:themeElements>
    <a:clrScheme name="Custom 11">
      <a:dk1>
        <a:srgbClr val="2D2D2A"/>
      </a:dk1>
      <a:lt1>
        <a:sysClr val="window" lastClr="FFFFFF"/>
      </a:lt1>
      <a:dk2>
        <a:srgbClr val="1E2867"/>
      </a:dk2>
      <a:lt2>
        <a:srgbClr val="EACE35"/>
      </a:lt2>
      <a:accent1>
        <a:srgbClr val="A3B2BD"/>
      </a:accent1>
      <a:accent2>
        <a:srgbClr val="DFAD58"/>
      </a:accent2>
      <a:accent3>
        <a:srgbClr val="F1601E"/>
      </a:accent3>
      <a:accent4>
        <a:srgbClr val="26DCFC"/>
      </a:accent4>
      <a:accent5>
        <a:srgbClr val="DFE4E7"/>
      </a:accent5>
      <a:accent6>
        <a:srgbClr val="2D3345"/>
      </a:accent6>
      <a:hlink>
        <a:srgbClr val="64645D"/>
      </a:hlink>
      <a:folHlink>
        <a:srgbClr val="64645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DD18"/>
        </a:solidFill>
        <a:ln>
          <a:noFill/>
        </a:ln>
      </a:spPr>
      <a:bodyPr anchor="ctr"/>
      <a:lstStyle>
        <a:defPPr algn="l" fontAlgn="base">
          <a:spcAft>
            <a:spcPct val="0"/>
          </a:spcAft>
          <a:buSzTx/>
          <a:buNone/>
          <a:defRPr sz="1200" b="1" dirty="0" smtClean="0">
            <a:solidFill>
              <a:srgbClr val="000000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4">
            <a:lumMod val="60000"/>
            <a:lumOff val="40000"/>
          </a:schemeClr>
        </a:solidFill>
      </a:spPr>
      <a:bodyPr wrap="square" lIns="0" tIns="0" rIns="0" bIns="0" rtlCol="0">
        <a:noAutofit/>
      </a:bodyPr>
      <a:lstStyle>
        <a:defPPr algn="l">
          <a:defRPr sz="1100" dirty="0" smtClean="0">
            <a:solidFill>
              <a:schemeClr val="tx2"/>
            </a:solidFill>
            <a:latin typeface="+mj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f5bbe71-ff89-4777-99e1-16be47c9fc0d" xsi:nil="true"/>
    <lcf76f155ced4ddcb4097134ff3c332f xmlns="9b512cd0-ff46-4966-83d9-0b6a913bf845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74F1C7549BAE749BAAF4353E6FFDF4E" ma:contentTypeVersion="19" ma:contentTypeDescription="Create a new document." ma:contentTypeScope="" ma:versionID="0f744e98a7c6a80420c91bc5bb869cc3">
  <xsd:schema xmlns:xsd="http://www.w3.org/2001/XMLSchema" xmlns:xs="http://www.w3.org/2001/XMLSchema" xmlns:p="http://schemas.microsoft.com/office/2006/metadata/properties" xmlns:ns2="9b512cd0-ff46-4966-83d9-0b6a913bf845" xmlns:ns3="af5bbe71-ff89-4777-99e1-16be47c9fc0d" targetNamespace="http://schemas.microsoft.com/office/2006/metadata/properties" ma:root="true" ma:fieldsID="47e61f0ce5cd5638e19bba1db9c7212a" ns2:_="" ns3:_="">
    <xsd:import namespace="9b512cd0-ff46-4966-83d9-0b6a913bf845"/>
    <xsd:import namespace="af5bbe71-ff89-4777-99e1-16be47c9fc0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512cd0-ff46-4966-83d9-0b6a913bf8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ec669ab3-b477-4849-b4a3-9edf7027a8e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5bbe71-ff89-4777-99e1-16be47c9fc0d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3c410b55-eed2-4ce8-8611-b5511a0ea0c5}" ma:internalName="TaxCatchAll" ma:showField="CatchAllData" ma:web="af5bbe71-ff89-4777-99e1-16be47c9fc0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E8ED62D-108A-495F-8D06-89FC928FE757}">
  <ds:schemaRefs>
    <ds:schemaRef ds:uri="9b512cd0-ff46-4966-83d9-0b6a913bf845"/>
    <ds:schemaRef ds:uri="af5bbe71-ff89-4777-99e1-16be47c9fc0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104C4E1-CD7A-4893-955E-1697D0E3B2E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DB27A3D-1FE9-42BB-B070-00FC2A12ADB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b512cd0-ff46-4966-83d9-0b6a913bf845"/>
    <ds:schemaRef ds:uri="af5bbe71-ff89-4777-99e1-16be47c9fc0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4</TotalTime>
  <Words>3467</Words>
  <Application>Microsoft Office PowerPoint</Application>
  <PresentationFormat>Widescreen</PresentationFormat>
  <Paragraphs>333</Paragraphs>
  <Slides>15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MS PGothic</vt:lpstr>
      <vt:lpstr>Arial</vt:lpstr>
      <vt:lpstr>Calibri</vt:lpstr>
      <vt:lpstr>Courier New</vt:lpstr>
      <vt:lpstr>Wingdings</vt:lpstr>
      <vt:lpstr>1_HPA_ProposalSlides</vt:lpstr>
      <vt:lpstr>think-cell Slide</vt:lpstr>
      <vt:lpstr>Integration Practice Overview</vt:lpstr>
      <vt:lpstr>Within the M&amp;A lifecycle, our Integration practice focuses on pre-close and post-close activities</vt:lpstr>
      <vt:lpstr>Our Integration practice drives significantly more value than those at other firms</vt:lpstr>
      <vt:lpstr>Common integration pitfalls…      … and how HPA overcomes them</vt:lpstr>
      <vt:lpstr>Recent integration projects reflect our flexible staffing model</vt:lpstr>
      <vt:lpstr>Our model ensures right-fit talent across the integration lifecycle</vt:lpstr>
      <vt:lpstr>Our Integration project leaders have extensive ‘in-seat’ experience</vt:lpstr>
      <vt:lpstr>Recently completed integration engagements span various industries and functions</vt:lpstr>
      <vt:lpstr>IMO: Initial questions to align strategy, governance, and communication </vt:lpstr>
      <vt:lpstr>IMO: Pre-close planning &amp; Day-1 readiness playbook</vt:lpstr>
      <vt:lpstr>IMO: Deliverable examples</vt:lpstr>
      <vt:lpstr>PMI: Key questions to drive post-close execution and value</vt:lpstr>
      <vt:lpstr>PMI: Post-close execution &amp; synergy capture playbook</vt:lpstr>
      <vt:lpstr>PMI: Deliverable examples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ighpointteam@highpoint-associates.com</dc:creator>
  <cp:lastModifiedBy>HighPoint Associates</cp:lastModifiedBy>
  <cp:revision>1</cp:revision>
  <cp:lastPrinted>2023-05-18T16:35:00Z</cp:lastPrinted>
  <dcterms:created xsi:type="dcterms:W3CDTF">2014-01-14T20:20:43Z</dcterms:created>
  <dcterms:modified xsi:type="dcterms:W3CDTF">2025-11-18T07:0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4749045</vt:lpwstr>
  </property>
  <property fmtid="{D5CDD505-2E9C-101B-9397-08002B2CF9AE}" pid="3" name="NXPowerLiteSettings">
    <vt:lpwstr>F98007B004F000</vt:lpwstr>
  </property>
  <property fmtid="{D5CDD505-2E9C-101B-9397-08002B2CF9AE}" pid="4" name="NXPowerLiteVersion">
    <vt:lpwstr>D5.0.2</vt:lpwstr>
  </property>
  <property fmtid="{D5CDD505-2E9C-101B-9397-08002B2CF9AE}" pid="5" name="ArticulateGUID">
    <vt:lpwstr>ABB1F7D2-B510-4F35-8340-547C1FC2F850</vt:lpwstr>
  </property>
  <property fmtid="{D5CDD505-2E9C-101B-9397-08002B2CF9AE}" pid="6" name="ArticulatePath">
    <vt:lpwstr>HPA_2017_Deck01</vt:lpwstr>
  </property>
  <property fmtid="{D5CDD505-2E9C-101B-9397-08002B2CF9AE}" pid="7" name="ContentTypeId">
    <vt:lpwstr>0x010100874F1C7549BAE749BAAF4353E6FFDF4E</vt:lpwstr>
  </property>
  <property fmtid="{D5CDD505-2E9C-101B-9397-08002B2CF9AE}" pid="8" name="Order">
    <vt:r8>7326600</vt:r8>
  </property>
  <property fmtid="{D5CDD505-2E9C-101B-9397-08002B2CF9AE}" pid="9" name="MediaServiceImageTags">
    <vt:lpwstr/>
  </property>
</Properties>
</file>